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notesSlides/notesSlide1.xml" ContentType="application/vnd.openxmlformats-officedocument.presentationml.notesSlid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34.xml" ContentType="application/vnd.openxmlformats-officedocument.presentationml.tags+xml"/>
  <Override PartName="/ppt/notesSlides/notesSlide2.xml" ContentType="application/vnd.openxmlformats-officedocument.presentationml.notesSlid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notesSlides/notesSlide3.xml" ContentType="application/vnd.openxmlformats-officedocument.presentationml.notesSlide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notesSlides/notesSlide4.xml" ContentType="application/vnd.openxmlformats-officedocument.presentationml.notesSlide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1"/>
    <p:sldMasterId id="2147483730" r:id="rId2"/>
  </p:sldMasterIdLst>
  <p:notesMasterIdLst>
    <p:notesMasterId r:id="rId31"/>
  </p:notesMasterIdLst>
  <p:sldIdLst>
    <p:sldId id="256" r:id="rId3"/>
    <p:sldId id="429" r:id="rId4"/>
    <p:sldId id="2145705867" r:id="rId5"/>
    <p:sldId id="2145705862" r:id="rId6"/>
    <p:sldId id="495" r:id="rId7"/>
    <p:sldId id="2147483632" r:id="rId8"/>
    <p:sldId id="260" r:id="rId9"/>
    <p:sldId id="257" r:id="rId10"/>
    <p:sldId id="2147483639" r:id="rId11"/>
    <p:sldId id="2145705876" r:id="rId12"/>
    <p:sldId id="2147483647" r:id="rId13"/>
    <p:sldId id="2147483636" r:id="rId14"/>
    <p:sldId id="2147483637" r:id="rId15"/>
    <p:sldId id="262" r:id="rId16"/>
    <p:sldId id="261" r:id="rId17"/>
    <p:sldId id="2147483641" r:id="rId18"/>
    <p:sldId id="2145705868" r:id="rId19"/>
    <p:sldId id="258" r:id="rId20"/>
    <p:sldId id="2145705861" r:id="rId21"/>
    <p:sldId id="263" r:id="rId22"/>
    <p:sldId id="264" r:id="rId23"/>
    <p:sldId id="2145705873" r:id="rId24"/>
    <p:sldId id="2145705871" r:id="rId25"/>
    <p:sldId id="2145705865" r:id="rId26"/>
    <p:sldId id="259" r:id="rId27"/>
    <p:sldId id="2145705884" r:id="rId28"/>
    <p:sldId id="265" r:id="rId29"/>
    <p:sldId id="372" r:id="rId30"/>
  </p:sldIdLst>
  <p:sldSz cx="11520488" cy="6480175"/>
  <p:notesSz cx="6858000" cy="9144000"/>
  <p:custDataLst>
    <p:tags r:id="rId3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69" userDrawn="1">
          <p15:clr>
            <a:srgbClr val="A4A3A4"/>
          </p15:clr>
        </p15:guide>
        <p15:guide id="2" pos="1134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A819F74-BEBB-4BD1-A845-F23C196C938E}" name="Schmidt, Carolin" initials="SC" userId="S-1-5-21-523690731-516827087-1421765355-165555" providerId="AD"/>
  <p188:author id="{988D9AC4-109B-79C2-E346-425E0A947E07}" name="Pietrasch, Dagmar" initials="PD" userId="S-1-5-21-523690731-516827087-1421765355-10111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andt, Nicole" initials="BN" lastIdx="1" clrIdx="0">
    <p:extLst>
      <p:ext uri="{19B8F6BF-5375-455C-9EA6-DF929625EA0E}">
        <p15:presenceInfo xmlns:p15="http://schemas.microsoft.com/office/powerpoint/2012/main" userId="S-1-5-21-523690731-516827087-1421765355-1086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1F21"/>
    <a:srgbClr val="000000"/>
    <a:srgbClr val="4A5A66"/>
    <a:srgbClr val="2835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71" autoAdjust="0"/>
    <p:restoredTop sz="94660"/>
  </p:normalViewPr>
  <p:slideViewPr>
    <p:cSldViewPr showGuides="1">
      <p:cViewPr>
        <p:scale>
          <a:sx n="200" d="100"/>
          <a:sy n="200" d="100"/>
        </p:scale>
        <p:origin x="3186" y="1398"/>
      </p:cViewPr>
      <p:guideLst>
        <p:guide orient="horz" pos="1769"/>
        <p:guide pos="113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8B3C330-BA0D-48CC-B1DE-AD5DA4E47F34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9A48300-4143-4D6A-B839-FA58D2B63517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Auswahl des Dienstleisters</a:t>
          </a:r>
        </a:p>
      </dgm:t>
    </dgm:pt>
    <dgm:pt modelId="{3B5C3B29-1B01-40C5-A933-FD5E3DE27767}" type="parTrans" cxnId="{623C5F51-5260-408C-8085-063C83CE07F2}">
      <dgm:prSet/>
      <dgm:spPr/>
      <dgm:t>
        <a:bodyPr/>
        <a:lstStyle/>
        <a:p>
          <a:endParaRPr lang="de-DE"/>
        </a:p>
      </dgm:t>
    </dgm:pt>
    <dgm:pt modelId="{0D1E1385-4FC8-40D6-AD44-DBBB1EC5D44C}" type="sibTrans" cxnId="{623C5F51-5260-408C-8085-063C83CE07F2}">
      <dgm:prSet/>
      <dgm:spPr/>
      <dgm:t>
        <a:bodyPr/>
        <a:lstStyle/>
        <a:p>
          <a:endParaRPr lang="de-DE"/>
        </a:p>
      </dgm:t>
    </dgm:pt>
    <dgm:pt modelId="{E0B4A6BE-801C-4B42-AB7E-29F04DB63117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Ermittlung Bedeutsamkeit</a:t>
          </a:r>
        </a:p>
      </dgm:t>
    </dgm:pt>
    <dgm:pt modelId="{2637140B-D851-4165-AF24-4488D0015096}" type="parTrans" cxnId="{042BEA51-C397-4037-9AAB-4C45DF972473}">
      <dgm:prSet/>
      <dgm:spPr/>
      <dgm:t>
        <a:bodyPr/>
        <a:lstStyle/>
        <a:p>
          <a:endParaRPr lang="de-DE"/>
        </a:p>
      </dgm:t>
    </dgm:pt>
    <dgm:pt modelId="{F6127EB6-00F1-4646-A32B-CCE7E8EE55F1}" type="sibTrans" cxnId="{042BEA51-C397-4037-9AAB-4C45DF972473}">
      <dgm:prSet/>
      <dgm:spPr/>
      <dgm:t>
        <a:bodyPr/>
        <a:lstStyle/>
        <a:p>
          <a:endParaRPr lang="de-DE"/>
        </a:p>
      </dgm:t>
    </dgm:pt>
    <dgm:pt modelId="{2732F953-E27F-48B0-9A4B-E4459B995563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Ermittlung Kritikalität</a:t>
          </a:r>
        </a:p>
      </dgm:t>
    </dgm:pt>
    <dgm:pt modelId="{84D749AC-AF8B-4991-A36E-A9AEB99DD519}" type="parTrans" cxnId="{347748C2-03A7-44AB-A816-BF0C98298BC6}">
      <dgm:prSet/>
      <dgm:spPr/>
      <dgm:t>
        <a:bodyPr/>
        <a:lstStyle/>
        <a:p>
          <a:endParaRPr lang="de-DE"/>
        </a:p>
      </dgm:t>
    </dgm:pt>
    <dgm:pt modelId="{86B7B697-45BF-40F0-A720-72D04B2A6B37}" type="sibTrans" cxnId="{347748C2-03A7-44AB-A816-BF0C98298BC6}">
      <dgm:prSet/>
      <dgm:spPr/>
      <dgm:t>
        <a:bodyPr/>
        <a:lstStyle/>
        <a:p>
          <a:endParaRPr lang="de-DE"/>
        </a:p>
      </dgm:t>
    </dgm:pt>
    <dgm:pt modelId="{D303EA9A-E670-47D8-B3A5-3FA5359D1BCC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Beauftragung des Dienstleisters</a:t>
          </a:r>
        </a:p>
      </dgm:t>
    </dgm:pt>
    <dgm:pt modelId="{14319741-F6A4-42BA-AD77-DE8CC780BDAD}" type="parTrans" cxnId="{AD291313-267B-45B4-800D-530D099CF4BC}">
      <dgm:prSet/>
      <dgm:spPr/>
      <dgm:t>
        <a:bodyPr/>
        <a:lstStyle/>
        <a:p>
          <a:endParaRPr lang="de-DE"/>
        </a:p>
      </dgm:t>
    </dgm:pt>
    <dgm:pt modelId="{EED3D287-2D8F-47BB-B191-8F1712C4C577}" type="sibTrans" cxnId="{AD291313-267B-45B4-800D-530D099CF4BC}">
      <dgm:prSet/>
      <dgm:spPr/>
      <dgm:t>
        <a:bodyPr/>
        <a:lstStyle/>
        <a:p>
          <a:endParaRPr lang="de-DE"/>
        </a:p>
      </dgm:t>
    </dgm:pt>
    <dgm:pt modelId="{76B8C270-9FFF-4AA1-B7B5-FE2033C5DA4F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Leistungserbringung</a:t>
          </a:r>
        </a:p>
      </dgm:t>
    </dgm:pt>
    <dgm:pt modelId="{AAD008FD-1E39-4AA5-A9A9-37F8B6EEBE12}" type="parTrans" cxnId="{0E1435A6-A5E1-461F-9901-8786A87B1B3A}">
      <dgm:prSet/>
      <dgm:spPr/>
      <dgm:t>
        <a:bodyPr/>
        <a:lstStyle/>
        <a:p>
          <a:endParaRPr lang="de-DE"/>
        </a:p>
      </dgm:t>
    </dgm:pt>
    <dgm:pt modelId="{DD8E428E-E986-4A34-B470-09E6DF3B8CEE}" type="sibTrans" cxnId="{0E1435A6-A5E1-461F-9901-8786A87B1B3A}">
      <dgm:prSet/>
      <dgm:spPr/>
      <dgm:t>
        <a:bodyPr/>
        <a:lstStyle/>
        <a:p>
          <a:endParaRPr lang="de-DE"/>
        </a:p>
      </dgm:t>
    </dgm:pt>
    <dgm:pt modelId="{8168FCC2-3CB0-4F26-9CFF-F31FC660E713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Beendigung des Vertragsverhältnisses</a:t>
          </a:r>
        </a:p>
      </dgm:t>
    </dgm:pt>
    <dgm:pt modelId="{724DD5F4-7ECC-40CF-B9AC-24141318DA40}" type="parTrans" cxnId="{310FB088-A540-4C63-8324-686E1CFFAC2D}">
      <dgm:prSet/>
      <dgm:spPr/>
      <dgm:t>
        <a:bodyPr/>
        <a:lstStyle/>
        <a:p>
          <a:endParaRPr lang="de-DE"/>
        </a:p>
      </dgm:t>
    </dgm:pt>
    <dgm:pt modelId="{DDA5A491-80B4-4CD5-9618-733D4F756F9A}" type="sibTrans" cxnId="{310FB088-A540-4C63-8324-686E1CFFAC2D}">
      <dgm:prSet/>
      <dgm:spPr/>
      <dgm:t>
        <a:bodyPr/>
        <a:lstStyle/>
        <a:p>
          <a:endParaRPr lang="de-DE"/>
        </a:p>
      </dgm:t>
    </dgm:pt>
    <dgm:pt modelId="{21ED571C-506B-4DF4-A725-B7221A675690}" type="pres">
      <dgm:prSet presAssocID="{D8B3C330-BA0D-48CC-B1DE-AD5DA4E47F34}" presName="Name0" presStyleCnt="0">
        <dgm:presLayoutVars>
          <dgm:dir/>
          <dgm:animLvl val="lvl"/>
          <dgm:resizeHandles val="exact"/>
        </dgm:presLayoutVars>
      </dgm:prSet>
      <dgm:spPr/>
    </dgm:pt>
    <dgm:pt modelId="{A2592860-0694-4E2A-AFC0-CCE8A152FA51}" type="pres">
      <dgm:prSet presAssocID="{D9A48300-4143-4D6A-B839-FA58D2B63517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511E2437-1D77-43D1-9DEA-002C916E578A}" type="pres">
      <dgm:prSet presAssocID="{0D1E1385-4FC8-40D6-AD44-DBBB1EC5D44C}" presName="parTxOnlySpace" presStyleCnt="0"/>
      <dgm:spPr/>
    </dgm:pt>
    <dgm:pt modelId="{3A91D371-BCA7-470E-B71E-3D5B6D676112}" type="pres">
      <dgm:prSet presAssocID="{E0B4A6BE-801C-4B42-AB7E-29F04DB63117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A7D2437E-F2C2-405F-BEF5-EBFE1521A25B}" type="pres">
      <dgm:prSet presAssocID="{F6127EB6-00F1-4646-A32B-CCE7E8EE55F1}" presName="parTxOnlySpace" presStyleCnt="0"/>
      <dgm:spPr/>
    </dgm:pt>
    <dgm:pt modelId="{16903079-5705-49BE-B6E6-3FDF245CC5A4}" type="pres">
      <dgm:prSet presAssocID="{2732F953-E27F-48B0-9A4B-E4459B995563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90BD113B-EC7D-4F6D-95DD-B09F26192D89}" type="pres">
      <dgm:prSet presAssocID="{86B7B697-45BF-40F0-A720-72D04B2A6B37}" presName="parTxOnlySpace" presStyleCnt="0"/>
      <dgm:spPr/>
    </dgm:pt>
    <dgm:pt modelId="{17C4C1BE-9BED-4CFE-8A56-132101BD8C3D}" type="pres">
      <dgm:prSet presAssocID="{D303EA9A-E670-47D8-B3A5-3FA5359D1BCC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FF519F4F-97F1-4D4C-AD63-14ED12287FEE}" type="pres">
      <dgm:prSet presAssocID="{EED3D287-2D8F-47BB-B191-8F1712C4C577}" presName="parTxOnlySpace" presStyleCnt="0"/>
      <dgm:spPr/>
    </dgm:pt>
    <dgm:pt modelId="{744138F3-10E5-4957-AA28-A0C0990515DD}" type="pres">
      <dgm:prSet presAssocID="{76B8C270-9FFF-4AA1-B7B5-FE2033C5DA4F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0F43A3D4-F45A-4D68-9C34-4B37A569372C}" type="pres">
      <dgm:prSet presAssocID="{DD8E428E-E986-4A34-B470-09E6DF3B8CEE}" presName="parTxOnlySpace" presStyleCnt="0"/>
      <dgm:spPr/>
    </dgm:pt>
    <dgm:pt modelId="{86C466C2-43DD-43C3-835F-61CCA151FDF5}" type="pres">
      <dgm:prSet presAssocID="{8168FCC2-3CB0-4F26-9CFF-F31FC660E713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AD291313-267B-45B4-800D-530D099CF4BC}" srcId="{D8B3C330-BA0D-48CC-B1DE-AD5DA4E47F34}" destId="{D303EA9A-E670-47D8-B3A5-3FA5359D1BCC}" srcOrd="3" destOrd="0" parTransId="{14319741-F6A4-42BA-AD77-DE8CC780BDAD}" sibTransId="{EED3D287-2D8F-47BB-B191-8F1712C4C577}"/>
    <dgm:cxn modelId="{1CA9DA1C-48BE-4F49-805F-9AADE6621D70}" type="presOf" srcId="{E0B4A6BE-801C-4B42-AB7E-29F04DB63117}" destId="{3A91D371-BCA7-470E-B71E-3D5B6D676112}" srcOrd="0" destOrd="0" presId="urn:microsoft.com/office/officeart/2005/8/layout/chevron1"/>
    <dgm:cxn modelId="{C3637A60-0DF0-40BE-9C3D-EC66DFD4B3D4}" type="presOf" srcId="{D8B3C330-BA0D-48CC-B1DE-AD5DA4E47F34}" destId="{21ED571C-506B-4DF4-A725-B7221A675690}" srcOrd="0" destOrd="0" presId="urn:microsoft.com/office/officeart/2005/8/layout/chevron1"/>
    <dgm:cxn modelId="{623C5F51-5260-408C-8085-063C83CE07F2}" srcId="{D8B3C330-BA0D-48CC-B1DE-AD5DA4E47F34}" destId="{D9A48300-4143-4D6A-B839-FA58D2B63517}" srcOrd="0" destOrd="0" parTransId="{3B5C3B29-1B01-40C5-A933-FD5E3DE27767}" sibTransId="{0D1E1385-4FC8-40D6-AD44-DBBB1EC5D44C}"/>
    <dgm:cxn modelId="{042BEA51-C397-4037-9AAB-4C45DF972473}" srcId="{D8B3C330-BA0D-48CC-B1DE-AD5DA4E47F34}" destId="{E0B4A6BE-801C-4B42-AB7E-29F04DB63117}" srcOrd="1" destOrd="0" parTransId="{2637140B-D851-4165-AF24-4488D0015096}" sibTransId="{F6127EB6-00F1-4646-A32B-CCE7E8EE55F1}"/>
    <dgm:cxn modelId="{F393055A-2C9F-43CE-9CE2-2E8269A8B5C7}" type="presOf" srcId="{D9A48300-4143-4D6A-B839-FA58D2B63517}" destId="{A2592860-0694-4E2A-AFC0-CCE8A152FA51}" srcOrd="0" destOrd="0" presId="urn:microsoft.com/office/officeart/2005/8/layout/chevron1"/>
    <dgm:cxn modelId="{3CFFA77D-CD73-4BE1-9991-CE285ACF85C1}" type="presOf" srcId="{2732F953-E27F-48B0-9A4B-E4459B995563}" destId="{16903079-5705-49BE-B6E6-3FDF245CC5A4}" srcOrd="0" destOrd="0" presId="urn:microsoft.com/office/officeart/2005/8/layout/chevron1"/>
    <dgm:cxn modelId="{310FB088-A540-4C63-8324-686E1CFFAC2D}" srcId="{D8B3C330-BA0D-48CC-B1DE-AD5DA4E47F34}" destId="{8168FCC2-3CB0-4F26-9CFF-F31FC660E713}" srcOrd="5" destOrd="0" parTransId="{724DD5F4-7ECC-40CF-B9AC-24141318DA40}" sibTransId="{DDA5A491-80B4-4CD5-9618-733D4F756F9A}"/>
    <dgm:cxn modelId="{539E3895-EB08-43D8-B99C-EB33B9F103D2}" type="presOf" srcId="{76B8C270-9FFF-4AA1-B7B5-FE2033C5DA4F}" destId="{744138F3-10E5-4957-AA28-A0C0990515DD}" srcOrd="0" destOrd="0" presId="urn:microsoft.com/office/officeart/2005/8/layout/chevron1"/>
    <dgm:cxn modelId="{0E1435A6-A5E1-461F-9901-8786A87B1B3A}" srcId="{D8B3C330-BA0D-48CC-B1DE-AD5DA4E47F34}" destId="{76B8C270-9FFF-4AA1-B7B5-FE2033C5DA4F}" srcOrd="4" destOrd="0" parTransId="{AAD008FD-1E39-4AA5-A9A9-37F8B6EEBE12}" sibTransId="{DD8E428E-E986-4A34-B470-09E6DF3B8CEE}"/>
    <dgm:cxn modelId="{347748C2-03A7-44AB-A816-BF0C98298BC6}" srcId="{D8B3C330-BA0D-48CC-B1DE-AD5DA4E47F34}" destId="{2732F953-E27F-48B0-9A4B-E4459B995563}" srcOrd="2" destOrd="0" parTransId="{84D749AC-AF8B-4991-A36E-A9AEB99DD519}" sibTransId="{86B7B697-45BF-40F0-A720-72D04B2A6B37}"/>
    <dgm:cxn modelId="{D841B7EA-0797-42D7-92D4-FCB9DED26A2B}" type="presOf" srcId="{8168FCC2-3CB0-4F26-9CFF-F31FC660E713}" destId="{86C466C2-43DD-43C3-835F-61CCA151FDF5}" srcOrd="0" destOrd="0" presId="urn:microsoft.com/office/officeart/2005/8/layout/chevron1"/>
    <dgm:cxn modelId="{FEFFBFFE-F886-4637-A72D-CE585E900FEC}" type="presOf" srcId="{D303EA9A-E670-47D8-B3A5-3FA5359D1BCC}" destId="{17C4C1BE-9BED-4CFE-8A56-132101BD8C3D}" srcOrd="0" destOrd="0" presId="urn:microsoft.com/office/officeart/2005/8/layout/chevron1"/>
    <dgm:cxn modelId="{B3860F54-88FA-43CB-8DE0-F0E06A6B1F2C}" type="presParOf" srcId="{21ED571C-506B-4DF4-A725-B7221A675690}" destId="{A2592860-0694-4E2A-AFC0-CCE8A152FA51}" srcOrd="0" destOrd="0" presId="urn:microsoft.com/office/officeart/2005/8/layout/chevron1"/>
    <dgm:cxn modelId="{1D70DBD9-E1AF-4FDC-B9D0-39FC3DD373D9}" type="presParOf" srcId="{21ED571C-506B-4DF4-A725-B7221A675690}" destId="{511E2437-1D77-43D1-9DEA-002C916E578A}" srcOrd="1" destOrd="0" presId="urn:microsoft.com/office/officeart/2005/8/layout/chevron1"/>
    <dgm:cxn modelId="{6919FBC8-1571-4D00-B4FC-5545114F2126}" type="presParOf" srcId="{21ED571C-506B-4DF4-A725-B7221A675690}" destId="{3A91D371-BCA7-470E-B71E-3D5B6D676112}" srcOrd="2" destOrd="0" presId="urn:microsoft.com/office/officeart/2005/8/layout/chevron1"/>
    <dgm:cxn modelId="{932BA907-2E52-4710-8ED8-27902E5881D2}" type="presParOf" srcId="{21ED571C-506B-4DF4-A725-B7221A675690}" destId="{A7D2437E-F2C2-405F-BEF5-EBFE1521A25B}" srcOrd="3" destOrd="0" presId="urn:microsoft.com/office/officeart/2005/8/layout/chevron1"/>
    <dgm:cxn modelId="{EA57F213-0F1A-4D07-9630-2F46ADCE0BD5}" type="presParOf" srcId="{21ED571C-506B-4DF4-A725-B7221A675690}" destId="{16903079-5705-49BE-B6E6-3FDF245CC5A4}" srcOrd="4" destOrd="0" presId="urn:microsoft.com/office/officeart/2005/8/layout/chevron1"/>
    <dgm:cxn modelId="{2EC26F68-0E67-4591-97DA-1300C22A16EA}" type="presParOf" srcId="{21ED571C-506B-4DF4-A725-B7221A675690}" destId="{90BD113B-EC7D-4F6D-95DD-B09F26192D89}" srcOrd="5" destOrd="0" presId="urn:microsoft.com/office/officeart/2005/8/layout/chevron1"/>
    <dgm:cxn modelId="{31CB8A0A-6B4A-4334-AB3B-D58AC0D464B4}" type="presParOf" srcId="{21ED571C-506B-4DF4-A725-B7221A675690}" destId="{17C4C1BE-9BED-4CFE-8A56-132101BD8C3D}" srcOrd="6" destOrd="0" presId="urn:microsoft.com/office/officeart/2005/8/layout/chevron1"/>
    <dgm:cxn modelId="{766FE869-F652-47C6-9344-3D4E85714463}" type="presParOf" srcId="{21ED571C-506B-4DF4-A725-B7221A675690}" destId="{FF519F4F-97F1-4D4C-AD63-14ED12287FEE}" srcOrd="7" destOrd="0" presId="urn:microsoft.com/office/officeart/2005/8/layout/chevron1"/>
    <dgm:cxn modelId="{D616232C-4B6C-4335-B694-5B37CCEEB3F9}" type="presParOf" srcId="{21ED571C-506B-4DF4-A725-B7221A675690}" destId="{744138F3-10E5-4957-AA28-A0C0990515DD}" srcOrd="8" destOrd="0" presId="urn:microsoft.com/office/officeart/2005/8/layout/chevron1"/>
    <dgm:cxn modelId="{F89F08D9-0E72-43B6-845A-36178892A933}" type="presParOf" srcId="{21ED571C-506B-4DF4-A725-B7221A675690}" destId="{0F43A3D4-F45A-4D68-9C34-4B37A569372C}" srcOrd="9" destOrd="0" presId="urn:microsoft.com/office/officeart/2005/8/layout/chevron1"/>
    <dgm:cxn modelId="{C36F5CF3-84DD-4B31-AF1C-466E433CD83D}" type="presParOf" srcId="{21ED571C-506B-4DF4-A725-B7221A675690}" destId="{86C466C2-43DD-43C3-835F-61CCA151FDF5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8B3C330-BA0D-48CC-B1DE-AD5DA4E47F34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9A48300-4143-4D6A-B839-FA58D2B63517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Auswahl des Dienstleisters</a:t>
          </a:r>
        </a:p>
      </dgm:t>
    </dgm:pt>
    <dgm:pt modelId="{3B5C3B29-1B01-40C5-A933-FD5E3DE27767}" type="parTrans" cxnId="{623C5F51-5260-408C-8085-063C83CE07F2}">
      <dgm:prSet/>
      <dgm:spPr/>
      <dgm:t>
        <a:bodyPr/>
        <a:lstStyle/>
        <a:p>
          <a:endParaRPr lang="de-DE"/>
        </a:p>
      </dgm:t>
    </dgm:pt>
    <dgm:pt modelId="{0D1E1385-4FC8-40D6-AD44-DBBB1EC5D44C}" type="sibTrans" cxnId="{623C5F51-5260-408C-8085-063C83CE07F2}">
      <dgm:prSet/>
      <dgm:spPr/>
      <dgm:t>
        <a:bodyPr/>
        <a:lstStyle/>
        <a:p>
          <a:endParaRPr lang="de-DE"/>
        </a:p>
      </dgm:t>
    </dgm:pt>
    <dgm:pt modelId="{E0B4A6BE-801C-4B42-AB7E-29F04DB63117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Ermittlung Bedeutsamkeit</a:t>
          </a:r>
        </a:p>
      </dgm:t>
    </dgm:pt>
    <dgm:pt modelId="{2637140B-D851-4165-AF24-4488D0015096}" type="parTrans" cxnId="{042BEA51-C397-4037-9AAB-4C45DF972473}">
      <dgm:prSet/>
      <dgm:spPr/>
      <dgm:t>
        <a:bodyPr/>
        <a:lstStyle/>
        <a:p>
          <a:endParaRPr lang="de-DE"/>
        </a:p>
      </dgm:t>
    </dgm:pt>
    <dgm:pt modelId="{F6127EB6-00F1-4646-A32B-CCE7E8EE55F1}" type="sibTrans" cxnId="{042BEA51-C397-4037-9AAB-4C45DF972473}">
      <dgm:prSet/>
      <dgm:spPr/>
      <dgm:t>
        <a:bodyPr/>
        <a:lstStyle/>
        <a:p>
          <a:endParaRPr lang="de-DE"/>
        </a:p>
      </dgm:t>
    </dgm:pt>
    <dgm:pt modelId="{2732F953-E27F-48B0-9A4B-E4459B995563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Ermittlung Kritikalität</a:t>
          </a:r>
        </a:p>
      </dgm:t>
    </dgm:pt>
    <dgm:pt modelId="{84D749AC-AF8B-4991-A36E-A9AEB99DD519}" type="parTrans" cxnId="{347748C2-03A7-44AB-A816-BF0C98298BC6}">
      <dgm:prSet/>
      <dgm:spPr/>
      <dgm:t>
        <a:bodyPr/>
        <a:lstStyle/>
        <a:p>
          <a:endParaRPr lang="de-DE"/>
        </a:p>
      </dgm:t>
    </dgm:pt>
    <dgm:pt modelId="{86B7B697-45BF-40F0-A720-72D04B2A6B37}" type="sibTrans" cxnId="{347748C2-03A7-44AB-A816-BF0C98298BC6}">
      <dgm:prSet/>
      <dgm:spPr/>
      <dgm:t>
        <a:bodyPr/>
        <a:lstStyle/>
        <a:p>
          <a:endParaRPr lang="de-DE"/>
        </a:p>
      </dgm:t>
    </dgm:pt>
    <dgm:pt modelId="{D303EA9A-E670-47D8-B3A5-3FA5359D1BCC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Beauftragung des Dienstleisters</a:t>
          </a:r>
        </a:p>
      </dgm:t>
    </dgm:pt>
    <dgm:pt modelId="{14319741-F6A4-42BA-AD77-DE8CC780BDAD}" type="parTrans" cxnId="{AD291313-267B-45B4-800D-530D099CF4BC}">
      <dgm:prSet/>
      <dgm:spPr/>
      <dgm:t>
        <a:bodyPr/>
        <a:lstStyle/>
        <a:p>
          <a:endParaRPr lang="de-DE"/>
        </a:p>
      </dgm:t>
    </dgm:pt>
    <dgm:pt modelId="{EED3D287-2D8F-47BB-B191-8F1712C4C577}" type="sibTrans" cxnId="{AD291313-267B-45B4-800D-530D099CF4BC}">
      <dgm:prSet/>
      <dgm:spPr/>
      <dgm:t>
        <a:bodyPr/>
        <a:lstStyle/>
        <a:p>
          <a:endParaRPr lang="de-DE"/>
        </a:p>
      </dgm:t>
    </dgm:pt>
    <dgm:pt modelId="{76B8C270-9FFF-4AA1-B7B5-FE2033C5DA4F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Leistungserbringung</a:t>
          </a:r>
        </a:p>
      </dgm:t>
    </dgm:pt>
    <dgm:pt modelId="{AAD008FD-1E39-4AA5-A9A9-37F8B6EEBE12}" type="parTrans" cxnId="{0E1435A6-A5E1-461F-9901-8786A87B1B3A}">
      <dgm:prSet/>
      <dgm:spPr/>
      <dgm:t>
        <a:bodyPr/>
        <a:lstStyle/>
        <a:p>
          <a:endParaRPr lang="de-DE"/>
        </a:p>
      </dgm:t>
    </dgm:pt>
    <dgm:pt modelId="{DD8E428E-E986-4A34-B470-09E6DF3B8CEE}" type="sibTrans" cxnId="{0E1435A6-A5E1-461F-9901-8786A87B1B3A}">
      <dgm:prSet/>
      <dgm:spPr/>
      <dgm:t>
        <a:bodyPr/>
        <a:lstStyle/>
        <a:p>
          <a:endParaRPr lang="de-DE"/>
        </a:p>
      </dgm:t>
    </dgm:pt>
    <dgm:pt modelId="{8168FCC2-3CB0-4F26-9CFF-F31FC660E713}">
      <dgm:prSet phldrT="[Text]" phldr="0"/>
      <dgm:spPr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</dgm:spPr>
      <dgm:t>
        <a:bodyPr/>
        <a:lstStyle/>
        <a:p>
          <a:r>
            <a:rPr lang="de-DE" dirty="0"/>
            <a:t>Beendigung des Vertragsverhältnisses</a:t>
          </a:r>
        </a:p>
      </dgm:t>
    </dgm:pt>
    <dgm:pt modelId="{724DD5F4-7ECC-40CF-B9AC-24141318DA40}" type="parTrans" cxnId="{310FB088-A540-4C63-8324-686E1CFFAC2D}">
      <dgm:prSet/>
      <dgm:spPr/>
      <dgm:t>
        <a:bodyPr/>
        <a:lstStyle/>
        <a:p>
          <a:endParaRPr lang="de-DE"/>
        </a:p>
      </dgm:t>
    </dgm:pt>
    <dgm:pt modelId="{DDA5A491-80B4-4CD5-9618-733D4F756F9A}" type="sibTrans" cxnId="{310FB088-A540-4C63-8324-686E1CFFAC2D}">
      <dgm:prSet/>
      <dgm:spPr/>
      <dgm:t>
        <a:bodyPr/>
        <a:lstStyle/>
        <a:p>
          <a:endParaRPr lang="de-DE"/>
        </a:p>
      </dgm:t>
    </dgm:pt>
    <dgm:pt modelId="{21ED571C-506B-4DF4-A725-B7221A675690}" type="pres">
      <dgm:prSet presAssocID="{D8B3C330-BA0D-48CC-B1DE-AD5DA4E47F34}" presName="Name0" presStyleCnt="0">
        <dgm:presLayoutVars>
          <dgm:dir/>
          <dgm:animLvl val="lvl"/>
          <dgm:resizeHandles val="exact"/>
        </dgm:presLayoutVars>
      </dgm:prSet>
      <dgm:spPr/>
    </dgm:pt>
    <dgm:pt modelId="{A2592860-0694-4E2A-AFC0-CCE8A152FA51}" type="pres">
      <dgm:prSet presAssocID="{D9A48300-4143-4D6A-B839-FA58D2B63517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511E2437-1D77-43D1-9DEA-002C916E578A}" type="pres">
      <dgm:prSet presAssocID="{0D1E1385-4FC8-40D6-AD44-DBBB1EC5D44C}" presName="parTxOnlySpace" presStyleCnt="0"/>
      <dgm:spPr/>
    </dgm:pt>
    <dgm:pt modelId="{3A91D371-BCA7-470E-B71E-3D5B6D676112}" type="pres">
      <dgm:prSet presAssocID="{E0B4A6BE-801C-4B42-AB7E-29F04DB63117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A7D2437E-F2C2-405F-BEF5-EBFE1521A25B}" type="pres">
      <dgm:prSet presAssocID="{F6127EB6-00F1-4646-A32B-CCE7E8EE55F1}" presName="parTxOnlySpace" presStyleCnt="0"/>
      <dgm:spPr/>
    </dgm:pt>
    <dgm:pt modelId="{16903079-5705-49BE-B6E6-3FDF245CC5A4}" type="pres">
      <dgm:prSet presAssocID="{2732F953-E27F-48B0-9A4B-E4459B995563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90BD113B-EC7D-4F6D-95DD-B09F26192D89}" type="pres">
      <dgm:prSet presAssocID="{86B7B697-45BF-40F0-A720-72D04B2A6B37}" presName="parTxOnlySpace" presStyleCnt="0"/>
      <dgm:spPr/>
    </dgm:pt>
    <dgm:pt modelId="{17C4C1BE-9BED-4CFE-8A56-132101BD8C3D}" type="pres">
      <dgm:prSet presAssocID="{D303EA9A-E670-47D8-B3A5-3FA5359D1BCC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FF519F4F-97F1-4D4C-AD63-14ED12287FEE}" type="pres">
      <dgm:prSet presAssocID="{EED3D287-2D8F-47BB-B191-8F1712C4C577}" presName="parTxOnlySpace" presStyleCnt="0"/>
      <dgm:spPr/>
    </dgm:pt>
    <dgm:pt modelId="{744138F3-10E5-4957-AA28-A0C0990515DD}" type="pres">
      <dgm:prSet presAssocID="{76B8C270-9FFF-4AA1-B7B5-FE2033C5DA4F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0F43A3D4-F45A-4D68-9C34-4B37A569372C}" type="pres">
      <dgm:prSet presAssocID="{DD8E428E-E986-4A34-B470-09E6DF3B8CEE}" presName="parTxOnlySpace" presStyleCnt="0"/>
      <dgm:spPr/>
    </dgm:pt>
    <dgm:pt modelId="{86C466C2-43DD-43C3-835F-61CCA151FDF5}" type="pres">
      <dgm:prSet presAssocID="{8168FCC2-3CB0-4F26-9CFF-F31FC660E713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AD291313-267B-45B4-800D-530D099CF4BC}" srcId="{D8B3C330-BA0D-48CC-B1DE-AD5DA4E47F34}" destId="{D303EA9A-E670-47D8-B3A5-3FA5359D1BCC}" srcOrd="3" destOrd="0" parTransId="{14319741-F6A4-42BA-AD77-DE8CC780BDAD}" sibTransId="{EED3D287-2D8F-47BB-B191-8F1712C4C577}"/>
    <dgm:cxn modelId="{1CA9DA1C-48BE-4F49-805F-9AADE6621D70}" type="presOf" srcId="{E0B4A6BE-801C-4B42-AB7E-29F04DB63117}" destId="{3A91D371-BCA7-470E-B71E-3D5B6D676112}" srcOrd="0" destOrd="0" presId="urn:microsoft.com/office/officeart/2005/8/layout/chevron1"/>
    <dgm:cxn modelId="{C3637A60-0DF0-40BE-9C3D-EC66DFD4B3D4}" type="presOf" srcId="{D8B3C330-BA0D-48CC-B1DE-AD5DA4E47F34}" destId="{21ED571C-506B-4DF4-A725-B7221A675690}" srcOrd="0" destOrd="0" presId="urn:microsoft.com/office/officeart/2005/8/layout/chevron1"/>
    <dgm:cxn modelId="{623C5F51-5260-408C-8085-063C83CE07F2}" srcId="{D8B3C330-BA0D-48CC-B1DE-AD5DA4E47F34}" destId="{D9A48300-4143-4D6A-B839-FA58D2B63517}" srcOrd="0" destOrd="0" parTransId="{3B5C3B29-1B01-40C5-A933-FD5E3DE27767}" sibTransId="{0D1E1385-4FC8-40D6-AD44-DBBB1EC5D44C}"/>
    <dgm:cxn modelId="{042BEA51-C397-4037-9AAB-4C45DF972473}" srcId="{D8B3C330-BA0D-48CC-B1DE-AD5DA4E47F34}" destId="{E0B4A6BE-801C-4B42-AB7E-29F04DB63117}" srcOrd="1" destOrd="0" parTransId="{2637140B-D851-4165-AF24-4488D0015096}" sibTransId="{F6127EB6-00F1-4646-A32B-CCE7E8EE55F1}"/>
    <dgm:cxn modelId="{F393055A-2C9F-43CE-9CE2-2E8269A8B5C7}" type="presOf" srcId="{D9A48300-4143-4D6A-B839-FA58D2B63517}" destId="{A2592860-0694-4E2A-AFC0-CCE8A152FA51}" srcOrd="0" destOrd="0" presId="urn:microsoft.com/office/officeart/2005/8/layout/chevron1"/>
    <dgm:cxn modelId="{3CFFA77D-CD73-4BE1-9991-CE285ACF85C1}" type="presOf" srcId="{2732F953-E27F-48B0-9A4B-E4459B995563}" destId="{16903079-5705-49BE-B6E6-3FDF245CC5A4}" srcOrd="0" destOrd="0" presId="urn:microsoft.com/office/officeart/2005/8/layout/chevron1"/>
    <dgm:cxn modelId="{310FB088-A540-4C63-8324-686E1CFFAC2D}" srcId="{D8B3C330-BA0D-48CC-B1DE-AD5DA4E47F34}" destId="{8168FCC2-3CB0-4F26-9CFF-F31FC660E713}" srcOrd="5" destOrd="0" parTransId="{724DD5F4-7ECC-40CF-B9AC-24141318DA40}" sibTransId="{DDA5A491-80B4-4CD5-9618-733D4F756F9A}"/>
    <dgm:cxn modelId="{539E3895-EB08-43D8-B99C-EB33B9F103D2}" type="presOf" srcId="{76B8C270-9FFF-4AA1-B7B5-FE2033C5DA4F}" destId="{744138F3-10E5-4957-AA28-A0C0990515DD}" srcOrd="0" destOrd="0" presId="urn:microsoft.com/office/officeart/2005/8/layout/chevron1"/>
    <dgm:cxn modelId="{0E1435A6-A5E1-461F-9901-8786A87B1B3A}" srcId="{D8B3C330-BA0D-48CC-B1DE-AD5DA4E47F34}" destId="{76B8C270-9FFF-4AA1-B7B5-FE2033C5DA4F}" srcOrd="4" destOrd="0" parTransId="{AAD008FD-1E39-4AA5-A9A9-37F8B6EEBE12}" sibTransId="{DD8E428E-E986-4A34-B470-09E6DF3B8CEE}"/>
    <dgm:cxn modelId="{347748C2-03A7-44AB-A816-BF0C98298BC6}" srcId="{D8B3C330-BA0D-48CC-B1DE-AD5DA4E47F34}" destId="{2732F953-E27F-48B0-9A4B-E4459B995563}" srcOrd="2" destOrd="0" parTransId="{84D749AC-AF8B-4991-A36E-A9AEB99DD519}" sibTransId="{86B7B697-45BF-40F0-A720-72D04B2A6B37}"/>
    <dgm:cxn modelId="{D841B7EA-0797-42D7-92D4-FCB9DED26A2B}" type="presOf" srcId="{8168FCC2-3CB0-4F26-9CFF-F31FC660E713}" destId="{86C466C2-43DD-43C3-835F-61CCA151FDF5}" srcOrd="0" destOrd="0" presId="urn:microsoft.com/office/officeart/2005/8/layout/chevron1"/>
    <dgm:cxn modelId="{FEFFBFFE-F886-4637-A72D-CE585E900FEC}" type="presOf" srcId="{D303EA9A-E670-47D8-B3A5-3FA5359D1BCC}" destId="{17C4C1BE-9BED-4CFE-8A56-132101BD8C3D}" srcOrd="0" destOrd="0" presId="urn:microsoft.com/office/officeart/2005/8/layout/chevron1"/>
    <dgm:cxn modelId="{B3860F54-88FA-43CB-8DE0-F0E06A6B1F2C}" type="presParOf" srcId="{21ED571C-506B-4DF4-A725-B7221A675690}" destId="{A2592860-0694-4E2A-AFC0-CCE8A152FA51}" srcOrd="0" destOrd="0" presId="urn:microsoft.com/office/officeart/2005/8/layout/chevron1"/>
    <dgm:cxn modelId="{1D70DBD9-E1AF-4FDC-B9D0-39FC3DD373D9}" type="presParOf" srcId="{21ED571C-506B-4DF4-A725-B7221A675690}" destId="{511E2437-1D77-43D1-9DEA-002C916E578A}" srcOrd="1" destOrd="0" presId="urn:microsoft.com/office/officeart/2005/8/layout/chevron1"/>
    <dgm:cxn modelId="{6919FBC8-1571-4D00-B4FC-5545114F2126}" type="presParOf" srcId="{21ED571C-506B-4DF4-A725-B7221A675690}" destId="{3A91D371-BCA7-470E-B71E-3D5B6D676112}" srcOrd="2" destOrd="0" presId="urn:microsoft.com/office/officeart/2005/8/layout/chevron1"/>
    <dgm:cxn modelId="{932BA907-2E52-4710-8ED8-27902E5881D2}" type="presParOf" srcId="{21ED571C-506B-4DF4-A725-B7221A675690}" destId="{A7D2437E-F2C2-405F-BEF5-EBFE1521A25B}" srcOrd="3" destOrd="0" presId="urn:microsoft.com/office/officeart/2005/8/layout/chevron1"/>
    <dgm:cxn modelId="{EA57F213-0F1A-4D07-9630-2F46ADCE0BD5}" type="presParOf" srcId="{21ED571C-506B-4DF4-A725-B7221A675690}" destId="{16903079-5705-49BE-B6E6-3FDF245CC5A4}" srcOrd="4" destOrd="0" presId="urn:microsoft.com/office/officeart/2005/8/layout/chevron1"/>
    <dgm:cxn modelId="{2EC26F68-0E67-4591-97DA-1300C22A16EA}" type="presParOf" srcId="{21ED571C-506B-4DF4-A725-B7221A675690}" destId="{90BD113B-EC7D-4F6D-95DD-B09F26192D89}" srcOrd="5" destOrd="0" presId="urn:microsoft.com/office/officeart/2005/8/layout/chevron1"/>
    <dgm:cxn modelId="{31CB8A0A-6B4A-4334-AB3B-D58AC0D464B4}" type="presParOf" srcId="{21ED571C-506B-4DF4-A725-B7221A675690}" destId="{17C4C1BE-9BED-4CFE-8A56-132101BD8C3D}" srcOrd="6" destOrd="0" presId="urn:microsoft.com/office/officeart/2005/8/layout/chevron1"/>
    <dgm:cxn modelId="{766FE869-F652-47C6-9344-3D4E85714463}" type="presParOf" srcId="{21ED571C-506B-4DF4-A725-B7221A675690}" destId="{FF519F4F-97F1-4D4C-AD63-14ED12287FEE}" srcOrd="7" destOrd="0" presId="urn:microsoft.com/office/officeart/2005/8/layout/chevron1"/>
    <dgm:cxn modelId="{D616232C-4B6C-4335-B694-5B37CCEEB3F9}" type="presParOf" srcId="{21ED571C-506B-4DF4-A725-B7221A675690}" destId="{744138F3-10E5-4957-AA28-A0C0990515DD}" srcOrd="8" destOrd="0" presId="urn:microsoft.com/office/officeart/2005/8/layout/chevron1"/>
    <dgm:cxn modelId="{F89F08D9-0E72-43B6-845A-36178892A933}" type="presParOf" srcId="{21ED571C-506B-4DF4-A725-B7221A675690}" destId="{0F43A3D4-F45A-4D68-9C34-4B37A569372C}" srcOrd="9" destOrd="0" presId="urn:microsoft.com/office/officeart/2005/8/layout/chevron1"/>
    <dgm:cxn modelId="{C36F5CF3-84DD-4B31-AF1C-466E433CD83D}" type="presParOf" srcId="{21ED571C-506B-4DF4-A725-B7221A675690}" destId="{86C466C2-43DD-43C3-835F-61CCA151FDF5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592860-0694-4E2A-AFC0-CCE8A152FA51}">
      <dsp:nvSpPr>
        <dsp:cNvPr id="0" name=""/>
        <dsp:cNvSpPr/>
      </dsp:nvSpPr>
      <dsp:spPr>
        <a:xfrm>
          <a:off x="5058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Auswahl des Dienstleisters</a:t>
          </a:r>
        </a:p>
      </dsp:txBody>
      <dsp:txXfrm>
        <a:off x="381444" y="417614"/>
        <a:ext cx="1129158" cy="752772"/>
      </dsp:txXfrm>
    </dsp:sp>
    <dsp:sp modelId="{3A91D371-BCA7-470E-B71E-3D5B6D676112}">
      <dsp:nvSpPr>
        <dsp:cNvPr id="0" name=""/>
        <dsp:cNvSpPr/>
      </dsp:nvSpPr>
      <dsp:spPr>
        <a:xfrm>
          <a:off x="1698796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Ermittlung Bedeutsamkeit</a:t>
          </a:r>
        </a:p>
      </dsp:txBody>
      <dsp:txXfrm>
        <a:off x="2075182" y="417614"/>
        <a:ext cx="1129158" cy="752772"/>
      </dsp:txXfrm>
    </dsp:sp>
    <dsp:sp modelId="{16903079-5705-49BE-B6E6-3FDF245CC5A4}">
      <dsp:nvSpPr>
        <dsp:cNvPr id="0" name=""/>
        <dsp:cNvSpPr/>
      </dsp:nvSpPr>
      <dsp:spPr>
        <a:xfrm>
          <a:off x="3392533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Ermittlung Kritikalität</a:t>
          </a:r>
        </a:p>
      </dsp:txBody>
      <dsp:txXfrm>
        <a:off x="3768919" y="417614"/>
        <a:ext cx="1129158" cy="752772"/>
      </dsp:txXfrm>
    </dsp:sp>
    <dsp:sp modelId="{17C4C1BE-9BED-4CFE-8A56-132101BD8C3D}">
      <dsp:nvSpPr>
        <dsp:cNvPr id="0" name=""/>
        <dsp:cNvSpPr/>
      </dsp:nvSpPr>
      <dsp:spPr>
        <a:xfrm>
          <a:off x="5086270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Beauftragung des Dienstleisters</a:t>
          </a:r>
        </a:p>
      </dsp:txBody>
      <dsp:txXfrm>
        <a:off x="5462656" y="417614"/>
        <a:ext cx="1129158" cy="752772"/>
      </dsp:txXfrm>
    </dsp:sp>
    <dsp:sp modelId="{744138F3-10E5-4957-AA28-A0C0990515DD}">
      <dsp:nvSpPr>
        <dsp:cNvPr id="0" name=""/>
        <dsp:cNvSpPr/>
      </dsp:nvSpPr>
      <dsp:spPr>
        <a:xfrm>
          <a:off x="6780007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Leistungserbringung</a:t>
          </a:r>
        </a:p>
      </dsp:txBody>
      <dsp:txXfrm>
        <a:off x="7156393" y="417614"/>
        <a:ext cx="1129158" cy="752772"/>
      </dsp:txXfrm>
    </dsp:sp>
    <dsp:sp modelId="{86C466C2-43DD-43C3-835F-61CCA151FDF5}">
      <dsp:nvSpPr>
        <dsp:cNvPr id="0" name=""/>
        <dsp:cNvSpPr/>
      </dsp:nvSpPr>
      <dsp:spPr>
        <a:xfrm>
          <a:off x="8473744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Beendigung des Vertragsverhältnisses</a:t>
          </a:r>
        </a:p>
      </dsp:txBody>
      <dsp:txXfrm>
        <a:off x="8850130" y="417614"/>
        <a:ext cx="1129158" cy="7527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592860-0694-4E2A-AFC0-CCE8A152FA51}">
      <dsp:nvSpPr>
        <dsp:cNvPr id="0" name=""/>
        <dsp:cNvSpPr/>
      </dsp:nvSpPr>
      <dsp:spPr>
        <a:xfrm>
          <a:off x="5058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Auswahl des Dienstleisters</a:t>
          </a:r>
        </a:p>
      </dsp:txBody>
      <dsp:txXfrm>
        <a:off x="381444" y="417614"/>
        <a:ext cx="1129158" cy="752772"/>
      </dsp:txXfrm>
    </dsp:sp>
    <dsp:sp modelId="{3A91D371-BCA7-470E-B71E-3D5B6D676112}">
      <dsp:nvSpPr>
        <dsp:cNvPr id="0" name=""/>
        <dsp:cNvSpPr/>
      </dsp:nvSpPr>
      <dsp:spPr>
        <a:xfrm>
          <a:off x="1698796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Ermittlung Bedeutsamkeit</a:t>
          </a:r>
        </a:p>
      </dsp:txBody>
      <dsp:txXfrm>
        <a:off x="2075182" y="417614"/>
        <a:ext cx="1129158" cy="752772"/>
      </dsp:txXfrm>
    </dsp:sp>
    <dsp:sp modelId="{16903079-5705-49BE-B6E6-3FDF245CC5A4}">
      <dsp:nvSpPr>
        <dsp:cNvPr id="0" name=""/>
        <dsp:cNvSpPr/>
      </dsp:nvSpPr>
      <dsp:spPr>
        <a:xfrm>
          <a:off x="3392533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Ermittlung Kritikalität</a:t>
          </a:r>
        </a:p>
      </dsp:txBody>
      <dsp:txXfrm>
        <a:off x="3768919" y="417614"/>
        <a:ext cx="1129158" cy="752772"/>
      </dsp:txXfrm>
    </dsp:sp>
    <dsp:sp modelId="{17C4C1BE-9BED-4CFE-8A56-132101BD8C3D}">
      <dsp:nvSpPr>
        <dsp:cNvPr id="0" name=""/>
        <dsp:cNvSpPr/>
      </dsp:nvSpPr>
      <dsp:spPr>
        <a:xfrm>
          <a:off x="5086270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Beauftragung des Dienstleisters</a:t>
          </a:r>
        </a:p>
      </dsp:txBody>
      <dsp:txXfrm>
        <a:off x="5462656" y="417614"/>
        <a:ext cx="1129158" cy="752772"/>
      </dsp:txXfrm>
    </dsp:sp>
    <dsp:sp modelId="{744138F3-10E5-4957-AA28-A0C0990515DD}">
      <dsp:nvSpPr>
        <dsp:cNvPr id="0" name=""/>
        <dsp:cNvSpPr/>
      </dsp:nvSpPr>
      <dsp:spPr>
        <a:xfrm>
          <a:off x="6780007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Leistungserbringung</a:t>
          </a:r>
        </a:p>
      </dsp:txBody>
      <dsp:txXfrm>
        <a:off x="7156393" y="417614"/>
        <a:ext cx="1129158" cy="752772"/>
      </dsp:txXfrm>
    </dsp:sp>
    <dsp:sp modelId="{86C466C2-43DD-43C3-835F-61CCA151FDF5}">
      <dsp:nvSpPr>
        <dsp:cNvPr id="0" name=""/>
        <dsp:cNvSpPr/>
      </dsp:nvSpPr>
      <dsp:spPr>
        <a:xfrm>
          <a:off x="8473744" y="417614"/>
          <a:ext cx="1881930" cy="75277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3"/>
            </a:gs>
          </a:gsLst>
          <a:lin ang="10800000" scaled="1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Beendigung des Vertragsverhältnisses</a:t>
          </a:r>
        </a:p>
      </dsp:txBody>
      <dsp:txXfrm>
        <a:off x="8850130" y="417614"/>
        <a:ext cx="1129158" cy="7527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ACE86C-358D-4837-A46E-15B8EABAB73A}" type="datetimeFigureOut">
              <a:rPr lang="en-US" smtClean="0"/>
              <a:t>4/17/2026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696CC8-B58C-4130-97EB-4EA38161D08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673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NIS-2-Richtlinie ist die Weiterentwicklung der bisherigen NIS-Richtlinie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iel: EU-weit einheitlich hohes Cybersicherheitsniveau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ntergrund: steigende Cyberangriffe, zunehmende Vernetzung, kritische Abhängigkeiten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endParaRPr lang="de-DE" sz="113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krafttreten der EU-Richtlinie: Januar 2023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msetzung in nationales Recht sollte bis Oktober 2024 erfolgt sein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Deutschland erfolgt die Umsetzung der EU NIS-2 über das NIS-2-Umsetzungsgesetz.</a:t>
            </a:r>
          </a:p>
          <a:p>
            <a:pPr marL="717759" lvl="2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s NIS-2-Umsetzungsgesetz ist ein Artikel- bzw. Änderungsgesetz, das bestehende Gesetze somit anpasst – Nämlich Das BSI-Gesetz </a:t>
            </a:r>
            <a:r>
              <a:rPr lang="de-DE" sz="1134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EnWG, TKG erwähnen?)</a:t>
            </a: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krafttreten des deutschen Gesetzes / novellierten BSIG war am 06. Dezember 2025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endParaRPr lang="de-DE" sz="113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b="1" dirty="0"/>
              <a:t>Was ist neu?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utlich größerer Anwendungsbereich (mehr Branchen/Sektoren und mehr Unternehmen betroffen)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lare Größenkriterien (Mitarbeiter, Umsatz, Bilanzsumme)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rengere Anforderungen an:</a:t>
            </a:r>
          </a:p>
          <a:p>
            <a:pPr marL="717759" lvl="2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sikomanagement</a:t>
            </a:r>
          </a:p>
          <a:p>
            <a:pPr marL="717759" lvl="2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chnische und organisatorische Maßnahmen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utlich höhere Bußgelder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hr persönliche Verantwortung der Geschäftsleitung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endParaRPr lang="de-DE" sz="113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b="1" dirty="0"/>
              <a:t>Wer ist betroffen?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sonders wichtige Einrichtungen</a:t>
            </a:r>
          </a:p>
          <a:p>
            <a:pPr marL="717759" lvl="2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runter fallend auch KRITIS-Unternehmen bzw. Betreiber kritischer Anlagen (wie es nun heißt)</a:t>
            </a:r>
          </a:p>
          <a:p>
            <a:pPr marL="717759" lvl="2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≥ 250 Mitarbeitende</a:t>
            </a:r>
            <a:b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134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DER</a:t>
            </a: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17759" lvl="2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≥ 50 Mio. € Umsatz </a:t>
            </a:r>
            <a:r>
              <a:rPr lang="de-DE" sz="1134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D</a:t>
            </a: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≥ 43 Mio. € Bilanzsumme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chtige Einrichtungen</a:t>
            </a:r>
          </a:p>
          <a:p>
            <a:pPr marL="717759" lvl="2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≥ 50 Mitarbeitende</a:t>
            </a:r>
            <a:b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134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DER </a:t>
            </a:r>
          </a:p>
          <a:p>
            <a:pPr marL="717759" lvl="2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≥ 10 Mio. € Umsatz </a:t>
            </a:r>
            <a:r>
              <a:rPr lang="de-DE" sz="1134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D</a:t>
            </a: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ilanzsumme</a:t>
            </a:r>
          </a:p>
          <a:p>
            <a:pPr marL="0" lvl="1" indent="0" algn="l" defTabSz="864017" rtl="0" eaLnBrk="1" latinLnBrk="0" hangingPunct="1">
              <a:buFont typeface="Wingdings" panose="05000000000000000000" pitchFamily="2" charset="2"/>
              <a:buNone/>
            </a:pPr>
            <a:endParaRPr lang="de-DE" sz="113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b="1" dirty="0"/>
              <a:t>Zentrale Pflichten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führung eines strukturierten Risikomanagements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msetzung angemessener Sicherheitsmaßnahmen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ldepflichten bei Sicherheitsvorfällen:</a:t>
            </a:r>
          </a:p>
          <a:p>
            <a:pPr marL="717759" lvl="2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ühwarnung mit ersten (unkonkreten) Informationen innerhalb von 24 Stunden</a:t>
            </a:r>
          </a:p>
          <a:p>
            <a:pPr marL="717759" lvl="2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taillierter </a:t>
            </a:r>
            <a:r>
              <a:rPr lang="de-DE" sz="1134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fallsmeldung</a:t>
            </a: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nerhalb von 72 Stunden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cident</a:t>
            </a: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sponse &amp; Business Continuity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bsicherung der Lieferkette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rantwortung der Geschäftsleitung (wird später nochmal näher thematisiert)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endParaRPr lang="de-DE" sz="113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b="1" dirty="0"/>
              <a:t>Sanktionen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ßgelder bis zu 10 Mio. € oder 2 % des weltweiten Jahresumsatzes.</a:t>
            </a: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r>
              <a:rPr lang="de-DE" sz="113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e nach Kategorie sogar höher möglich.</a:t>
            </a:r>
          </a:p>
          <a:p>
            <a:pPr marL="0" lvl="1" indent="0" algn="l" defTabSz="864017" rtl="0" eaLnBrk="1" latinLnBrk="0" hangingPunct="1">
              <a:buFont typeface="Wingdings" panose="05000000000000000000" pitchFamily="2" charset="2"/>
              <a:buNone/>
            </a:pPr>
            <a:endParaRPr lang="de-DE" sz="113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endParaRPr lang="de-DE" sz="113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lvl="1" indent="-285750" algn="l" defTabSz="864017" rtl="0" eaLnBrk="1" latinLnBrk="0" hangingPunct="1">
              <a:buFont typeface="Wingdings" panose="05000000000000000000" pitchFamily="2" charset="2"/>
              <a:buChar char="n"/>
            </a:pPr>
            <a:endParaRPr lang="de-DE" sz="113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AE238E-59D4-4147-B352-2D88D97875E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4766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de-DE" dirty="0"/>
              <a:t>Überprüfungen und Überwachungen von kritischen Dienstleistern wird sichergestellt, dass die vertraglich vereinbarten Leistungen seitens der Vertragspartner eingehalten werden, um so ein hohes Sicherheitsniveau in der Dienstleisterbeziehung zu gewährleisten. </a:t>
            </a:r>
          </a:p>
          <a:p>
            <a:r>
              <a:rPr lang="de-DE" dirty="0"/>
              <a:t>Hierbei können Überprüfungen auf verschiedene Weise erfolgen. Je Kategorisierung empfiehlt es sich verschiedene Arten der Überprüfung durchzuführen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696CC8-B58C-4130-97EB-4EA38161D08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483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DA4C04-E303-14DB-734D-5A242F0EC5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67965AA-134B-1C5E-D303-1AC054B417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AD3430E-A145-3BA5-FD4E-D177C2994F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7944928-893F-487A-5443-CA44164308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696CC8-B58C-4130-97EB-4EA38161D08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155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D22528-7EF0-FF92-633F-71C4D433EE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A57AABE-158C-CDAA-6666-B32AD97680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53F9E2D-DA95-E698-9515-0981FE7D10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2DE5368-4613-77DB-22E0-D96346C462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696CC8-B58C-4130-97EB-4EA38161D08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714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12.png"/><Relationship Id="rId7" Type="http://schemas.openxmlformats.org/officeDocument/2006/relationships/hyperlink" Target="https://www.secunet.com/ueber-uns/news-events" TargetMode="External"/><Relationship Id="rId2" Type="http://schemas.openxmlformats.org/officeDocument/2006/relationships/hyperlink" Target="https://www.linkedin.com/company/secunet-security-networks-ag/mycompany/?viewAsMember=true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secuview.secunet.com/" TargetMode="External"/><Relationship Id="rId5" Type="http://schemas.openxmlformats.org/officeDocument/2006/relationships/image" Target="../media/image13.png"/><Relationship Id="rId4" Type="http://schemas.openxmlformats.org/officeDocument/2006/relationships/hyperlink" Target="https://www.xing.com/pages/secunetsecuritynetworksag" TargetMode="Externa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ecunet.com/ueber-uns/news-events" TargetMode="External"/><Relationship Id="rId3" Type="http://schemas.openxmlformats.org/officeDocument/2006/relationships/hyperlink" Target="https://www.linkedin.com/company/secunet-security-networks-ag/mycompany/?viewAsMember=true" TargetMode="External"/><Relationship Id="rId7" Type="http://schemas.openxmlformats.org/officeDocument/2006/relationships/hyperlink" Target="https://secuview.secunet.com/" TargetMode="External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hyperlink" Target="https://www.xing.com/pages/secunetsecuritynetworksag" TargetMode="External"/><Relationship Id="rId4" Type="http://schemas.openxmlformats.org/officeDocument/2006/relationships/image" Target="../media/image15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6" Type="http://schemas.openxmlformats.org/officeDocument/2006/relationships/image" Target="../media/image19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21.sv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- Vollbild_hell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F08E0053-DE68-1847-9476-0A3A49ADDB24}"/>
              </a:ext>
            </a:extLst>
          </p:cNvPr>
          <p:cNvSpPr/>
          <p:nvPr userDrawn="1"/>
        </p:nvSpPr>
        <p:spPr>
          <a:xfrm flipH="1">
            <a:off x="0" y="-1"/>
            <a:ext cx="6912373" cy="6480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4" y="863601"/>
            <a:ext cx="4608512" cy="32400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79" y="4248150"/>
            <a:ext cx="4608513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56A52CC-5259-85E1-5AC8-1D56E03CA1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88" y="216165"/>
            <a:ext cx="2012696" cy="340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423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3447">
          <p15:clr>
            <a:srgbClr val="FBAE40"/>
          </p15:clr>
        </p15:guide>
        <p15:guide id="5" pos="326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SINA) - Freisteller/Illustration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>
            <a:extLst>
              <a:ext uri="{FF2B5EF4-FFF2-40B4-BE49-F238E27FC236}">
                <a16:creationId xmlns:a16="http://schemas.microsoft.com/office/drawing/2014/main" id="{6087469D-FADB-4EC2-9943-39BF86287B01}"/>
              </a:ext>
            </a:extLst>
          </p:cNvPr>
          <p:cNvSpPr/>
          <p:nvPr userDrawn="1"/>
        </p:nvSpPr>
        <p:spPr>
          <a:xfrm>
            <a:off x="6911972" y="0"/>
            <a:ext cx="4619069" cy="64800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45" name="Bildplatzhalter 12">
            <a:extLst>
              <a:ext uri="{FF2B5EF4-FFF2-40B4-BE49-F238E27FC236}">
                <a16:creationId xmlns:a16="http://schemas.microsoft.com/office/drawing/2014/main" id="{941259DB-1449-6DBF-13B8-CA0736A327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84776" y="0"/>
            <a:ext cx="6348881" cy="6480000"/>
          </a:xfrm>
          <a:prstGeom prst="rect">
            <a:avLst/>
          </a:prstGeom>
          <a:noFill/>
        </p:spPr>
        <p:txBody>
          <a:bodyPr lIns="144000" tIns="144000" rIns="144000" bIns="144000" anchor="ctr" anchorCtr="0"/>
          <a:lstStyle>
            <a:lvl1pPr marL="0" indent="0" algn="r">
              <a:buNone/>
              <a:defRPr sz="1400">
                <a:solidFill>
                  <a:schemeClr val="accent6"/>
                </a:solidFill>
                <a:latin typeface="+mj-lt"/>
              </a:defRPr>
            </a:lvl1pPr>
          </a:lstStyle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 err="1"/>
              <a:t>Freisteller</a:t>
            </a:r>
            <a:r>
              <a:rPr lang="en-GB" dirty="0"/>
              <a:t> oder Illustration </a:t>
            </a:r>
            <a:r>
              <a:rPr lang="en-GB" dirty="0" err="1"/>
              <a:t>platzieren</a:t>
            </a:r>
            <a:r>
              <a:rPr lang="en-GB" dirty="0"/>
              <a:t>: </a:t>
            </a:r>
            <a:br>
              <a:rPr lang="en-GB" dirty="0"/>
            </a:br>
            <a:r>
              <a:rPr lang="en-GB" dirty="0"/>
              <a:t>Klick auf </a:t>
            </a:r>
            <a:r>
              <a:rPr lang="en-GB" dirty="0" err="1"/>
              <a:t>Fläche</a:t>
            </a:r>
            <a:r>
              <a:rPr lang="en-GB" dirty="0"/>
              <a:t> › Menü › </a:t>
            </a:r>
            <a:r>
              <a:rPr lang="en-GB" dirty="0" err="1"/>
              <a:t>Einfügen</a:t>
            </a:r>
            <a:r>
              <a:rPr lang="en-GB" dirty="0"/>
              <a:t> › Bild </a:t>
            </a:r>
            <a:r>
              <a:rPr lang="en-GB" dirty="0" err="1"/>
              <a:t>aus</a:t>
            </a:r>
            <a:r>
              <a:rPr lang="en-GB" dirty="0"/>
              <a:t> </a:t>
            </a:r>
            <a:r>
              <a:rPr lang="en-GB" dirty="0" err="1"/>
              <a:t>Datei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› </a:t>
            </a: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r>
              <a:rPr lang="en-GB" dirty="0"/>
              <a:t>  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A39915B-9ABF-B14B-9D97-74BA32E4A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4" y="863600"/>
            <a:ext cx="4608512" cy="324008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40F90E-47D7-7D44-9D8A-664B514A6F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12000"/>
            <a:ext cx="4600995" cy="251600"/>
          </a:xfrm>
          <a:prstGeom prst="rect">
            <a:avLst/>
          </a:prstGeom>
        </p:spPr>
        <p:txBody>
          <a:bodyPr lIns="0" tIns="36000" rIns="0" bIns="0"/>
          <a:lstStyle>
            <a:lvl1pPr marL="0" indent="0">
              <a:buFontTx/>
              <a:buNone/>
              <a:defRPr sz="1500" b="1">
                <a:solidFill>
                  <a:srgbClr val="4A5A66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Produktbezeichnung einfügen</a:t>
            </a:r>
          </a:p>
        </p:txBody>
      </p:sp>
      <p:sp>
        <p:nvSpPr>
          <p:cNvPr id="12" name="Freihandform 11">
            <a:extLst>
              <a:ext uri="{FF2B5EF4-FFF2-40B4-BE49-F238E27FC236}">
                <a16:creationId xmlns:a16="http://schemas.microsoft.com/office/drawing/2014/main" id="{635E7299-EF08-1E1F-59DC-3364107D1D42}"/>
              </a:ext>
            </a:extLst>
          </p:cNvPr>
          <p:cNvSpPr/>
          <p:nvPr userDrawn="1"/>
        </p:nvSpPr>
        <p:spPr>
          <a:xfrm rot="2700000" flipH="1" flipV="1">
            <a:off x="6478004" y="-216727"/>
            <a:ext cx="25202" cy="1416220"/>
          </a:xfrm>
          <a:custGeom>
            <a:avLst/>
            <a:gdLst>
              <a:gd name="connsiteX0" fmla="*/ 1 w 25202"/>
              <a:gd name="connsiteY0" fmla="*/ 0 h 1416220"/>
              <a:gd name="connsiteX1" fmla="*/ 0 w 25202"/>
              <a:gd name="connsiteY1" fmla="*/ 1416220 h 1416220"/>
              <a:gd name="connsiteX2" fmla="*/ 25202 w 25202"/>
              <a:gd name="connsiteY2" fmla="*/ 1391018 h 1416220"/>
              <a:gd name="connsiteX3" fmla="*/ 25201 w 25202"/>
              <a:gd name="connsiteY3" fmla="*/ 0 h 1416220"/>
              <a:gd name="connsiteX4" fmla="*/ 1 w 25202"/>
              <a:gd name="connsiteY4" fmla="*/ 0 h 141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2" h="1416220">
                <a:moveTo>
                  <a:pt x="1" y="0"/>
                </a:moveTo>
                <a:lnTo>
                  <a:pt x="0" y="1416220"/>
                </a:lnTo>
                <a:lnTo>
                  <a:pt x="25202" y="1391018"/>
                </a:lnTo>
                <a:lnTo>
                  <a:pt x="25201" y="0"/>
                </a:lnTo>
                <a:lnTo>
                  <a:pt x="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13" name="Freihandform 12">
            <a:extLst>
              <a:ext uri="{FF2B5EF4-FFF2-40B4-BE49-F238E27FC236}">
                <a16:creationId xmlns:a16="http://schemas.microsoft.com/office/drawing/2014/main" id="{2E546EB5-833C-AD63-B797-A79D8586A4E8}"/>
              </a:ext>
            </a:extLst>
          </p:cNvPr>
          <p:cNvSpPr/>
          <p:nvPr userDrawn="1"/>
        </p:nvSpPr>
        <p:spPr>
          <a:xfrm rot="2700000" flipH="1" flipV="1">
            <a:off x="9316160" y="-216727"/>
            <a:ext cx="25201" cy="1416218"/>
          </a:xfrm>
          <a:custGeom>
            <a:avLst/>
            <a:gdLst>
              <a:gd name="connsiteX0" fmla="*/ 1 w 25201"/>
              <a:gd name="connsiteY0" fmla="*/ 0 h 1416218"/>
              <a:gd name="connsiteX1" fmla="*/ 0 w 25201"/>
              <a:gd name="connsiteY1" fmla="*/ 1416218 h 1416218"/>
              <a:gd name="connsiteX2" fmla="*/ 25201 w 25201"/>
              <a:gd name="connsiteY2" fmla="*/ 1391017 h 1416218"/>
              <a:gd name="connsiteX3" fmla="*/ 25200 w 25201"/>
              <a:gd name="connsiteY3" fmla="*/ 0 h 1416218"/>
              <a:gd name="connsiteX4" fmla="*/ 1 w 25201"/>
              <a:gd name="connsiteY4" fmla="*/ 0 h 141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1" h="1416218">
                <a:moveTo>
                  <a:pt x="1" y="0"/>
                </a:moveTo>
                <a:lnTo>
                  <a:pt x="0" y="1416218"/>
                </a:lnTo>
                <a:lnTo>
                  <a:pt x="25201" y="1391017"/>
                </a:lnTo>
                <a:lnTo>
                  <a:pt x="2520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19" name="Freihandform 18">
            <a:extLst>
              <a:ext uri="{FF2B5EF4-FFF2-40B4-BE49-F238E27FC236}">
                <a16:creationId xmlns:a16="http://schemas.microsoft.com/office/drawing/2014/main" id="{65765C61-AFAC-32A7-B43D-C8C8F0614F9C}"/>
              </a:ext>
            </a:extLst>
          </p:cNvPr>
          <p:cNvSpPr/>
          <p:nvPr userDrawn="1"/>
        </p:nvSpPr>
        <p:spPr>
          <a:xfrm rot="2700000" flipH="1" flipV="1">
            <a:off x="7901357" y="-215339"/>
            <a:ext cx="25202" cy="1406740"/>
          </a:xfrm>
          <a:custGeom>
            <a:avLst/>
            <a:gdLst>
              <a:gd name="connsiteX0" fmla="*/ 0 w 25202"/>
              <a:gd name="connsiteY0" fmla="*/ 0 h 1406740"/>
              <a:gd name="connsiteX1" fmla="*/ 1 w 25202"/>
              <a:gd name="connsiteY1" fmla="*/ 1406740 h 1406740"/>
              <a:gd name="connsiteX2" fmla="*/ 25202 w 25202"/>
              <a:gd name="connsiteY2" fmla="*/ 1381539 h 1406740"/>
              <a:gd name="connsiteX3" fmla="*/ 25200 w 25202"/>
              <a:gd name="connsiteY3" fmla="*/ 0 h 1406740"/>
              <a:gd name="connsiteX4" fmla="*/ 0 w 25202"/>
              <a:gd name="connsiteY4" fmla="*/ 0 h 1406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2" h="1406740">
                <a:moveTo>
                  <a:pt x="0" y="0"/>
                </a:moveTo>
                <a:lnTo>
                  <a:pt x="1" y="1406740"/>
                </a:lnTo>
                <a:lnTo>
                  <a:pt x="25202" y="1381539"/>
                </a:lnTo>
                <a:lnTo>
                  <a:pt x="252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1D9D9092-9A2E-50BA-AC13-5EA74ABCA044}"/>
              </a:ext>
            </a:extLst>
          </p:cNvPr>
          <p:cNvSpPr/>
          <p:nvPr userDrawn="1"/>
        </p:nvSpPr>
        <p:spPr>
          <a:xfrm rot="8100000" flipH="1" flipV="1">
            <a:off x="6511867" y="1119358"/>
            <a:ext cx="25200" cy="1512000"/>
          </a:xfrm>
          <a:prstGeom prst="rect">
            <a:avLst/>
          </a:prstGeom>
          <a:gradFill>
            <a:gsLst>
              <a:gs pos="0">
                <a:schemeClr val="accent3"/>
              </a:gs>
              <a:gs pos="44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C96B794D-FB68-3C5D-94E0-5A19853DF505}"/>
              </a:ext>
            </a:extLst>
          </p:cNvPr>
          <p:cNvSpPr/>
          <p:nvPr userDrawn="1"/>
        </p:nvSpPr>
        <p:spPr>
          <a:xfrm rot="8100000" flipH="1" flipV="1">
            <a:off x="7912267" y="1104958"/>
            <a:ext cx="25200" cy="1512000"/>
          </a:xfrm>
          <a:prstGeom prst="rect">
            <a:avLst/>
          </a:prstGeom>
          <a:gradFill>
            <a:gsLst>
              <a:gs pos="0">
                <a:schemeClr val="accent3"/>
              </a:gs>
              <a:gs pos="44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25" name="Freihandform 24">
            <a:extLst>
              <a:ext uri="{FF2B5EF4-FFF2-40B4-BE49-F238E27FC236}">
                <a16:creationId xmlns:a16="http://schemas.microsoft.com/office/drawing/2014/main" id="{F239D590-E2DE-DC33-396E-3E5A2C2E932D}"/>
              </a:ext>
            </a:extLst>
          </p:cNvPr>
          <p:cNvSpPr/>
          <p:nvPr userDrawn="1"/>
        </p:nvSpPr>
        <p:spPr>
          <a:xfrm flipV="1">
            <a:off x="10230667" y="-417"/>
            <a:ext cx="1024391" cy="1006572"/>
          </a:xfrm>
          <a:custGeom>
            <a:avLst/>
            <a:gdLst>
              <a:gd name="connsiteX0" fmla="*/ 17819 w 1024391"/>
              <a:gd name="connsiteY0" fmla="*/ 0 h 1006572"/>
              <a:gd name="connsiteX1" fmla="*/ 1024391 w 1024391"/>
              <a:gd name="connsiteY1" fmla="*/ 1006572 h 1006572"/>
              <a:gd name="connsiteX2" fmla="*/ 988751 w 1024391"/>
              <a:gd name="connsiteY2" fmla="*/ 1006572 h 1006572"/>
              <a:gd name="connsiteX3" fmla="*/ 0 w 1024391"/>
              <a:gd name="connsiteY3" fmla="*/ 17819 h 1006572"/>
              <a:gd name="connsiteX4" fmla="*/ 17819 w 1024391"/>
              <a:gd name="connsiteY4" fmla="*/ 0 h 1006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4391" h="1006572">
                <a:moveTo>
                  <a:pt x="17819" y="0"/>
                </a:moveTo>
                <a:lnTo>
                  <a:pt x="1024391" y="1006572"/>
                </a:lnTo>
                <a:lnTo>
                  <a:pt x="988751" y="1006572"/>
                </a:lnTo>
                <a:lnTo>
                  <a:pt x="0" y="17819"/>
                </a:lnTo>
                <a:lnTo>
                  <a:pt x="17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5D6B8D3D-4A20-B211-966C-4C225DD13B8E}"/>
              </a:ext>
            </a:extLst>
          </p:cNvPr>
          <p:cNvSpPr/>
          <p:nvPr userDrawn="1"/>
        </p:nvSpPr>
        <p:spPr>
          <a:xfrm rot="8100000" flipH="1" flipV="1">
            <a:off x="3590827" y="1119357"/>
            <a:ext cx="25200" cy="151200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6E0B3C1-6C00-FE70-8CC0-8265E165B62C}"/>
              </a:ext>
            </a:extLst>
          </p:cNvPr>
          <p:cNvSpPr/>
          <p:nvPr userDrawn="1"/>
        </p:nvSpPr>
        <p:spPr>
          <a:xfrm rot="8100000" flipH="1" flipV="1">
            <a:off x="4991227" y="1104957"/>
            <a:ext cx="25200" cy="151200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1" name="Freihandform 30">
            <a:extLst>
              <a:ext uri="{FF2B5EF4-FFF2-40B4-BE49-F238E27FC236}">
                <a16:creationId xmlns:a16="http://schemas.microsoft.com/office/drawing/2014/main" id="{2DDA3ECA-14F5-FBFD-5F5D-FED7D78B2D0D}"/>
              </a:ext>
            </a:extLst>
          </p:cNvPr>
          <p:cNvSpPr/>
          <p:nvPr userDrawn="1"/>
        </p:nvSpPr>
        <p:spPr>
          <a:xfrm rot="2700000">
            <a:off x="9468560" y="5280509"/>
            <a:ext cx="25201" cy="1416218"/>
          </a:xfrm>
          <a:custGeom>
            <a:avLst/>
            <a:gdLst>
              <a:gd name="connsiteX0" fmla="*/ 1 w 25201"/>
              <a:gd name="connsiteY0" fmla="*/ 0 h 1416218"/>
              <a:gd name="connsiteX1" fmla="*/ 0 w 25201"/>
              <a:gd name="connsiteY1" fmla="*/ 1416218 h 1416218"/>
              <a:gd name="connsiteX2" fmla="*/ 25201 w 25201"/>
              <a:gd name="connsiteY2" fmla="*/ 1391017 h 1416218"/>
              <a:gd name="connsiteX3" fmla="*/ 25200 w 25201"/>
              <a:gd name="connsiteY3" fmla="*/ 0 h 1416218"/>
              <a:gd name="connsiteX4" fmla="*/ 1 w 25201"/>
              <a:gd name="connsiteY4" fmla="*/ 0 h 141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1" h="1416218">
                <a:moveTo>
                  <a:pt x="1" y="0"/>
                </a:moveTo>
                <a:lnTo>
                  <a:pt x="0" y="1416218"/>
                </a:lnTo>
                <a:lnTo>
                  <a:pt x="25201" y="1391017"/>
                </a:lnTo>
                <a:lnTo>
                  <a:pt x="2520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2" name="Freihandform 31">
            <a:extLst>
              <a:ext uri="{FF2B5EF4-FFF2-40B4-BE49-F238E27FC236}">
                <a16:creationId xmlns:a16="http://schemas.microsoft.com/office/drawing/2014/main" id="{51374433-12AC-3C0D-69F2-DB1262F14C75}"/>
              </a:ext>
            </a:extLst>
          </p:cNvPr>
          <p:cNvSpPr/>
          <p:nvPr userDrawn="1"/>
        </p:nvSpPr>
        <p:spPr>
          <a:xfrm flipH="1">
            <a:off x="10383067" y="5473603"/>
            <a:ext cx="1024391" cy="1006572"/>
          </a:xfrm>
          <a:custGeom>
            <a:avLst/>
            <a:gdLst>
              <a:gd name="connsiteX0" fmla="*/ 17819 w 1024391"/>
              <a:gd name="connsiteY0" fmla="*/ 0 h 1006572"/>
              <a:gd name="connsiteX1" fmla="*/ 1024391 w 1024391"/>
              <a:gd name="connsiteY1" fmla="*/ 1006572 h 1006572"/>
              <a:gd name="connsiteX2" fmla="*/ 988751 w 1024391"/>
              <a:gd name="connsiteY2" fmla="*/ 1006572 h 1006572"/>
              <a:gd name="connsiteX3" fmla="*/ 0 w 1024391"/>
              <a:gd name="connsiteY3" fmla="*/ 17819 h 1006572"/>
              <a:gd name="connsiteX4" fmla="*/ 17819 w 1024391"/>
              <a:gd name="connsiteY4" fmla="*/ 0 h 1006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4391" h="1006572">
                <a:moveTo>
                  <a:pt x="17819" y="0"/>
                </a:moveTo>
                <a:lnTo>
                  <a:pt x="1024391" y="1006572"/>
                </a:lnTo>
                <a:lnTo>
                  <a:pt x="988751" y="1006572"/>
                </a:lnTo>
                <a:lnTo>
                  <a:pt x="0" y="17819"/>
                </a:lnTo>
                <a:lnTo>
                  <a:pt x="17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9" name="Freihandform 38">
            <a:extLst>
              <a:ext uri="{FF2B5EF4-FFF2-40B4-BE49-F238E27FC236}">
                <a16:creationId xmlns:a16="http://schemas.microsoft.com/office/drawing/2014/main" id="{B3E2D4AB-C43A-717A-1241-137AFFBCEFB1}"/>
              </a:ext>
            </a:extLst>
          </p:cNvPr>
          <p:cNvSpPr/>
          <p:nvPr userDrawn="1"/>
        </p:nvSpPr>
        <p:spPr>
          <a:xfrm rot="16200000">
            <a:off x="10350000" y="-8909"/>
            <a:ext cx="900104" cy="917925"/>
          </a:xfrm>
          <a:custGeom>
            <a:avLst/>
            <a:gdLst>
              <a:gd name="connsiteX0" fmla="*/ 900104 w 900104"/>
              <a:gd name="connsiteY0" fmla="*/ 882287 h 917925"/>
              <a:gd name="connsiteX1" fmla="*/ 900104 w 900104"/>
              <a:gd name="connsiteY1" fmla="*/ 917925 h 917925"/>
              <a:gd name="connsiteX2" fmla="*/ 0 w 900104"/>
              <a:gd name="connsiteY2" fmla="*/ 17821 h 917925"/>
              <a:gd name="connsiteX3" fmla="*/ 17820 w 900104"/>
              <a:gd name="connsiteY3" fmla="*/ 0 h 917925"/>
              <a:gd name="connsiteX4" fmla="*/ 900104 w 900104"/>
              <a:gd name="connsiteY4" fmla="*/ 882287 h 91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0104" h="917925">
                <a:moveTo>
                  <a:pt x="900104" y="882287"/>
                </a:moveTo>
                <a:lnTo>
                  <a:pt x="900104" y="917925"/>
                </a:lnTo>
                <a:lnTo>
                  <a:pt x="0" y="17821"/>
                </a:lnTo>
                <a:lnTo>
                  <a:pt x="17820" y="0"/>
                </a:lnTo>
                <a:lnTo>
                  <a:pt x="900104" y="882287"/>
                </a:lnTo>
                <a:close/>
              </a:path>
            </a:pathLst>
          </a:custGeom>
          <a:gradFill>
            <a:gsLst>
              <a:gs pos="57000">
                <a:schemeClr val="accent4"/>
              </a:gs>
              <a:gs pos="100000">
                <a:schemeClr val="accent3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8ED6FE7-C6F4-5119-5681-CA7AD2E002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545" y="207218"/>
            <a:ext cx="1161176" cy="37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78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385">
          <p15:clr>
            <a:srgbClr val="FBAE40"/>
          </p15:clr>
        </p15:guide>
        <p15:guide id="4" pos="4354">
          <p15:clr>
            <a:srgbClr val="FBAE40"/>
          </p15:clr>
        </p15:guide>
        <p15:guide id="5" pos="3447">
          <p15:clr>
            <a:srgbClr val="FBAE40"/>
          </p15:clr>
        </p15:guide>
        <p15:guide id="6" pos="3266">
          <p15:clr>
            <a:srgbClr val="FBAE40"/>
          </p15:clr>
        </p15:guide>
        <p15:guide id="7" orient="horz" pos="5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- dunkelgrau+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6A0F3F-AFC8-BCD1-029F-3220CC1DE9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464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6A0F3F-AFC8-BCD1-029F-3220CC1DE9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25313FBF-CF62-B749-A8C2-BD7E6D715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1511299"/>
            <a:ext cx="6335712" cy="2592389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 einfüg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976AB954-C5AB-A345-8658-300F8AA0A2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3" y="4248150"/>
            <a:ext cx="6335712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A1D788-2454-1B4B-8E7C-E1D672A2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215900"/>
            <a:ext cx="1727736" cy="100796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80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B774478-5A05-B04C-8454-AEA104156899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solidFill>
                  <a:schemeClr val="bg1"/>
                </a:solidFill>
                <a:latin typeface="+mj-lt"/>
              </a:rPr>
              <a:pPr/>
              <a:t>‹Nr.›</a:t>
            </a:fld>
            <a:endParaRPr lang="de-DE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AF1E12B7-3130-7F4C-B2EB-421040A86D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40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64C124FF-115D-4F76-A396-FC51AB950E66}" type="datetime1">
              <a:rPr lang="de-DE" smtClean="0"/>
              <a:t>17.04.2026</a:t>
            </a:fld>
            <a:endParaRPr lang="de-DE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3C4E3138-5FA4-CF41-90A6-EA5CA95C7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40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Axiforma for Sec"/>
              <a:buChar char="|"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F137A96-9116-673A-4CFA-A30AD13BC89D}"/>
              </a:ext>
            </a:extLst>
          </p:cNvPr>
          <p:cNvSpPr/>
          <p:nvPr userDrawn="1"/>
        </p:nvSpPr>
        <p:spPr>
          <a:xfrm rot="2700000" flipH="1">
            <a:off x="8837520" y="1548000"/>
            <a:ext cx="25200" cy="234000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FEB4571-4E0B-1647-CEB2-156A8ED1F5BB}"/>
              </a:ext>
            </a:extLst>
          </p:cNvPr>
          <p:cNvSpPr/>
          <p:nvPr userDrawn="1"/>
        </p:nvSpPr>
        <p:spPr>
          <a:xfrm rot="2700000" flipH="1">
            <a:off x="8740577" y="1687311"/>
            <a:ext cx="25200" cy="4212000"/>
          </a:xfrm>
          <a:prstGeom prst="rect">
            <a:avLst/>
          </a:prstGeom>
          <a:gradFill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0B318475-A23D-D09E-2736-214E8FD81FBA}"/>
              </a:ext>
            </a:extLst>
          </p:cNvPr>
          <p:cNvSpPr/>
          <p:nvPr userDrawn="1"/>
        </p:nvSpPr>
        <p:spPr>
          <a:xfrm rot="2700000" flipH="1">
            <a:off x="9183392" y="3614177"/>
            <a:ext cx="25200" cy="1440000"/>
          </a:xfrm>
          <a:prstGeom prst="rect">
            <a:avLst/>
          </a:prstGeom>
          <a:gradFill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27" name="Freihandform 26">
            <a:extLst>
              <a:ext uri="{FF2B5EF4-FFF2-40B4-BE49-F238E27FC236}">
                <a16:creationId xmlns:a16="http://schemas.microsoft.com/office/drawing/2014/main" id="{E61FEE1C-A510-6F2F-ABD1-B8BDACDB913C}"/>
              </a:ext>
            </a:extLst>
          </p:cNvPr>
          <p:cNvSpPr/>
          <p:nvPr userDrawn="1"/>
        </p:nvSpPr>
        <p:spPr>
          <a:xfrm>
            <a:off x="10711464" y="1007839"/>
            <a:ext cx="809024" cy="826843"/>
          </a:xfrm>
          <a:custGeom>
            <a:avLst/>
            <a:gdLst>
              <a:gd name="connsiteX0" fmla="*/ 809024 w 809024"/>
              <a:gd name="connsiteY0" fmla="*/ 0 h 826843"/>
              <a:gd name="connsiteX1" fmla="*/ 809024 w 809024"/>
              <a:gd name="connsiteY1" fmla="*/ 35637 h 826843"/>
              <a:gd name="connsiteX2" fmla="*/ 17818 w 809024"/>
              <a:gd name="connsiteY2" fmla="*/ 826843 h 826843"/>
              <a:gd name="connsiteX3" fmla="*/ 0 w 809024"/>
              <a:gd name="connsiteY3" fmla="*/ 809024 h 826843"/>
              <a:gd name="connsiteX4" fmla="*/ 809024 w 809024"/>
              <a:gd name="connsiteY4" fmla="*/ 0 h 826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024" h="826843">
                <a:moveTo>
                  <a:pt x="809024" y="0"/>
                </a:moveTo>
                <a:lnTo>
                  <a:pt x="809024" y="35637"/>
                </a:lnTo>
                <a:lnTo>
                  <a:pt x="17818" y="826843"/>
                </a:lnTo>
                <a:lnTo>
                  <a:pt x="0" y="809024"/>
                </a:lnTo>
                <a:lnTo>
                  <a:pt x="809024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E801EC8-8BD6-9FA3-52F9-E98E646639F9}"/>
              </a:ext>
            </a:extLst>
          </p:cNvPr>
          <p:cNvSpPr/>
          <p:nvPr userDrawn="1"/>
        </p:nvSpPr>
        <p:spPr>
          <a:xfrm rot="2700000" flipH="1">
            <a:off x="9126795" y="196727"/>
            <a:ext cx="25200" cy="22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6" name="Freihandform 35">
            <a:extLst>
              <a:ext uri="{FF2B5EF4-FFF2-40B4-BE49-F238E27FC236}">
                <a16:creationId xmlns:a16="http://schemas.microsoft.com/office/drawing/2014/main" id="{3BC3AEC0-C806-A5CA-71CC-A1BBD15DBB08}"/>
              </a:ext>
            </a:extLst>
          </p:cNvPr>
          <p:cNvSpPr/>
          <p:nvPr userDrawn="1"/>
        </p:nvSpPr>
        <p:spPr>
          <a:xfrm>
            <a:off x="9194400" y="2977200"/>
            <a:ext cx="2324495" cy="2342314"/>
          </a:xfrm>
          <a:custGeom>
            <a:avLst/>
            <a:gdLst>
              <a:gd name="connsiteX0" fmla="*/ 2324495 w 2324495"/>
              <a:gd name="connsiteY0" fmla="*/ 0 h 2342314"/>
              <a:gd name="connsiteX1" fmla="*/ 2324495 w 2324495"/>
              <a:gd name="connsiteY1" fmla="*/ 35638 h 2342314"/>
              <a:gd name="connsiteX2" fmla="*/ 17819 w 2324495"/>
              <a:gd name="connsiteY2" fmla="*/ 2342314 h 2342314"/>
              <a:gd name="connsiteX3" fmla="*/ 0 w 2324495"/>
              <a:gd name="connsiteY3" fmla="*/ 2324495 h 2342314"/>
              <a:gd name="connsiteX4" fmla="*/ 2324495 w 2324495"/>
              <a:gd name="connsiteY4" fmla="*/ 0 h 234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4495" h="2342314">
                <a:moveTo>
                  <a:pt x="2324495" y="0"/>
                </a:moveTo>
                <a:lnTo>
                  <a:pt x="2324495" y="35638"/>
                </a:lnTo>
                <a:lnTo>
                  <a:pt x="17819" y="2342314"/>
                </a:lnTo>
                <a:lnTo>
                  <a:pt x="0" y="2324495"/>
                </a:lnTo>
                <a:lnTo>
                  <a:pt x="2324495" y="0"/>
                </a:lnTo>
                <a:close/>
              </a:path>
            </a:pathLst>
          </a:custGeom>
          <a:gradFill flip="none" rotWithShape="1">
            <a:gsLst>
              <a:gs pos="52000">
                <a:schemeClr val="accent4"/>
              </a:gs>
              <a:gs pos="100000">
                <a:schemeClr val="accent3"/>
              </a:gs>
              <a:gs pos="0">
                <a:schemeClr val="accent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9" name="Freihandform 38">
            <a:extLst>
              <a:ext uri="{FF2B5EF4-FFF2-40B4-BE49-F238E27FC236}">
                <a16:creationId xmlns:a16="http://schemas.microsoft.com/office/drawing/2014/main" id="{7F0177D6-BC4B-0FA1-7E03-0366F3CF76F8}"/>
              </a:ext>
            </a:extLst>
          </p:cNvPr>
          <p:cNvSpPr/>
          <p:nvPr userDrawn="1"/>
        </p:nvSpPr>
        <p:spPr>
          <a:xfrm>
            <a:off x="10620784" y="1"/>
            <a:ext cx="898111" cy="900104"/>
          </a:xfrm>
          <a:custGeom>
            <a:avLst/>
            <a:gdLst>
              <a:gd name="connsiteX0" fmla="*/ 882286 w 898111"/>
              <a:gd name="connsiteY0" fmla="*/ 0 h 900104"/>
              <a:gd name="connsiteX1" fmla="*/ 898111 w 898111"/>
              <a:gd name="connsiteY1" fmla="*/ 0 h 900104"/>
              <a:gd name="connsiteX2" fmla="*/ 898111 w 898111"/>
              <a:gd name="connsiteY2" fmla="*/ 19813 h 900104"/>
              <a:gd name="connsiteX3" fmla="*/ 17820 w 898111"/>
              <a:gd name="connsiteY3" fmla="*/ 900104 h 900104"/>
              <a:gd name="connsiteX4" fmla="*/ 0 w 898111"/>
              <a:gd name="connsiteY4" fmla="*/ 882285 h 900104"/>
              <a:gd name="connsiteX5" fmla="*/ 882286 w 898111"/>
              <a:gd name="connsiteY5" fmla="*/ 0 h 900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8111" h="900104">
                <a:moveTo>
                  <a:pt x="882286" y="0"/>
                </a:moveTo>
                <a:lnTo>
                  <a:pt x="898111" y="0"/>
                </a:lnTo>
                <a:lnTo>
                  <a:pt x="898111" y="19813"/>
                </a:lnTo>
                <a:lnTo>
                  <a:pt x="17820" y="900104"/>
                </a:lnTo>
                <a:lnTo>
                  <a:pt x="0" y="882285"/>
                </a:lnTo>
                <a:lnTo>
                  <a:pt x="882286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54D6CC2-7C1F-CB21-9562-597A17AF9C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395" cy="8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695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titel - dunkelgrau+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CC00959A-5DF7-C6A8-9F8C-7A032BDEC3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513"/>
            <a:ext cx="11522866" cy="6478486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6A0F3F-AFC8-BCD1-029F-3220CC1DE9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464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6A0F3F-AFC8-BCD1-029F-3220CC1DE9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25313FBF-CF62-B749-A8C2-BD7E6D715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1511299"/>
            <a:ext cx="6335712" cy="2592389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 einfüg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976AB954-C5AB-A345-8658-300F8AA0A2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3" y="4248150"/>
            <a:ext cx="6335712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A1D788-2454-1B4B-8E7C-E1D672A2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215900"/>
            <a:ext cx="1727736" cy="100796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80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B774478-5A05-B04C-8454-AEA104156899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solidFill>
                  <a:schemeClr val="bg1"/>
                </a:solidFill>
                <a:latin typeface="+mj-lt"/>
              </a:rPr>
              <a:pPr/>
              <a:t>‹Nr.›</a:t>
            </a:fld>
            <a:endParaRPr lang="de-DE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AF1E12B7-3130-7F4C-B2EB-421040A86D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40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C401DF1C-C5D5-4317-9ECE-D18F05C32F6A}" type="datetime1">
              <a:rPr lang="de-DE" smtClean="0"/>
              <a:t>17.04.2026</a:t>
            </a:fld>
            <a:endParaRPr lang="de-DE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3C4E3138-5FA4-CF41-90A6-EA5CA95C7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40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Axiforma for Sec"/>
              <a:buChar char="|"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33148CD-CF75-21D3-DBB6-60F8D294C349}"/>
              </a:ext>
            </a:extLst>
          </p:cNvPr>
          <p:cNvSpPr/>
          <p:nvPr userDrawn="1"/>
        </p:nvSpPr>
        <p:spPr>
          <a:xfrm rot="2700000" flipH="1">
            <a:off x="8837520" y="1548000"/>
            <a:ext cx="25200" cy="23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3D49092-D273-C8A3-9D5E-662EEA0D5219}"/>
              </a:ext>
            </a:extLst>
          </p:cNvPr>
          <p:cNvSpPr/>
          <p:nvPr userDrawn="1"/>
        </p:nvSpPr>
        <p:spPr>
          <a:xfrm rot="2700000" flipH="1">
            <a:off x="8740577" y="1687311"/>
            <a:ext cx="25200" cy="42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E751E89-BEB7-5571-F666-507831FABC4F}"/>
              </a:ext>
            </a:extLst>
          </p:cNvPr>
          <p:cNvSpPr/>
          <p:nvPr userDrawn="1"/>
        </p:nvSpPr>
        <p:spPr>
          <a:xfrm rot="2700000" flipH="1">
            <a:off x="9183392" y="3614177"/>
            <a:ext cx="25200" cy="14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0" name="Freihandform 29">
            <a:extLst>
              <a:ext uri="{FF2B5EF4-FFF2-40B4-BE49-F238E27FC236}">
                <a16:creationId xmlns:a16="http://schemas.microsoft.com/office/drawing/2014/main" id="{E90F0BEE-20F1-BD5F-47B8-F3DF7A0D90C9}"/>
              </a:ext>
            </a:extLst>
          </p:cNvPr>
          <p:cNvSpPr/>
          <p:nvPr userDrawn="1"/>
        </p:nvSpPr>
        <p:spPr>
          <a:xfrm>
            <a:off x="10711464" y="1007839"/>
            <a:ext cx="809024" cy="826843"/>
          </a:xfrm>
          <a:custGeom>
            <a:avLst/>
            <a:gdLst>
              <a:gd name="connsiteX0" fmla="*/ 809024 w 809024"/>
              <a:gd name="connsiteY0" fmla="*/ 0 h 826843"/>
              <a:gd name="connsiteX1" fmla="*/ 809024 w 809024"/>
              <a:gd name="connsiteY1" fmla="*/ 35637 h 826843"/>
              <a:gd name="connsiteX2" fmla="*/ 17818 w 809024"/>
              <a:gd name="connsiteY2" fmla="*/ 826843 h 826843"/>
              <a:gd name="connsiteX3" fmla="*/ 0 w 809024"/>
              <a:gd name="connsiteY3" fmla="*/ 809024 h 826843"/>
              <a:gd name="connsiteX4" fmla="*/ 809024 w 809024"/>
              <a:gd name="connsiteY4" fmla="*/ 0 h 826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024" h="826843">
                <a:moveTo>
                  <a:pt x="809024" y="0"/>
                </a:moveTo>
                <a:lnTo>
                  <a:pt x="809024" y="35637"/>
                </a:lnTo>
                <a:lnTo>
                  <a:pt x="17818" y="826843"/>
                </a:lnTo>
                <a:lnTo>
                  <a:pt x="0" y="809024"/>
                </a:lnTo>
                <a:lnTo>
                  <a:pt x="80902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324ED84-BE4C-FC7D-E692-7DD086F84487}"/>
              </a:ext>
            </a:extLst>
          </p:cNvPr>
          <p:cNvSpPr/>
          <p:nvPr userDrawn="1"/>
        </p:nvSpPr>
        <p:spPr>
          <a:xfrm rot="2700000" flipH="1">
            <a:off x="9126795" y="196727"/>
            <a:ext cx="25200" cy="22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2" name="Freihandform 31">
            <a:extLst>
              <a:ext uri="{FF2B5EF4-FFF2-40B4-BE49-F238E27FC236}">
                <a16:creationId xmlns:a16="http://schemas.microsoft.com/office/drawing/2014/main" id="{3A274DF9-C41B-D36E-0779-3F74459050FE}"/>
              </a:ext>
            </a:extLst>
          </p:cNvPr>
          <p:cNvSpPr/>
          <p:nvPr userDrawn="1"/>
        </p:nvSpPr>
        <p:spPr>
          <a:xfrm>
            <a:off x="9194400" y="2977200"/>
            <a:ext cx="2324495" cy="2342314"/>
          </a:xfrm>
          <a:custGeom>
            <a:avLst/>
            <a:gdLst>
              <a:gd name="connsiteX0" fmla="*/ 2324495 w 2324495"/>
              <a:gd name="connsiteY0" fmla="*/ 0 h 2342314"/>
              <a:gd name="connsiteX1" fmla="*/ 2324495 w 2324495"/>
              <a:gd name="connsiteY1" fmla="*/ 35638 h 2342314"/>
              <a:gd name="connsiteX2" fmla="*/ 17819 w 2324495"/>
              <a:gd name="connsiteY2" fmla="*/ 2342314 h 2342314"/>
              <a:gd name="connsiteX3" fmla="*/ 0 w 2324495"/>
              <a:gd name="connsiteY3" fmla="*/ 2324495 h 2342314"/>
              <a:gd name="connsiteX4" fmla="*/ 2324495 w 2324495"/>
              <a:gd name="connsiteY4" fmla="*/ 0 h 234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4495" h="2342314">
                <a:moveTo>
                  <a:pt x="2324495" y="0"/>
                </a:moveTo>
                <a:lnTo>
                  <a:pt x="2324495" y="35638"/>
                </a:lnTo>
                <a:lnTo>
                  <a:pt x="17819" y="2342314"/>
                </a:lnTo>
                <a:lnTo>
                  <a:pt x="0" y="2324495"/>
                </a:lnTo>
                <a:lnTo>
                  <a:pt x="232449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3" name="Freihandform 32">
            <a:extLst>
              <a:ext uri="{FF2B5EF4-FFF2-40B4-BE49-F238E27FC236}">
                <a16:creationId xmlns:a16="http://schemas.microsoft.com/office/drawing/2014/main" id="{4CE4F998-4AFC-2E0B-02BA-86BAC0AB5CD7}"/>
              </a:ext>
            </a:extLst>
          </p:cNvPr>
          <p:cNvSpPr/>
          <p:nvPr userDrawn="1"/>
        </p:nvSpPr>
        <p:spPr>
          <a:xfrm>
            <a:off x="10620784" y="1"/>
            <a:ext cx="898111" cy="900104"/>
          </a:xfrm>
          <a:custGeom>
            <a:avLst/>
            <a:gdLst>
              <a:gd name="connsiteX0" fmla="*/ 882286 w 898111"/>
              <a:gd name="connsiteY0" fmla="*/ 0 h 900104"/>
              <a:gd name="connsiteX1" fmla="*/ 898111 w 898111"/>
              <a:gd name="connsiteY1" fmla="*/ 0 h 900104"/>
              <a:gd name="connsiteX2" fmla="*/ 898111 w 898111"/>
              <a:gd name="connsiteY2" fmla="*/ 19813 h 900104"/>
              <a:gd name="connsiteX3" fmla="*/ 17820 w 898111"/>
              <a:gd name="connsiteY3" fmla="*/ 900104 h 900104"/>
              <a:gd name="connsiteX4" fmla="*/ 0 w 898111"/>
              <a:gd name="connsiteY4" fmla="*/ 882285 h 900104"/>
              <a:gd name="connsiteX5" fmla="*/ 882286 w 898111"/>
              <a:gd name="connsiteY5" fmla="*/ 0 h 900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8111" h="900104">
                <a:moveTo>
                  <a:pt x="882286" y="0"/>
                </a:moveTo>
                <a:lnTo>
                  <a:pt x="898111" y="0"/>
                </a:lnTo>
                <a:lnTo>
                  <a:pt x="898111" y="19813"/>
                </a:lnTo>
                <a:lnTo>
                  <a:pt x="17820" y="900104"/>
                </a:lnTo>
                <a:lnTo>
                  <a:pt x="0" y="882285"/>
                </a:lnTo>
                <a:lnTo>
                  <a:pt x="88228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2860090-385F-5B6F-A0AA-1539181B5D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395" cy="8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487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Zwischentitel - dunkelgrau+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BE0E160-D727-543D-00C9-38EA860CC6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513"/>
            <a:ext cx="11522866" cy="6478486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6A0F3F-AFC8-BCD1-029F-3220CC1DE9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464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6A0F3F-AFC8-BCD1-029F-3220CC1DE9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25313FBF-CF62-B749-A8C2-BD7E6D715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1511299"/>
            <a:ext cx="6335712" cy="2592389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 einfüg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976AB954-C5AB-A345-8658-300F8AA0A2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3" y="4248150"/>
            <a:ext cx="6335712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A1D788-2454-1B4B-8E7C-E1D672A2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215900"/>
            <a:ext cx="1727736" cy="100796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80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B774478-5A05-B04C-8454-AEA104156899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solidFill>
                  <a:schemeClr val="bg1"/>
                </a:solidFill>
                <a:latin typeface="+mj-lt"/>
              </a:rPr>
              <a:pPr/>
              <a:t>‹Nr.›</a:t>
            </a:fld>
            <a:endParaRPr lang="de-DE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AF1E12B7-3130-7F4C-B2EB-421040A86D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40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18853832-2B5B-4AB0-AEFC-1E77E2EB028C}" type="datetime1">
              <a:rPr lang="de-DE" smtClean="0"/>
              <a:t>17.04.2026</a:t>
            </a:fld>
            <a:endParaRPr lang="de-DE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3C4E3138-5FA4-CF41-90A6-EA5CA95C7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40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Axiforma for Sec"/>
              <a:buChar char="|"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33148CD-CF75-21D3-DBB6-60F8D294C349}"/>
              </a:ext>
            </a:extLst>
          </p:cNvPr>
          <p:cNvSpPr/>
          <p:nvPr userDrawn="1"/>
        </p:nvSpPr>
        <p:spPr>
          <a:xfrm rot="2700000" flipH="1">
            <a:off x="8837520" y="1548000"/>
            <a:ext cx="25200" cy="23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3D49092-D273-C8A3-9D5E-662EEA0D5219}"/>
              </a:ext>
            </a:extLst>
          </p:cNvPr>
          <p:cNvSpPr/>
          <p:nvPr userDrawn="1"/>
        </p:nvSpPr>
        <p:spPr>
          <a:xfrm rot="2700000" flipH="1">
            <a:off x="8740577" y="1687311"/>
            <a:ext cx="25200" cy="42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E751E89-BEB7-5571-F666-507831FABC4F}"/>
              </a:ext>
            </a:extLst>
          </p:cNvPr>
          <p:cNvSpPr/>
          <p:nvPr userDrawn="1"/>
        </p:nvSpPr>
        <p:spPr>
          <a:xfrm rot="2700000" flipH="1">
            <a:off x="9183392" y="3614177"/>
            <a:ext cx="25200" cy="14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0" name="Freihandform 29">
            <a:extLst>
              <a:ext uri="{FF2B5EF4-FFF2-40B4-BE49-F238E27FC236}">
                <a16:creationId xmlns:a16="http://schemas.microsoft.com/office/drawing/2014/main" id="{E90F0BEE-20F1-BD5F-47B8-F3DF7A0D90C9}"/>
              </a:ext>
            </a:extLst>
          </p:cNvPr>
          <p:cNvSpPr/>
          <p:nvPr userDrawn="1"/>
        </p:nvSpPr>
        <p:spPr>
          <a:xfrm>
            <a:off x="10711464" y="1007839"/>
            <a:ext cx="809024" cy="826843"/>
          </a:xfrm>
          <a:custGeom>
            <a:avLst/>
            <a:gdLst>
              <a:gd name="connsiteX0" fmla="*/ 809024 w 809024"/>
              <a:gd name="connsiteY0" fmla="*/ 0 h 826843"/>
              <a:gd name="connsiteX1" fmla="*/ 809024 w 809024"/>
              <a:gd name="connsiteY1" fmla="*/ 35637 h 826843"/>
              <a:gd name="connsiteX2" fmla="*/ 17818 w 809024"/>
              <a:gd name="connsiteY2" fmla="*/ 826843 h 826843"/>
              <a:gd name="connsiteX3" fmla="*/ 0 w 809024"/>
              <a:gd name="connsiteY3" fmla="*/ 809024 h 826843"/>
              <a:gd name="connsiteX4" fmla="*/ 809024 w 809024"/>
              <a:gd name="connsiteY4" fmla="*/ 0 h 826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024" h="826843">
                <a:moveTo>
                  <a:pt x="809024" y="0"/>
                </a:moveTo>
                <a:lnTo>
                  <a:pt x="809024" y="35637"/>
                </a:lnTo>
                <a:lnTo>
                  <a:pt x="17818" y="826843"/>
                </a:lnTo>
                <a:lnTo>
                  <a:pt x="0" y="809024"/>
                </a:lnTo>
                <a:lnTo>
                  <a:pt x="80902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324ED84-BE4C-FC7D-E692-7DD086F84487}"/>
              </a:ext>
            </a:extLst>
          </p:cNvPr>
          <p:cNvSpPr/>
          <p:nvPr userDrawn="1"/>
        </p:nvSpPr>
        <p:spPr>
          <a:xfrm rot="2700000" flipH="1">
            <a:off x="9126795" y="196727"/>
            <a:ext cx="25200" cy="22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2" name="Freihandform 31">
            <a:extLst>
              <a:ext uri="{FF2B5EF4-FFF2-40B4-BE49-F238E27FC236}">
                <a16:creationId xmlns:a16="http://schemas.microsoft.com/office/drawing/2014/main" id="{3A274DF9-C41B-D36E-0779-3F74459050FE}"/>
              </a:ext>
            </a:extLst>
          </p:cNvPr>
          <p:cNvSpPr/>
          <p:nvPr userDrawn="1"/>
        </p:nvSpPr>
        <p:spPr>
          <a:xfrm>
            <a:off x="9194400" y="2977200"/>
            <a:ext cx="2324495" cy="2342314"/>
          </a:xfrm>
          <a:custGeom>
            <a:avLst/>
            <a:gdLst>
              <a:gd name="connsiteX0" fmla="*/ 2324495 w 2324495"/>
              <a:gd name="connsiteY0" fmla="*/ 0 h 2342314"/>
              <a:gd name="connsiteX1" fmla="*/ 2324495 w 2324495"/>
              <a:gd name="connsiteY1" fmla="*/ 35638 h 2342314"/>
              <a:gd name="connsiteX2" fmla="*/ 17819 w 2324495"/>
              <a:gd name="connsiteY2" fmla="*/ 2342314 h 2342314"/>
              <a:gd name="connsiteX3" fmla="*/ 0 w 2324495"/>
              <a:gd name="connsiteY3" fmla="*/ 2324495 h 2342314"/>
              <a:gd name="connsiteX4" fmla="*/ 2324495 w 2324495"/>
              <a:gd name="connsiteY4" fmla="*/ 0 h 234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4495" h="2342314">
                <a:moveTo>
                  <a:pt x="2324495" y="0"/>
                </a:moveTo>
                <a:lnTo>
                  <a:pt x="2324495" y="35638"/>
                </a:lnTo>
                <a:lnTo>
                  <a:pt x="17819" y="2342314"/>
                </a:lnTo>
                <a:lnTo>
                  <a:pt x="0" y="2324495"/>
                </a:lnTo>
                <a:lnTo>
                  <a:pt x="232449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3" name="Freihandform 32">
            <a:extLst>
              <a:ext uri="{FF2B5EF4-FFF2-40B4-BE49-F238E27FC236}">
                <a16:creationId xmlns:a16="http://schemas.microsoft.com/office/drawing/2014/main" id="{4CE4F998-4AFC-2E0B-02BA-86BAC0AB5CD7}"/>
              </a:ext>
            </a:extLst>
          </p:cNvPr>
          <p:cNvSpPr/>
          <p:nvPr userDrawn="1"/>
        </p:nvSpPr>
        <p:spPr>
          <a:xfrm>
            <a:off x="10620784" y="1"/>
            <a:ext cx="898111" cy="900104"/>
          </a:xfrm>
          <a:custGeom>
            <a:avLst/>
            <a:gdLst>
              <a:gd name="connsiteX0" fmla="*/ 882286 w 898111"/>
              <a:gd name="connsiteY0" fmla="*/ 0 h 900104"/>
              <a:gd name="connsiteX1" fmla="*/ 898111 w 898111"/>
              <a:gd name="connsiteY1" fmla="*/ 0 h 900104"/>
              <a:gd name="connsiteX2" fmla="*/ 898111 w 898111"/>
              <a:gd name="connsiteY2" fmla="*/ 19813 h 900104"/>
              <a:gd name="connsiteX3" fmla="*/ 17820 w 898111"/>
              <a:gd name="connsiteY3" fmla="*/ 900104 h 900104"/>
              <a:gd name="connsiteX4" fmla="*/ 0 w 898111"/>
              <a:gd name="connsiteY4" fmla="*/ 882285 h 900104"/>
              <a:gd name="connsiteX5" fmla="*/ 882286 w 898111"/>
              <a:gd name="connsiteY5" fmla="*/ 0 h 900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8111" h="900104">
                <a:moveTo>
                  <a:pt x="882286" y="0"/>
                </a:moveTo>
                <a:lnTo>
                  <a:pt x="898111" y="0"/>
                </a:lnTo>
                <a:lnTo>
                  <a:pt x="898111" y="19813"/>
                </a:lnTo>
                <a:lnTo>
                  <a:pt x="17820" y="900104"/>
                </a:lnTo>
                <a:lnTo>
                  <a:pt x="0" y="882285"/>
                </a:lnTo>
                <a:lnTo>
                  <a:pt x="88228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E37CE14-08A8-58A5-1977-DD94764F630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395" cy="8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00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Zwischentitel - dunkelgrau+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3BFCF329-A185-0EF8-E1C6-0A9B85955B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513"/>
            <a:ext cx="11522866" cy="6478485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6A0F3F-AFC8-BCD1-029F-3220CC1DE9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464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6A0F3F-AFC8-BCD1-029F-3220CC1DE9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25313FBF-CF62-B749-A8C2-BD7E6D715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1511299"/>
            <a:ext cx="6335712" cy="2592389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 einfüg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976AB954-C5AB-A345-8658-300F8AA0A2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3" y="4248150"/>
            <a:ext cx="6335712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A1D788-2454-1B4B-8E7C-E1D672A2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215900"/>
            <a:ext cx="1727736" cy="100796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80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B774478-5A05-B04C-8454-AEA104156899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solidFill>
                  <a:schemeClr val="bg1"/>
                </a:solidFill>
                <a:latin typeface="+mj-lt"/>
              </a:rPr>
              <a:pPr/>
              <a:t>‹Nr.›</a:t>
            </a:fld>
            <a:endParaRPr lang="de-DE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AF1E12B7-3130-7F4C-B2EB-421040A86D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40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0AEC034B-E94D-4D6D-A506-B3AC64430153}" type="datetime1">
              <a:rPr lang="de-DE" smtClean="0"/>
              <a:t>17.04.2026</a:t>
            </a:fld>
            <a:endParaRPr lang="de-DE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3C4E3138-5FA4-CF41-90A6-EA5CA95C7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40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Axiforma for Sec"/>
              <a:buChar char="|"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33148CD-CF75-21D3-DBB6-60F8D294C349}"/>
              </a:ext>
            </a:extLst>
          </p:cNvPr>
          <p:cNvSpPr/>
          <p:nvPr userDrawn="1"/>
        </p:nvSpPr>
        <p:spPr>
          <a:xfrm rot="2700000" flipH="1">
            <a:off x="8837520" y="1548000"/>
            <a:ext cx="25200" cy="23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3D49092-D273-C8A3-9D5E-662EEA0D5219}"/>
              </a:ext>
            </a:extLst>
          </p:cNvPr>
          <p:cNvSpPr/>
          <p:nvPr userDrawn="1"/>
        </p:nvSpPr>
        <p:spPr>
          <a:xfrm rot="2700000" flipH="1">
            <a:off x="8740577" y="1687311"/>
            <a:ext cx="25200" cy="42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E751E89-BEB7-5571-F666-507831FABC4F}"/>
              </a:ext>
            </a:extLst>
          </p:cNvPr>
          <p:cNvSpPr/>
          <p:nvPr userDrawn="1"/>
        </p:nvSpPr>
        <p:spPr>
          <a:xfrm rot="2700000" flipH="1">
            <a:off x="9183392" y="3614177"/>
            <a:ext cx="25200" cy="14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0" name="Freihandform 29">
            <a:extLst>
              <a:ext uri="{FF2B5EF4-FFF2-40B4-BE49-F238E27FC236}">
                <a16:creationId xmlns:a16="http://schemas.microsoft.com/office/drawing/2014/main" id="{E90F0BEE-20F1-BD5F-47B8-F3DF7A0D90C9}"/>
              </a:ext>
            </a:extLst>
          </p:cNvPr>
          <p:cNvSpPr/>
          <p:nvPr userDrawn="1"/>
        </p:nvSpPr>
        <p:spPr>
          <a:xfrm>
            <a:off x="10711464" y="1007839"/>
            <a:ext cx="809024" cy="826843"/>
          </a:xfrm>
          <a:custGeom>
            <a:avLst/>
            <a:gdLst>
              <a:gd name="connsiteX0" fmla="*/ 809024 w 809024"/>
              <a:gd name="connsiteY0" fmla="*/ 0 h 826843"/>
              <a:gd name="connsiteX1" fmla="*/ 809024 w 809024"/>
              <a:gd name="connsiteY1" fmla="*/ 35637 h 826843"/>
              <a:gd name="connsiteX2" fmla="*/ 17818 w 809024"/>
              <a:gd name="connsiteY2" fmla="*/ 826843 h 826843"/>
              <a:gd name="connsiteX3" fmla="*/ 0 w 809024"/>
              <a:gd name="connsiteY3" fmla="*/ 809024 h 826843"/>
              <a:gd name="connsiteX4" fmla="*/ 809024 w 809024"/>
              <a:gd name="connsiteY4" fmla="*/ 0 h 826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024" h="826843">
                <a:moveTo>
                  <a:pt x="809024" y="0"/>
                </a:moveTo>
                <a:lnTo>
                  <a:pt x="809024" y="35637"/>
                </a:lnTo>
                <a:lnTo>
                  <a:pt x="17818" y="826843"/>
                </a:lnTo>
                <a:lnTo>
                  <a:pt x="0" y="809024"/>
                </a:lnTo>
                <a:lnTo>
                  <a:pt x="80902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324ED84-BE4C-FC7D-E692-7DD086F84487}"/>
              </a:ext>
            </a:extLst>
          </p:cNvPr>
          <p:cNvSpPr/>
          <p:nvPr userDrawn="1"/>
        </p:nvSpPr>
        <p:spPr>
          <a:xfrm rot="2700000" flipH="1">
            <a:off x="9126795" y="196727"/>
            <a:ext cx="25200" cy="22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2" name="Freihandform 31">
            <a:extLst>
              <a:ext uri="{FF2B5EF4-FFF2-40B4-BE49-F238E27FC236}">
                <a16:creationId xmlns:a16="http://schemas.microsoft.com/office/drawing/2014/main" id="{3A274DF9-C41B-D36E-0779-3F74459050FE}"/>
              </a:ext>
            </a:extLst>
          </p:cNvPr>
          <p:cNvSpPr/>
          <p:nvPr userDrawn="1"/>
        </p:nvSpPr>
        <p:spPr>
          <a:xfrm>
            <a:off x="9194400" y="2977200"/>
            <a:ext cx="2324495" cy="2342314"/>
          </a:xfrm>
          <a:custGeom>
            <a:avLst/>
            <a:gdLst>
              <a:gd name="connsiteX0" fmla="*/ 2324495 w 2324495"/>
              <a:gd name="connsiteY0" fmla="*/ 0 h 2342314"/>
              <a:gd name="connsiteX1" fmla="*/ 2324495 w 2324495"/>
              <a:gd name="connsiteY1" fmla="*/ 35638 h 2342314"/>
              <a:gd name="connsiteX2" fmla="*/ 17819 w 2324495"/>
              <a:gd name="connsiteY2" fmla="*/ 2342314 h 2342314"/>
              <a:gd name="connsiteX3" fmla="*/ 0 w 2324495"/>
              <a:gd name="connsiteY3" fmla="*/ 2324495 h 2342314"/>
              <a:gd name="connsiteX4" fmla="*/ 2324495 w 2324495"/>
              <a:gd name="connsiteY4" fmla="*/ 0 h 234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4495" h="2342314">
                <a:moveTo>
                  <a:pt x="2324495" y="0"/>
                </a:moveTo>
                <a:lnTo>
                  <a:pt x="2324495" y="35638"/>
                </a:lnTo>
                <a:lnTo>
                  <a:pt x="17819" y="2342314"/>
                </a:lnTo>
                <a:lnTo>
                  <a:pt x="0" y="2324495"/>
                </a:lnTo>
                <a:lnTo>
                  <a:pt x="232449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3" name="Freihandform 32">
            <a:extLst>
              <a:ext uri="{FF2B5EF4-FFF2-40B4-BE49-F238E27FC236}">
                <a16:creationId xmlns:a16="http://schemas.microsoft.com/office/drawing/2014/main" id="{4CE4F998-4AFC-2E0B-02BA-86BAC0AB5CD7}"/>
              </a:ext>
            </a:extLst>
          </p:cNvPr>
          <p:cNvSpPr/>
          <p:nvPr userDrawn="1"/>
        </p:nvSpPr>
        <p:spPr>
          <a:xfrm>
            <a:off x="10620784" y="1"/>
            <a:ext cx="898111" cy="900104"/>
          </a:xfrm>
          <a:custGeom>
            <a:avLst/>
            <a:gdLst>
              <a:gd name="connsiteX0" fmla="*/ 882286 w 898111"/>
              <a:gd name="connsiteY0" fmla="*/ 0 h 900104"/>
              <a:gd name="connsiteX1" fmla="*/ 898111 w 898111"/>
              <a:gd name="connsiteY1" fmla="*/ 0 h 900104"/>
              <a:gd name="connsiteX2" fmla="*/ 898111 w 898111"/>
              <a:gd name="connsiteY2" fmla="*/ 19813 h 900104"/>
              <a:gd name="connsiteX3" fmla="*/ 17820 w 898111"/>
              <a:gd name="connsiteY3" fmla="*/ 900104 h 900104"/>
              <a:gd name="connsiteX4" fmla="*/ 0 w 898111"/>
              <a:gd name="connsiteY4" fmla="*/ 882285 h 900104"/>
              <a:gd name="connsiteX5" fmla="*/ 882286 w 898111"/>
              <a:gd name="connsiteY5" fmla="*/ 0 h 900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8111" h="900104">
                <a:moveTo>
                  <a:pt x="882286" y="0"/>
                </a:moveTo>
                <a:lnTo>
                  <a:pt x="898111" y="0"/>
                </a:lnTo>
                <a:lnTo>
                  <a:pt x="898111" y="19813"/>
                </a:lnTo>
                <a:lnTo>
                  <a:pt x="17820" y="900104"/>
                </a:lnTo>
                <a:lnTo>
                  <a:pt x="0" y="882285"/>
                </a:lnTo>
                <a:lnTo>
                  <a:pt x="88228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E145C4C-C00A-1070-1897-137F1FCDA9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395" cy="8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999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Zwischentitel - dunkelgrau+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E92B38EF-3F67-C042-6FB6-2C91C1771D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" y="1513"/>
            <a:ext cx="11522866" cy="6478486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6A0F3F-AFC8-BCD1-029F-3220CC1DE9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464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6A0F3F-AFC8-BCD1-029F-3220CC1DE9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25313FBF-CF62-B749-A8C2-BD7E6D715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1511299"/>
            <a:ext cx="6335712" cy="2592389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 einfüg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976AB954-C5AB-A345-8658-300F8AA0A2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3" y="4248150"/>
            <a:ext cx="6335712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A1D788-2454-1B4B-8E7C-E1D672A2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215900"/>
            <a:ext cx="1727736" cy="100796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80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B774478-5A05-B04C-8454-AEA104156899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solidFill>
                  <a:schemeClr val="bg1"/>
                </a:solidFill>
                <a:latin typeface="+mj-lt"/>
              </a:rPr>
              <a:pPr/>
              <a:t>‹Nr.›</a:t>
            </a:fld>
            <a:endParaRPr lang="de-DE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AF1E12B7-3130-7F4C-B2EB-421040A86D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40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75D886FA-F2E1-4186-8E98-184DE2F82484}" type="datetime1">
              <a:rPr lang="de-DE" smtClean="0"/>
              <a:t>17.04.2026</a:t>
            </a:fld>
            <a:endParaRPr lang="de-DE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3C4E3138-5FA4-CF41-90A6-EA5CA95C7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40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Axiforma for Sec"/>
              <a:buChar char="|"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33148CD-CF75-21D3-DBB6-60F8D294C349}"/>
              </a:ext>
            </a:extLst>
          </p:cNvPr>
          <p:cNvSpPr/>
          <p:nvPr userDrawn="1"/>
        </p:nvSpPr>
        <p:spPr>
          <a:xfrm rot="2700000" flipH="1">
            <a:off x="8837520" y="1548000"/>
            <a:ext cx="25200" cy="23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3D49092-D273-C8A3-9D5E-662EEA0D5219}"/>
              </a:ext>
            </a:extLst>
          </p:cNvPr>
          <p:cNvSpPr/>
          <p:nvPr userDrawn="1"/>
        </p:nvSpPr>
        <p:spPr>
          <a:xfrm rot="2700000" flipH="1">
            <a:off x="8740577" y="1687311"/>
            <a:ext cx="25200" cy="42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E751E89-BEB7-5571-F666-507831FABC4F}"/>
              </a:ext>
            </a:extLst>
          </p:cNvPr>
          <p:cNvSpPr/>
          <p:nvPr userDrawn="1"/>
        </p:nvSpPr>
        <p:spPr>
          <a:xfrm rot="2700000" flipH="1">
            <a:off x="9183392" y="3614177"/>
            <a:ext cx="25200" cy="14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0" name="Freihandform 29">
            <a:extLst>
              <a:ext uri="{FF2B5EF4-FFF2-40B4-BE49-F238E27FC236}">
                <a16:creationId xmlns:a16="http://schemas.microsoft.com/office/drawing/2014/main" id="{E90F0BEE-20F1-BD5F-47B8-F3DF7A0D90C9}"/>
              </a:ext>
            </a:extLst>
          </p:cNvPr>
          <p:cNvSpPr/>
          <p:nvPr userDrawn="1"/>
        </p:nvSpPr>
        <p:spPr>
          <a:xfrm>
            <a:off x="10711464" y="1007839"/>
            <a:ext cx="809024" cy="826843"/>
          </a:xfrm>
          <a:custGeom>
            <a:avLst/>
            <a:gdLst>
              <a:gd name="connsiteX0" fmla="*/ 809024 w 809024"/>
              <a:gd name="connsiteY0" fmla="*/ 0 h 826843"/>
              <a:gd name="connsiteX1" fmla="*/ 809024 w 809024"/>
              <a:gd name="connsiteY1" fmla="*/ 35637 h 826843"/>
              <a:gd name="connsiteX2" fmla="*/ 17818 w 809024"/>
              <a:gd name="connsiteY2" fmla="*/ 826843 h 826843"/>
              <a:gd name="connsiteX3" fmla="*/ 0 w 809024"/>
              <a:gd name="connsiteY3" fmla="*/ 809024 h 826843"/>
              <a:gd name="connsiteX4" fmla="*/ 809024 w 809024"/>
              <a:gd name="connsiteY4" fmla="*/ 0 h 826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024" h="826843">
                <a:moveTo>
                  <a:pt x="809024" y="0"/>
                </a:moveTo>
                <a:lnTo>
                  <a:pt x="809024" y="35637"/>
                </a:lnTo>
                <a:lnTo>
                  <a:pt x="17818" y="826843"/>
                </a:lnTo>
                <a:lnTo>
                  <a:pt x="0" y="809024"/>
                </a:lnTo>
                <a:lnTo>
                  <a:pt x="80902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324ED84-BE4C-FC7D-E692-7DD086F84487}"/>
              </a:ext>
            </a:extLst>
          </p:cNvPr>
          <p:cNvSpPr/>
          <p:nvPr userDrawn="1"/>
        </p:nvSpPr>
        <p:spPr>
          <a:xfrm rot="2700000" flipH="1">
            <a:off x="9126795" y="196727"/>
            <a:ext cx="25200" cy="22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2" name="Freihandform 31">
            <a:extLst>
              <a:ext uri="{FF2B5EF4-FFF2-40B4-BE49-F238E27FC236}">
                <a16:creationId xmlns:a16="http://schemas.microsoft.com/office/drawing/2014/main" id="{3A274DF9-C41B-D36E-0779-3F74459050FE}"/>
              </a:ext>
            </a:extLst>
          </p:cNvPr>
          <p:cNvSpPr/>
          <p:nvPr userDrawn="1"/>
        </p:nvSpPr>
        <p:spPr>
          <a:xfrm>
            <a:off x="9194400" y="2977200"/>
            <a:ext cx="2324495" cy="2342314"/>
          </a:xfrm>
          <a:custGeom>
            <a:avLst/>
            <a:gdLst>
              <a:gd name="connsiteX0" fmla="*/ 2324495 w 2324495"/>
              <a:gd name="connsiteY0" fmla="*/ 0 h 2342314"/>
              <a:gd name="connsiteX1" fmla="*/ 2324495 w 2324495"/>
              <a:gd name="connsiteY1" fmla="*/ 35638 h 2342314"/>
              <a:gd name="connsiteX2" fmla="*/ 17819 w 2324495"/>
              <a:gd name="connsiteY2" fmla="*/ 2342314 h 2342314"/>
              <a:gd name="connsiteX3" fmla="*/ 0 w 2324495"/>
              <a:gd name="connsiteY3" fmla="*/ 2324495 h 2342314"/>
              <a:gd name="connsiteX4" fmla="*/ 2324495 w 2324495"/>
              <a:gd name="connsiteY4" fmla="*/ 0 h 234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4495" h="2342314">
                <a:moveTo>
                  <a:pt x="2324495" y="0"/>
                </a:moveTo>
                <a:lnTo>
                  <a:pt x="2324495" y="35638"/>
                </a:lnTo>
                <a:lnTo>
                  <a:pt x="17819" y="2342314"/>
                </a:lnTo>
                <a:lnTo>
                  <a:pt x="0" y="2324495"/>
                </a:lnTo>
                <a:lnTo>
                  <a:pt x="232449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3" name="Freihandform 32">
            <a:extLst>
              <a:ext uri="{FF2B5EF4-FFF2-40B4-BE49-F238E27FC236}">
                <a16:creationId xmlns:a16="http://schemas.microsoft.com/office/drawing/2014/main" id="{4CE4F998-4AFC-2E0B-02BA-86BAC0AB5CD7}"/>
              </a:ext>
            </a:extLst>
          </p:cNvPr>
          <p:cNvSpPr/>
          <p:nvPr userDrawn="1"/>
        </p:nvSpPr>
        <p:spPr>
          <a:xfrm>
            <a:off x="10620784" y="1"/>
            <a:ext cx="898111" cy="900104"/>
          </a:xfrm>
          <a:custGeom>
            <a:avLst/>
            <a:gdLst>
              <a:gd name="connsiteX0" fmla="*/ 882286 w 898111"/>
              <a:gd name="connsiteY0" fmla="*/ 0 h 900104"/>
              <a:gd name="connsiteX1" fmla="*/ 898111 w 898111"/>
              <a:gd name="connsiteY1" fmla="*/ 0 h 900104"/>
              <a:gd name="connsiteX2" fmla="*/ 898111 w 898111"/>
              <a:gd name="connsiteY2" fmla="*/ 19813 h 900104"/>
              <a:gd name="connsiteX3" fmla="*/ 17820 w 898111"/>
              <a:gd name="connsiteY3" fmla="*/ 900104 h 900104"/>
              <a:gd name="connsiteX4" fmla="*/ 0 w 898111"/>
              <a:gd name="connsiteY4" fmla="*/ 882285 h 900104"/>
              <a:gd name="connsiteX5" fmla="*/ 882286 w 898111"/>
              <a:gd name="connsiteY5" fmla="*/ 0 h 900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8111" h="900104">
                <a:moveTo>
                  <a:pt x="882286" y="0"/>
                </a:moveTo>
                <a:lnTo>
                  <a:pt x="898111" y="0"/>
                </a:lnTo>
                <a:lnTo>
                  <a:pt x="898111" y="19813"/>
                </a:lnTo>
                <a:lnTo>
                  <a:pt x="17820" y="900104"/>
                </a:lnTo>
                <a:lnTo>
                  <a:pt x="0" y="882285"/>
                </a:lnTo>
                <a:lnTo>
                  <a:pt x="88228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039FD6E-1539-EC65-BCB9-E01BF18DA3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395" cy="8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863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- ro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1D30612-DD35-6E07-19E0-138507AB9A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5857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1D30612-DD35-6E07-19E0-138507AB9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25313FBF-CF62-B749-A8C2-BD7E6D715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1511069"/>
            <a:ext cx="6335712" cy="2592619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 einfüg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976AB954-C5AB-A345-8658-300F8AA0A2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3" y="4248150"/>
            <a:ext cx="6335712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A1D788-2454-1B4B-8E7C-E1D672A2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215900"/>
            <a:ext cx="1727736" cy="100796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80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1DF386BB-3EC0-9D4E-AA6C-6CCB738B0AD5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solidFill>
                  <a:schemeClr val="bg1"/>
                </a:solidFill>
                <a:latin typeface="+mj-lt"/>
              </a:rPr>
              <a:pPr/>
              <a:t>‹Nr.›</a:t>
            </a:fld>
            <a:endParaRPr lang="de-DE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606F856C-3486-E74C-929E-DB65AFD712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24922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04587FB2-D644-46A4-A7E6-3D9193E5367B}" type="datetime1">
              <a:rPr lang="de-DE" smtClean="0"/>
              <a:t>17.04.2026</a:t>
            </a:fld>
            <a:endParaRPr lang="de-DE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1782EF21-84B8-AA4A-A194-1BDA04D1DF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122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Axiforma for Sec"/>
              <a:buChar char="|"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367554B-0013-C897-40A3-09EA94DD4DF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395" cy="8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7499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titel - dunkelgr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6A0F3F-AFC8-BCD1-029F-3220CC1DE9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658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6A0F3F-AFC8-BCD1-029F-3220CC1DE9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25313FBF-CF62-B749-A8C2-BD7E6D715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1511299"/>
            <a:ext cx="6335712" cy="2592389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 einfüg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976AB954-C5AB-A345-8658-300F8AA0A2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3" y="4248150"/>
            <a:ext cx="6335712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A1D788-2454-1B4B-8E7C-E1D672A2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215900"/>
            <a:ext cx="1727736" cy="100796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80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B774478-5A05-B04C-8454-AEA104156899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solidFill>
                  <a:schemeClr val="bg1"/>
                </a:solidFill>
                <a:latin typeface="+mj-lt"/>
              </a:rPr>
              <a:pPr/>
              <a:t>‹Nr.›</a:t>
            </a:fld>
            <a:endParaRPr lang="de-DE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AF1E12B7-3130-7F4C-B2EB-421040A86D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40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56F4E031-7D12-4217-B322-D3048B833370}" type="datetime1">
              <a:rPr lang="de-DE" smtClean="0"/>
              <a:t>17.04.2026</a:t>
            </a:fld>
            <a:endParaRPr lang="de-DE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3C4E3138-5FA4-CF41-90A6-EA5CA95C7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40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Axiforma for Sec"/>
              <a:buChar char="|"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9F8D40D-AC99-6B29-A052-AC3F08AA4E93}"/>
              </a:ext>
            </a:extLst>
          </p:cNvPr>
          <p:cNvSpPr/>
          <p:nvPr userDrawn="1"/>
        </p:nvSpPr>
        <p:spPr>
          <a:xfrm>
            <a:off x="6919490" y="0"/>
            <a:ext cx="4600997" cy="6479684"/>
          </a:xfrm>
          <a:prstGeom prst="rect">
            <a:avLst/>
          </a:prstGeom>
          <a:solidFill>
            <a:schemeClr val="accent6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bg2">
                  <a:lumMod val="90000"/>
                </a:schemeClr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FF1DEF1-324D-041A-E542-8A90F442C1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395" cy="8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878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ischentitel - hell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6A0F3F-AFC8-BCD1-029F-3220CC1DE9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571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6A0F3F-AFC8-BCD1-029F-3220CC1DE9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39F8D40D-AC99-6B29-A052-AC3F08AA4E93}"/>
              </a:ext>
            </a:extLst>
          </p:cNvPr>
          <p:cNvSpPr/>
          <p:nvPr userDrawn="1"/>
        </p:nvSpPr>
        <p:spPr>
          <a:xfrm>
            <a:off x="6919490" y="0"/>
            <a:ext cx="4600997" cy="64796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25313FBF-CF62-B749-A8C2-BD7E6D715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1511299"/>
            <a:ext cx="6335712" cy="2592389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Zwischentitel einfüg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976AB954-C5AB-A345-8658-300F8AA0A2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3" y="4248150"/>
            <a:ext cx="6335712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A1D788-2454-1B4B-8E7C-E1D672A2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215900"/>
            <a:ext cx="1727736" cy="100796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80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CC5A348-B46C-4223-CBC2-71797829C4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EC055F07-B4E5-4553-9327-E15F7D1C2539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51C42B6-0FCA-418D-6DBD-1306794FD1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27A27E1-663C-4753-90DE-322B25EC88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5132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09F95BC-579B-3766-704E-A33CA523BC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976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09F95BC-579B-3766-704E-A33CA523B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4877D3E5-FA08-1E9A-4D0A-244DB2B7033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9733216B-6A9F-4C9E-AA5A-A25CCDA95C9F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55B9A53C-B1AE-0DCF-54CA-F3B71AA1DE4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xiforma for Sec" pitchFamily="2" charset="0"/>
              <a:buChar char="|"/>
              <a:tabLst/>
              <a:defRPr/>
            </a:lvl1pPr>
          </a:lstStyle>
          <a:p>
            <a:pPr>
              <a:defRPr/>
            </a:pP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ybersecurity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ummit Hamburg | NIS-2 und die sichere Lieferkett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84BC02A-DDDF-F901-08F6-ED2510468B8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itel 23">
            <a:extLst>
              <a:ext uri="{FF2B5EF4-FFF2-40B4-BE49-F238E27FC236}">
                <a16:creationId xmlns:a16="http://schemas.microsoft.com/office/drawing/2014/main" id="{252C185B-7D3D-C9A4-63A2-E62F2A3DB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E4F8A01F-5E5B-2259-41D0-194744723F0B}"/>
              </a:ext>
            </a:extLst>
          </p:cNvPr>
          <p:cNvSpPr/>
          <p:nvPr userDrawn="1"/>
        </p:nvSpPr>
        <p:spPr>
          <a:xfrm rot="18900000" flipH="1">
            <a:off x="6698137" y="5280265"/>
            <a:ext cx="25202" cy="1416220"/>
          </a:xfrm>
          <a:custGeom>
            <a:avLst/>
            <a:gdLst>
              <a:gd name="connsiteX0" fmla="*/ 1 w 25202"/>
              <a:gd name="connsiteY0" fmla="*/ 0 h 1416220"/>
              <a:gd name="connsiteX1" fmla="*/ 0 w 25202"/>
              <a:gd name="connsiteY1" fmla="*/ 1416220 h 1416220"/>
              <a:gd name="connsiteX2" fmla="*/ 25202 w 25202"/>
              <a:gd name="connsiteY2" fmla="*/ 1391018 h 1416220"/>
              <a:gd name="connsiteX3" fmla="*/ 25201 w 25202"/>
              <a:gd name="connsiteY3" fmla="*/ 0 h 1416220"/>
              <a:gd name="connsiteX4" fmla="*/ 1 w 25202"/>
              <a:gd name="connsiteY4" fmla="*/ 0 h 141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2" h="1416220">
                <a:moveTo>
                  <a:pt x="1" y="0"/>
                </a:moveTo>
                <a:lnTo>
                  <a:pt x="0" y="1416220"/>
                </a:lnTo>
                <a:lnTo>
                  <a:pt x="25202" y="1391018"/>
                </a:lnTo>
                <a:lnTo>
                  <a:pt x="25201" y="0"/>
                </a:lnTo>
                <a:lnTo>
                  <a:pt x="1" y="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6" name="Freihandform 5">
            <a:extLst>
              <a:ext uri="{FF2B5EF4-FFF2-40B4-BE49-F238E27FC236}">
                <a16:creationId xmlns:a16="http://schemas.microsoft.com/office/drawing/2014/main" id="{F11CBAE3-9A87-6571-F31A-18E111E1920A}"/>
              </a:ext>
            </a:extLst>
          </p:cNvPr>
          <p:cNvSpPr/>
          <p:nvPr userDrawn="1"/>
        </p:nvSpPr>
        <p:spPr>
          <a:xfrm rot="18900000" flipH="1">
            <a:off x="9536293" y="5280267"/>
            <a:ext cx="25201" cy="1416218"/>
          </a:xfrm>
          <a:custGeom>
            <a:avLst/>
            <a:gdLst>
              <a:gd name="connsiteX0" fmla="*/ 1 w 25201"/>
              <a:gd name="connsiteY0" fmla="*/ 0 h 1416218"/>
              <a:gd name="connsiteX1" fmla="*/ 0 w 25201"/>
              <a:gd name="connsiteY1" fmla="*/ 1416218 h 1416218"/>
              <a:gd name="connsiteX2" fmla="*/ 25201 w 25201"/>
              <a:gd name="connsiteY2" fmla="*/ 1391017 h 1416218"/>
              <a:gd name="connsiteX3" fmla="*/ 25200 w 25201"/>
              <a:gd name="connsiteY3" fmla="*/ 0 h 1416218"/>
              <a:gd name="connsiteX4" fmla="*/ 1 w 25201"/>
              <a:gd name="connsiteY4" fmla="*/ 0 h 141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1" h="1416218">
                <a:moveTo>
                  <a:pt x="1" y="0"/>
                </a:moveTo>
                <a:lnTo>
                  <a:pt x="0" y="1416218"/>
                </a:lnTo>
                <a:lnTo>
                  <a:pt x="25201" y="1391017"/>
                </a:lnTo>
                <a:lnTo>
                  <a:pt x="25200" y="0"/>
                </a:lnTo>
                <a:lnTo>
                  <a:pt x="1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44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7" name="Freihandform 6">
            <a:extLst>
              <a:ext uri="{FF2B5EF4-FFF2-40B4-BE49-F238E27FC236}">
                <a16:creationId xmlns:a16="http://schemas.microsoft.com/office/drawing/2014/main" id="{1FD6F4F8-9FDB-AC3A-9206-44FF8EF6C8DB}"/>
              </a:ext>
            </a:extLst>
          </p:cNvPr>
          <p:cNvSpPr/>
          <p:nvPr userDrawn="1"/>
        </p:nvSpPr>
        <p:spPr>
          <a:xfrm rot="18900000" flipH="1">
            <a:off x="8121490" y="5288357"/>
            <a:ext cx="25202" cy="1406740"/>
          </a:xfrm>
          <a:custGeom>
            <a:avLst/>
            <a:gdLst>
              <a:gd name="connsiteX0" fmla="*/ 0 w 25202"/>
              <a:gd name="connsiteY0" fmla="*/ 0 h 1406740"/>
              <a:gd name="connsiteX1" fmla="*/ 1 w 25202"/>
              <a:gd name="connsiteY1" fmla="*/ 1406740 h 1406740"/>
              <a:gd name="connsiteX2" fmla="*/ 25202 w 25202"/>
              <a:gd name="connsiteY2" fmla="*/ 1381539 h 1406740"/>
              <a:gd name="connsiteX3" fmla="*/ 25200 w 25202"/>
              <a:gd name="connsiteY3" fmla="*/ 0 h 1406740"/>
              <a:gd name="connsiteX4" fmla="*/ 0 w 25202"/>
              <a:gd name="connsiteY4" fmla="*/ 0 h 1406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2" h="1406740">
                <a:moveTo>
                  <a:pt x="0" y="0"/>
                </a:moveTo>
                <a:lnTo>
                  <a:pt x="1" y="1406740"/>
                </a:lnTo>
                <a:lnTo>
                  <a:pt x="25202" y="1381539"/>
                </a:lnTo>
                <a:lnTo>
                  <a:pt x="2520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44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F427C79-F7C2-9CE3-A31F-46EF7F7C68E5}"/>
              </a:ext>
            </a:extLst>
          </p:cNvPr>
          <p:cNvSpPr/>
          <p:nvPr userDrawn="1"/>
        </p:nvSpPr>
        <p:spPr>
          <a:xfrm rot="13500000" flipH="1">
            <a:off x="9561430" y="3859200"/>
            <a:ext cx="25200" cy="15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6" name="Freihandform 15">
            <a:extLst>
              <a:ext uri="{FF2B5EF4-FFF2-40B4-BE49-F238E27FC236}">
                <a16:creationId xmlns:a16="http://schemas.microsoft.com/office/drawing/2014/main" id="{AEF6B544-AF8E-1760-84E8-7151325E5608}"/>
              </a:ext>
            </a:extLst>
          </p:cNvPr>
          <p:cNvSpPr/>
          <p:nvPr userDrawn="1"/>
        </p:nvSpPr>
        <p:spPr>
          <a:xfrm rot="5400000">
            <a:off x="10471850" y="4081113"/>
            <a:ext cx="1057549" cy="1039729"/>
          </a:xfrm>
          <a:custGeom>
            <a:avLst/>
            <a:gdLst>
              <a:gd name="connsiteX0" fmla="*/ 0 w 1057549"/>
              <a:gd name="connsiteY0" fmla="*/ 0 h 1039729"/>
              <a:gd name="connsiteX1" fmla="*/ 35638 w 1057549"/>
              <a:gd name="connsiteY1" fmla="*/ 0 h 1039729"/>
              <a:gd name="connsiteX2" fmla="*/ 1057549 w 1057549"/>
              <a:gd name="connsiteY2" fmla="*/ 1021910 h 1039729"/>
              <a:gd name="connsiteX3" fmla="*/ 1039729 w 1057549"/>
              <a:gd name="connsiteY3" fmla="*/ 1039729 h 1039729"/>
              <a:gd name="connsiteX4" fmla="*/ 0 w 1057549"/>
              <a:gd name="connsiteY4" fmla="*/ 0 h 1039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7549" h="1039729">
                <a:moveTo>
                  <a:pt x="0" y="0"/>
                </a:moveTo>
                <a:lnTo>
                  <a:pt x="35638" y="0"/>
                </a:lnTo>
                <a:lnTo>
                  <a:pt x="1057549" y="1021910"/>
                </a:lnTo>
                <a:lnTo>
                  <a:pt x="1039729" y="10397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19" name="Freihandform 18">
            <a:extLst>
              <a:ext uri="{FF2B5EF4-FFF2-40B4-BE49-F238E27FC236}">
                <a16:creationId xmlns:a16="http://schemas.microsoft.com/office/drawing/2014/main" id="{80AACDA8-E2AA-A90E-8A47-FDA711858ECC}"/>
              </a:ext>
            </a:extLst>
          </p:cNvPr>
          <p:cNvSpPr/>
          <p:nvPr userDrawn="1"/>
        </p:nvSpPr>
        <p:spPr>
          <a:xfrm>
            <a:off x="10450800" y="5473603"/>
            <a:ext cx="1024391" cy="1006572"/>
          </a:xfrm>
          <a:custGeom>
            <a:avLst/>
            <a:gdLst>
              <a:gd name="connsiteX0" fmla="*/ 17819 w 1024391"/>
              <a:gd name="connsiteY0" fmla="*/ 0 h 1006572"/>
              <a:gd name="connsiteX1" fmla="*/ 1024391 w 1024391"/>
              <a:gd name="connsiteY1" fmla="*/ 1006572 h 1006572"/>
              <a:gd name="connsiteX2" fmla="*/ 988751 w 1024391"/>
              <a:gd name="connsiteY2" fmla="*/ 1006572 h 1006572"/>
              <a:gd name="connsiteX3" fmla="*/ 0 w 1024391"/>
              <a:gd name="connsiteY3" fmla="*/ 17819 h 1006572"/>
              <a:gd name="connsiteX4" fmla="*/ 17819 w 1024391"/>
              <a:gd name="connsiteY4" fmla="*/ 0 h 1006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4391" h="1006572">
                <a:moveTo>
                  <a:pt x="17819" y="0"/>
                </a:moveTo>
                <a:lnTo>
                  <a:pt x="1024391" y="1006572"/>
                </a:lnTo>
                <a:lnTo>
                  <a:pt x="988751" y="1006572"/>
                </a:lnTo>
                <a:lnTo>
                  <a:pt x="0" y="17819"/>
                </a:lnTo>
                <a:lnTo>
                  <a:pt x="17819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20" name="Freihandform 19">
            <a:extLst>
              <a:ext uri="{FF2B5EF4-FFF2-40B4-BE49-F238E27FC236}">
                <a16:creationId xmlns:a16="http://schemas.microsoft.com/office/drawing/2014/main" id="{15D70150-937F-DEC4-3186-E502233C9700}"/>
              </a:ext>
            </a:extLst>
          </p:cNvPr>
          <p:cNvSpPr/>
          <p:nvPr userDrawn="1"/>
        </p:nvSpPr>
        <p:spPr>
          <a:xfrm rot="18900000" flipV="1">
            <a:off x="9605635" y="-216727"/>
            <a:ext cx="25201" cy="1416218"/>
          </a:xfrm>
          <a:custGeom>
            <a:avLst/>
            <a:gdLst>
              <a:gd name="connsiteX0" fmla="*/ 1 w 25201"/>
              <a:gd name="connsiteY0" fmla="*/ 0 h 1416218"/>
              <a:gd name="connsiteX1" fmla="*/ 0 w 25201"/>
              <a:gd name="connsiteY1" fmla="*/ 1416218 h 1416218"/>
              <a:gd name="connsiteX2" fmla="*/ 25201 w 25201"/>
              <a:gd name="connsiteY2" fmla="*/ 1391017 h 1416218"/>
              <a:gd name="connsiteX3" fmla="*/ 25200 w 25201"/>
              <a:gd name="connsiteY3" fmla="*/ 0 h 1416218"/>
              <a:gd name="connsiteX4" fmla="*/ 1 w 25201"/>
              <a:gd name="connsiteY4" fmla="*/ 0 h 141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1" h="1416218">
                <a:moveTo>
                  <a:pt x="1" y="0"/>
                </a:moveTo>
                <a:lnTo>
                  <a:pt x="0" y="1416218"/>
                </a:lnTo>
                <a:lnTo>
                  <a:pt x="25201" y="1391017"/>
                </a:lnTo>
                <a:lnTo>
                  <a:pt x="2520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4B0B7E73-AEDA-2690-9286-856020A88BA3}"/>
              </a:ext>
            </a:extLst>
          </p:cNvPr>
          <p:cNvSpPr/>
          <p:nvPr userDrawn="1"/>
        </p:nvSpPr>
        <p:spPr>
          <a:xfrm flipH="1" flipV="1">
            <a:off x="10418305" y="-417"/>
            <a:ext cx="1024391" cy="1006572"/>
          </a:xfrm>
          <a:custGeom>
            <a:avLst/>
            <a:gdLst>
              <a:gd name="connsiteX0" fmla="*/ 17819 w 1024391"/>
              <a:gd name="connsiteY0" fmla="*/ 0 h 1006572"/>
              <a:gd name="connsiteX1" fmla="*/ 1024391 w 1024391"/>
              <a:gd name="connsiteY1" fmla="*/ 1006572 h 1006572"/>
              <a:gd name="connsiteX2" fmla="*/ 988751 w 1024391"/>
              <a:gd name="connsiteY2" fmla="*/ 1006572 h 1006572"/>
              <a:gd name="connsiteX3" fmla="*/ 0 w 1024391"/>
              <a:gd name="connsiteY3" fmla="*/ 17819 h 1006572"/>
              <a:gd name="connsiteX4" fmla="*/ 17819 w 1024391"/>
              <a:gd name="connsiteY4" fmla="*/ 0 h 1006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4391" h="1006572">
                <a:moveTo>
                  <a:pt x="17819" y="0"/>
                </a:moveTo>
                <a:lnTo>
                  <a:pt x="1024391" y="1006572"/>
                </a:lnTo>
                <a:lnTo>
                  <a:pt x="988751" y="1006572"/>
                </a:lnTo>
                <a:lnTo>
                  <a:pt x="0" y="17819"/>
                </a:lnTo>
                <a:lnTo>
                  <a:pt x="17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20464503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- Vollbild_dunkel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B1828FD-CA78-A749-6EF5-D4EC6D0195D8}"/>
              </a:ext>
            </a:extLst>
          </p:cNvPr>
          <p:cNvSpPr/>
          <p:nvPr userDrawn="1"/>
        </p:nvSpPr>
        <p:spPr>
          <a:xfrm flipH="1">
            <a:off x="0" y="175"/>
            <a:ext cx="6912373" cy="6480000"/>
          </a:xfrm>
          <a:prstGeom prst="rect">
            <a:avLst/>
          </a:prstGeom>
          <a:gradFill>
            <a:gsLst>
              <a:gs pos="0">
                <a:schemeClr val="tx1">
                  <a:alpha val="0"/>
                  <a:lumMod val="10000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4F5D5D0-A8D3-214C-9967-98D6D292B554}"/>
              </a:ext>
            </a:extLst>
          </p:cNvPr>
          <p:cNvSpPr/>
          <p:nvPr userDrawn="1"/>
        </p:nvSpPr>
        <p:spPr>
          <a:xfrm flipH="1">
            <a:off x="-4" y="0"/>
            <a:ext cx="6912373" cy="6480000"/>
          </a:xfrm>
          <a:prstGeom prst="rect">
            <a:avLst/>
          </a:prstGeom>
          <a:gradFill>
            <a:gsLst>
              <a:gs pos="0">
                <a:schemeClr val="tx1">
                  <a:alpha val="0"/>
                  <a:lumMod val="99984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4608513" cy="32400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8461348-6AA6-9452-4CC9-13DF74F117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88" y="216265"/>
            <a:ext cx="2012696" cy="34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66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3447">
          <p15:clr>
            <a:srgbClr val="FBAE40"/>
          </p15:clr>
        </p15:guide>
        <p15:guide id="5" pos="326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spaltig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09F95BC-579B-3766-704E-A33CA523BC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210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09F95BC-579B-3766-704E-A33CA523B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4877D3E5-FA08-1E9A-4D0A-244DB2B7033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3506E284-BD34-4BDD-BDB4-BBD3FCFC993E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55B9A53C-B1AE-0DCF-54CA-F3B71AA1DE4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84BC02A-DDDF-F901-08F6-ED2510468B8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06CB0EEE-EF53-D5F2-D2A6-21703B343E4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76259" y="1511300"/>
            <a:ext cx="10367964" cy="4321175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Titel 23">
            <a:extLst>
              <a:ext uri="{FF2B5EF4-FFF2-40B4-BE49-F238E27FC236}">
                <a16:creationId xmlns:a16="http://schemas.microsoft.com/office/drawing/2014/main" id="{252C185B-7D3D-C9A4-63A2-E62F2A3DB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127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93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944EFC55-E752-401B-8A79-578FCF24946C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60" y="1511300"/>
            <a:ext cx="4895853" cy="4321175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048377" y="1511300"/>
            <a:ext cx="4895853" cy="4321175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220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ig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595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EA0F1EA7-16E0-452D-B2D3-375B7FD1776E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59" y="1511300"/>
            <a:ext cx="3167988" cy="4321175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176247" y="1511300"/>
            <a:ext cx="3167988" cy="4321175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2">
            <a:extLst>
              <a:ext uri="{FF2B5EF4-FFF2-40B4-BE49-F238E27FC236}">
                <a16:creationId xmlns:a16="http://schemas.microsoft.com/office/drawing/2014/main" id="{CBBAC2ED-C3C6-7F8D-CF8B-8CCAF0F946A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7776235" y="1511300"/>
            <a:ext cx="3167988" cy="4321175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141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 + 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93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9D6D44E1-3A31-45F3-809B-4CBC59EC80F8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60" y="1511300"/>
            <a:ext cx="4895853" cy="4321175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Symbol" panose="05050102010706020507" pitchFamily="18" charset="2"/>
              <a:buChar char="-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048377" y="1511300"/>
            <a:ext cx="4895853" cy="4321175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Symbol" panose="05050102010706020507" pitchFamily="18" charset="2"/>
              <a:buChar char="-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020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 +Bild + 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93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8F1CB29D-D082-4E79-925C-32BA1ABAB061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59" y="3640681"/>
            <a:ext cx="4895853" cy="2191795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Symbol" panose="05050102010706020507" pitchFamily="18" charset="2"/>
              <a:buChar char="-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048377" y="3640680"/>
            <a:ext cx="4895853" cy="2191795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Symbol" panose="05050102010706020507" pitchFamily="18" charset="2"/>
              <a:buChar char="-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Bildplatzhalter 5">
            <a:extLst>
              <a:ext uri="{FF2B5EF4-FFF2-40B4-BE49-F238E27FC236}">
                <a16:creationId xmlns:a16="http://schemas.microsoft.com/office/drawing/2014/main" id="{77762CB1-9BF3-699A-BE6B-2094581974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259" y="1511300"/>
            <a:ext cx="4895853" cy="169738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Freisteller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Klick auf Symbol </a:t>
            </a:r>
            <a:r>
              <a:rPr lang="en-GB" dirty="0" err="1"/>
              <a:t>hinzufügen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 dirty="0"/>
          </a:p>
        </p:txBody>
      </p:sp>
      <p:sp>
        <p:nvSpPr>
          <p:cNvPr id="3" name="Bildplatzhalter 5">
            <a:extLst>
              <a:ext uri="{FF2B5EF4-FFF2-40B4-BE49-F238E27FC236}">
                <a16:creationId xmlns:a16="http://schemas.microsoft.com/office/drawing/2014/main" id="{900CA739-3A5F-2261-5DF8-FDA5EA00163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48377" y="1511300"/>
            <a:ext cx="4895853" cy="169738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Freisteller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Klick auf Symbol </a:t>
            </a:r>
            <a:r>
              <a:rPr lang="en-GB" dirty="0" err="1"/>
              <a:t>hinzufügen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3184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ig + 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595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7B916EC2-89A4-4529-929A-DA525C2F85F2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59" y="1511300"/>
            <a:ext cx="3167988" cy="4321175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Symbol" panose="05050102010706020507" pitchFamily="18" charset="2"/>
              <a:buChar char="-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176247" y="1511300"/>
            <a:ext cx="3167988" cy="4321175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Symbol" panose="05050102010706020507" pitchFamily="18" charset="2"/>
              <a:buChar char="-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2">
            <a:extLst>
              <a:ext uri="{FF2B5EF4-FFF2-40B4-BE49-F238E27FC236}">
                <a16:creationId xmlns:a16="http://schemas.microsoft.com/office/drawing/2014/main" id="{CBBAC2ED-C3C6-7F8D-CF8B-8CCAF0F946A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7776235" y="1511300"/>
            <a:ext cx="3167988" cy="4321175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Symbol" panose="05050102010706020507" pitchFamily="18" charset="2"/>
              <a:buChar char="-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538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ig + Bild + 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595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F832D4A0-95C9-4310-A152-6C17C656298E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59" y="3640681"/>
            <a:ext cx="3167988" cy="2191795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Symbol" panose="05050102010706020507" pitchFamily="18" charset="2"/>
              <a:buChar char="-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176247" y="3640679"/>
            <a:ext cx="3167988" cy="2191796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Symbol" panose="05050102010706020507" pitchFamily="18" charset="2"/>
              <a:buChar char="-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2">
            <a:extLst>
              <a:ext uri="{FF2B5EF4-FFF2-40B4-BE49-F238E27FC236}">
                <a16:creationId xmlns:a16="http://schemas.microsoft.com/office/drawing/2014/main" id="{CBBAC2ED-C3C6-7F8D-CF8B-8CCAF0F946A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7776235" y="3640679"/>
            <a:ext cx="3167988" cy="2191796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Symbol" panose="05050102010706020507" pitchFamily="18" charset="2"/>
              <a:buChar char="-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Bildplatzhalter 5">
            <a:extLst>
              <a:ext uri="{FF2B5EF4-FFF2-40B4-BE49-F238E27FC236}">
                <a16:creationId xmlns:a16="http://schemas.microsoft.com/office/drawing/2014/main" id="{6979AC1C-41DF-F23B-00AF-631E4368D23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259" y="1511300"/>
            <a:ext cx="3167988" cy="169738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Freisteller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Klick auf Symbol </a:t>
            </a:r>
            <a:r>
              <a:rPr lang="en-GB" dirty="0" err="1"/>
              <a:t>hinzufügen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0048F359-CBD0-92FF-4BEE-3E8EB2622E4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176250" y="1511300"/>
            <a:ext cx="3167988" cy="169738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Freisteller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Klick auf Symbol </a:t>
            </a:r>
            <a:r>
              <a:rPr lang="en-GB" dirty="0" err="1"/>
              <a:t>hinzufügen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 dirty="0"/>
          </a:p>
        </p:txBody>
      </p:sp>
      <p:sp>
        <p:nvSpPr>
          <p:cNvPr id="5" name="Bildplatzhalter 5">
            <a:extLst>
              <a:ext uri="{FF2B5EF4-FFF2-40B4-BE49-F238E27FC236}">
                <a16:creationId xmlns:a16="http://schemas.microsoft.com/office/drawing/2014/main" id="{3ED819FE-7507-42A5-9CB0-FB8A34517C6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776235" y="1511300"/>
            <a:ext cx="3167988" cy="169738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Freisteller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Klick auf Symbol </a:t>
            </a:r>
            <a:r>
              <a:rPr lang="en-GB" dirty="0" err="1"/>
              <a:t>hinzufügen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7504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_rechts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9001EA6-0459-2C80-0233-C5BE46F60B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641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9001EA6-0459-2C80-0233-C5BE46F60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840A6CDB-73F1-AE46-8F25-69C4FD54A2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35713" y="1511300"/>
            <a:ext cx="4608000" cy="432117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C77AC45-58D7-D0EF-45BD-15369E64A9E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6260" y="1511300"/>
            <a:ext cx="5183984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4638EED5-5436-558F-B371-5F923FC34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6D4E831-3BCF-C5FF-C9A4-C89E7EA5962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C5B00A52-4EC7-4AD0-A72F-589EC31074E2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8BDCD7B-AA70-3441-748D-62FA93EA38B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D26621-6BE2-B1F3-B549-D6A69043755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6720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FBAE40"/>
          </p15:clr>
        </p15:guide>
        <p15:guide id="2" pos="399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rechts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9001EA6-0459-2C80-0233-C5BE46F60B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641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9001EA6-0459-2C80-0233-C5BE46F60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1776B5BF-1519-980F-7319-8E93E01584F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35713" y="1511300"/>
            <a:ext cx="4608000" cy="4321175"/>
          </a:xfrm>
          <a:custGeom>
            <a:avLst/>
            <a:gdLst>
              <a:gd name="connsiteX0" fmla="*/ 0 w 4608000"/>
              <a:gd name="connsiteY0" fmla="*/ 0 h 4321175"/>
              <a:gd name="connsiteX1" fmla="*/ 4608000 w 4608000"/>
              <a:gd name="connsiteY1" fmla="*/ 0 h 4321175"/>
              <a:gd name="connsiteX2" fmla="*/ 4608000 w 4608000"/>
              <a:gd name="connsiteY2" fmla="*/ 3137679 h 4321175"/>
              <a:gd name="connsiteX3" fmla="*/ 4145047 w 4608000"/>
              <a:gd name="connsiteY3" fmla="*/ 3600632 h 4321175"/>
              <a:gd name="connsiteX4" fmla="*/ 4162866 w 4608000"/>
              <a:gd name="connsiteY4" fmla="*/ 3618452 h 4321175"/>
              <a:gd name="connsiteX5" fmla="*/ 4608000 w 4608000"/>
              <a:gd name="connsiteY5" fmla="*/ 3173318 h 4321175"/>
              <a:gd name="connsiteX6" fmla="*/ 4608000 w 4608000"/>
              <a:gd name="connsiteY6" fmla="*/ 4321175 h 4321175"/>
              <a:gd name="connsiteX7" fmla="*/ 4491778 w 4608000"/>
              <a:gd name="connsiteY7" fmla="*/ 4321175 h 4321175"/>
              <a:gd name="connsiteX8" fmla="*/ 4132906 w 4608000"/>
              <a:gd name="connsiteY8" fmla="*/ 3962303 h 4321175"/>
              <a:gd name="connsiteX9" fmla="*/ 4115087 w 4608000"/>
              <a:gd name="connsiteY9" fmla="*/ 3980122 h 4321175"/>
              <a:gd name="connsiteX10" fmla="*/ 4456139 w 4608000"/>
              <a:gd name="connsiteY10" fmla="*/ 4321175 h 4321175"/>
              <a:gd name="connsiteX11" fmla="*/ 3075098 w 4608000"/>
              <a:gd name="connsiteY11" fmla="*/ 4321175 h 4321175"/>
              <a:gd name="connsiteX12" fmla="*/ 2721381 w 4608000"/>
              <a:gd name="connsiteY12" fmla="*/ 3967458 h 4321175"/>
              <a:gd name="connsiteX13" fmla="*/ 2703563 w 4608000"/>
              <a:gd name="connsiteY13" fmla="*/ 3985277 h 4321175"/>
              <a:gd name="connsiteX14" fmla="*/ 3039461 w 4608000"/>
              <a:gd name="connsiteY14" fmla="*/ 4321175 h 4321175"/>
              <a:gd name="connsiteX15" fmla="*/ 1656946 w 4608000"/>
              <a:gd name="connsiteY15" fmla="*/ 4321175 h 4321175"/>
              <a:gd name="connsiteX16" fmla="*/ 1309931 w 4608000"/>
              <a:gd name="connsiteY16" fmla="*/ 3974159 h 4321175"/>
              <a:gd name="connsiteX17" fmla="*/ 1292112 w 4608000"/>
              <a:gd name="connsiteY17" fmla="*/ 3991978 h 4321175"/>
              <a:gd name="connsiteX18" fmla="*/ 1621308 w 4608000"/>
              <a:gd name="connsiteY18" fmla="*/ 4321175 h 4321175"/>
              <a:gd name="connsiteX19" fmla="*/ 0 w 4608000"/>
              <a:gd name="connsiteY19" fmla="*/ 4321175 h 432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08000" h="4321175">
                <a:moveTo>
                  <a:pt x="0" y="0"/>
                </a:moveTo>
                <a:lnTo>
                  <a:pt x="4608000" y="0"/>
                </a:lnTo>
                <a:lnTo>
                  <a:pt x="4608000" y="3137679"/>
                </a:lnTo>
                <a:lnTo>
                  <a:pt x="4145047" y="3600632"/>
                </a:lnTo>
                <a:lnTo>
                  <a:pt x="4162866" y="3618452"/>
                </a:lnTo>
                <a:lnTo>
                  <a:pt x="4608000" y="3173318"/>
                </a:lnTo>
                <a:lnTo>
                  <a:pt x="4608000" y="4321175"/>
                </a:lnTo>
                <a:lnTo>
                  <a:pt x="4491778" y="4321175"/>
                </a:lnTo>
                <a:lnTo>
                  <a:pt x="4132906" y="3962303"/>
                </a:lnTo>
                <a:lnTo>
                  <a:pt x="4115087" y="3980122"/>
                </a:lnTo>
                <a:lnTo>
                  <a:pt x="4456139" y="4321175"/>
                </a:lnTo>
                <a:lnTo>
                  <a:pt x="3075098" y="4321175"/>
                </a:lnTo>
                <a:lnTo>
                  <a:pt x="2721381" y="3967458"/>
                </a:lnTo>
                <a:lnTo>
                  <a:pt x="2703563" y="3985277"/>
                </a:lnTo>
                <a:lnTo>
                  <a:pt x="3039461" y="4321175"/>
                </a:lnTo>
                <a:lnTo>
                  <a:pt x="1656946" y="4321175"/>
                </a:lnTo>
                <a:lnTo>
                  <a:pt x="1309931" y="3974159"/>
                </a:lnTo>
                <a:lnTo>
                  <a:pt x="1292112" y="3991978"/>
                </a:lnTo>
                <a:lnTo>
                  <a:pt x="1621308" y="4321175"/>
                </a:lnTo>
                <a:lnTo>
                  <a:pt x="0" y="4321175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Freisteller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Klick auf Symbol </a:t>
            </a:r>
            <a:r>
              <a:rPr lang="en-GB" dirty="0" err="1"/>
              <a:t>hinzufügen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C77AC45-58D7-D0EF-45BD-15369E64A9E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6260" y="1511300"/>
            <a:ext cx="5183984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4638EED5-5436-558F-B371-5F923FC34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6D4E831-3BCF-C5FF-C9A4-C89E7EA5962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A4F825A5-7897-4F97-A85E-F35FF49A5730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8BDCD7B-AA70-3441-748D-62FA93EA38B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D26621-6BE2-B1F3-B549-D6A69043755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7" name="Freihandform 36">
            <a:extLst>
              <a:ext uri="{FF2B5EF4-FFF2-40B4-BE49-F238E27FC236}">
                <a16:creationId xmlns:a16="http://schemas.microsoft.com/office/drawing/2014/main" id="{0C9D596E-0318-BA2E-108B-017299F785F3}"/>
              </a:ext>
            </a:extLst>
          </p:cNvPr>
          <p:cNvSpPr/>
          <p:nvPr userDrawn="1"/>
        </p:nvSpPr>
        <p:spPr>
          <a:xfrm rot="18900000" flipH="1">
            <a:off x="9536293" y="5280267"/>
            <a:ext cx="25201" cy="1416218"/>
          </a:xfrm>
          <a:custGeom>
            <a:avLst/>
            <a:gdLst>
              <a:gd name="connsiteX0" fmla="*/ 1 w 25201"/>
              <a:gd name="connsiteY0" fmla="*/ 0 h 1416218"/>
              <a:gd name="connsiteX1" fmla="*/ 0 w 25201"/>
              <a:gd name="connsiteY1" fmla="*/ 1416218 h 1416218"/>
              <a:gd name="connsiteX2" fmla="*/ 25201 w 25201"/>
              <a:gd name="connsiteY2" fmla="*/ 1391017 h 1416218"/>
              <a:gd name="connsiteX3" fmla="*/ 25200 w 25201"/>
              <a:gd name="connsiteY3" fmla="*/ 0 h 1416218"/>
              <a:gd name="connsiteX4" fmla="*/ 1 w 25201"/>
              <a:gd name="connsiteY4" fmla="*/ 0 h 141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1" h="1416218">
                <a:moveTo>
                  <a:pt x="1" y="0"/>
                </a:moveTo>
                <a:lnTo>
                  <a:pt x="0" y="1416218"/>
                </a:lnTo>
                <a:lnTo>
                  <a:pt x="25201" y="1391017"/>
                </a:lnTo>
                <a:lnTo>
                  <a:pt x="25200" y="0"/>
                </a:lnTo>
                <a:lnTo>
                  <a:pt x="1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44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8" name="Freihandform 37">
            <a:extLst>
              <a:ext uri="{FF2B5EF4-FFF2-40B4-BE49-F238E27FC236}">
                <a16:creationId xmlns:a16="http://schemas.microsoft.com/office/drawing/2014/main" id="{26321FA0-8B2E-2052-07AD-E161F097EC01}"/>
              </a:ext>
            </a:extLst>
          </p:cNvPr>
          <p:cNvSpPr/>
          <p:nvPr userDrawn="1"/>
        </p:nvSpPr>
        <p:spPr>
          <a:xfrm rot="18900000" flipH="1">
            <a:off x="8121490" y="5288357"/>
            <a:ext cx="25202" cy="1406740"/>
          </a:xfrm>
          <a:custGeom>
            <a:avLst/>
            <a:gdLst>
              <a:gd name="connsiteX0" fmla="*/ 0 w 25202"/>
              <a:gd name="connsiteY0" fmla="*/ 0 h 1406740"/>
              <a:gd name="connsiteX1" fmla="*/ 1 w 25202"/>
              <a:gd name="connsiteY1" fmla="*/ 1406740 h 1406740"/>
              <a:gd name="connsiteX2" fmla="*/ 25202 w 25202"/>
              <a:gd name="connsiteY2" fmla="*/ 1381539 h 1406740"/>
              <a:gd name="connsiteX3" fmla="*/ 25200 w 25202"/>
              <a:gd name="connsiteY3" fmla="*/ 0 h 1406740"/>
              <a:gd name="connsiteX4" fmla="*/ 0 w 25202"/>
              <a:gd name="connsiteY4" fmla="*/ 0 h 1406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2" h="1406740">
                <a:moveTo>
                  <a:pt x="0" y="0"/>
                </a:moveTo>
                <a:lnTo>
                  <a:pt x="1" y="1406740"/>
                </a:lnTo>
                <a:lnTo>
                  <a:pt x="25202" y="1381539"/>
                </a:lnTo>
                <a:lnTo>
                  <a:pt x="2520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44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9" name="Freihandform 38">
            <a:extLst>
              <a:ext uri="{FF2B5EF4-FFF2-40B4-BE49-F238E27FC236}">
                <a16:creationId xmlns:a16="http://schemas.microsoft.com/office/drawing/2014/main" id="{38E9EF00-C43F-E815-7A34-D1E0397202FC}"/>
              </a:ext>
            </a:extLst>
          </p:cNvPr>
          <p:cNvSpPr/>
          <p:nvPr userDrawn="1"/>
        </p:nvSpPr>
        <p:spPr>
          <a:xfrm rot="5400000">
            <a:off x="10471850" y="4081113"/>
            <a:ext cx="1057549" cy="1039729"/>
          </a:xfrm>
          <a:custGeom>
            <a:avLst/>
            <a:gdLst>
              <a:gd name="connsiteX0" fmla="*/ 0 w 1057549"/>
              <a:gd name="connsiteY0" fmla="*/ 0 h 1039729"/>
              <a:gd name="connsiteX1" fmla="*/ 35638 w 1057549"/>
              <a:gd name="connsiteY1" fmla="*/ 0 h 1039729"/>
              <a:gd name="connsiteX2" fmla="*/ 1057549 w 1057549"/>
              <a:gd name="connsiteY2" fmla="*/ 1021910 h 1039729"/>
              <a:gd name="connsiteX3" fmla="*/ 1039729 w 1057549"/>
              <a:gd name="connsiteY3" fmla="*/ 1039729 h 1039729"/>
              <a:gd name="connsiteX4" fmla="*/ 0 w 1057549"/>
              <a:gd name="connsiteY4" fmla="*/ 0 h 1039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7549" h="1039729">
                <a:moveTo>
                  <a:pt x="0" y="0"/>
                </a:moveTo>
                <a:lnTo>
                  <a:pt x="35638" y="0"/>
                </a:lnTo>
                <a:lnTo>
                  <a:pt x="1057549" y="1021910"/>
                </a:lnTo>
                <a:lnTo>
                  <a:pt x="1039729" y="10397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40" name="Freihandform 39">
            <a:extLst>
              <a:ext uri="{FF2B5EF4-FFF2-40B4-BE49-F238E27FC236}">
                <a16:creationId xmlns:a16="http://schemas.microsoft.com/office/drawing/2014/main" id="{8C0BDA0A-839C-856A-6994-00A49F318064}"/>
              </a:ext>
            </a:extLst>
          </p:cNvPr>
          <p:cNvSpPr/>
          <p:nvPr userDrawn="1"/>
        </p:nvSpPr>
        <p:spPr>
          <a:xfrm>
            <a:off x="10450800" y="5473603"/>
            <a:ext cx="1024391" cy="1006572"/>
          </a:xfrm>
          <a:custGeom>
            <a:avLst/>
            <a:gdLst>
              <a:gd name="connsiteX0" fmla="*/ 17819 w 1024391"/>
              <a:gd name="connsiteY0" fmla="*/ 0 h 1006572"/>
              <a:gd name="connsiteX1" fmla="*/ 1024391 w 1024391"/>
              <a:gd name="connsiteY1" fmla="*/ 1006572 h 1006572"/>
              <a:gd name="connsiteX2" fmla="*/ 988751 w 1024391"/>
              <a:gd name="connsiteY2" fmla="*/ 1006572 h 1006572"/>
              <a:gd name="connsiteX3" fmla="*/ 0 w 1024391"/>
              <a:gd name="connsiteY3" fmla="*/ 17819 h 1006572"/>
              <a:gd name="connsiteX4" fmla="*/ 17819 w 1024391"/>
              <a:gd name="connsiteY4" fmla="*/ 0 h 1006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4391" h="1006572">
                <a:moveTo>
                  <a:pt x="17819" y="0"/>
                </a:moveTo>
                <a:lnTo>
                  <a:pt x="1024391" y="1006572"/>
                </a:lnTo>
                <a:lnTo>
                  <a:pt x="988751" y="1006572"/>
                </a:lnTo>
                <a:lnTo>
                  <a:pt x="0" y="17819"/>
                </a:lnTo>
                <a:lnTo>
                  <a:pt x="17819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2348203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FBAE40"/>
          </p15:clr>
        </p15:guide>
        <p15:guide id="2" pos="399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_rechts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9001EA6-0459-2C80-0233-C5BE46F60B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641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9001EA6-0459-2C80-0233-C5BE46F60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3049C5DF-F4BB-0DC4-EC04-A3E23097E43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35713" y="1511300"/>
            <a:ext cx="4608000" cy="4321175"/>
          </a:xfrm>
          <a:custGeom>
            <a:avLst/>
            <a:gdLst>
              <a:gd name="connsiteX0" fmla="*/ 0 w 4608000"/>
              <a:gd name="connsiteY0" fmla="*/ 4119869 h 4321175"/>
              <a:gd name="connsiteX1" fmla="*/ 201306 w 4608000"/>
              <a:gd name="connsiteY1" fmla="*/ 4321175 h 4321175"/>
              <a:gd name="connsiteX2" fmla="*/ 0 w 4608000"/>
              <a:gd name="connsiteY2" fmla="*/ 4321175 h 4321175"/>
              <a:gd name="connsiteX3" fmla="*/ 0 w 4608000"/>
              <a:gd name="connsiteY3" fmla="*/ 0 h 4321175"/>
              <a:gd name="connsiteX4" fmla="*/ 4608000 w 4608000"/>
              <a:gd name="connsiteY4" fmla="*/ 0 h 4321175"/>
              <a:gd name="connsiteX5" fmla="*/ 4608000 w 4608000"/>
              <a:gd name="connsiteY5" fmla="*/ 3137679 h 4321175"/>
              <a:gd name="connsiteX6" fmla="*/ 4145047 w 4608000"/>
              <a:gd name="connsiteY6" fmla="*/ 3600632 h 4321175"/>
              <a:gd name="connsiteX7" fmla="*/ 4162866 w 4608000"/>
              <a:gd name="connsiteY7" fmla="*/ 3618452 h 4321175"/>
              <a:gd name="connsiteX8" fmla="*/ 4608000 w 4608000"/>
              <a:gd name="connsiteY8" fmla="*/ 3173318 h 4321175"/>
              <a:gd name="connsiteX9" fmla="*/ 4608000 w 4608000"/>
              <a:gd name="connsiteY9" fmla="*/ 4321175 h 4321175"/>
              <a:gd name="connsiteX10" fmla="*/ 4491778 w 4608000"/>
              <a:gd name="connsiteY10" fmla="*/ 4321175 h 4321175"/>
              <a:gd name="connsiteX11" fmla="*/ 4132906 w 4608000"/>
              <a:gd name="connsiteY11" fmla="*/ 3962303 h 4321175"/>
              <a:gd name="connsiteX12" fmla="*/ 4115087 w 4608000"/>
              <a:gd name="connsiteY12" fmla="*/ 3980122 h 4321175"/>
              <a:gd name="connsiteX13" fmla="*/ 4456139 w 4608000"/>
              <a:gd name="connsiteY13" fmla="*/ 4321175 h 4321175"/>
              <a:gd name="connsiteX14" fmla="*/ 1656946 w 4608000"/>
              <a:gd name="connsiteY14" fmla="*/ 4321175 h 4321175"/>
              <a:gd name="connsiteX15" fmla="*/ 1309931 w 4608000"/>
              <a:gd name="connsiteY15" fmla="*/ 3974159 h 4321175"/>
              <a:gd name="connsiteX16" fmla="*/ 1292112 w 4608000"/>
              <a:gd name="connsiteY16" fmla="*/ 3991978 h 4321175"/>
              <a:gd name="connsiteX17" fmla="*/ 1621308 w 4608000"/>
              <a:gd name="connsiteY17" fmla="*/ 4321175 h 4321175"/>
              <a:gd name="connsiteX18" fmla="*/ 236945 w 4608000"/>
              <a:gd name="connsiteY18" fmla="*/ 4321175 h 4321175"/>
              <a:gd name="connsiteX19" fmla="*/ 0 w 4608000"/>
              <a:gd name="connsiteY19" fmla="*/ 4084231 h 432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08000" h="4321175">
                <a:moveTo>
                  <a:pt x="0" y="4119869"/>
                </a:moveTo>
                <a:lnTo>
                  <a:pt x="201306" y="4321175"/>
                </a:lnTo>
                <a:lnTo>
                  <a:pt x="0" y="4321175"/>
                </a:lnTo>
                <a:close/>
                <a:moveTo>
                  <a:pt x="0" y="0"/>
                </a:moveTo>
                <a:lnTo>
                  <a:pt x="4608000" y="0"/>
                </a:lnTo>
                <a:lnTo>
                  <a:pt x="4608000" y="3137679"/>
                </a:lnTo>
                <a:lnTo>
                  <a:pt x="4145047" y="3600632"/>
                </a:lnTo>
                <a:lnTo>
                  <a:pt x="4162866" y="3618452"/>
                </a:lnTo>
                <a:lnTo>
                  <a:pt x="4608000" y="3173318"/>
                </a:lnTo>
                <a:lnTo>
                  <a:pt x="4608000" y="4321175"/>
                </a:lnTo>
                <a:lnTo>
                  <a:pt x="4491778" y="4321175"/>
                </a:lnTo>
                <a:lnTo>
                  <a:pt x="4132906" y="3962303"/>
                </a:lnTo>
                <a:lnTo>
                  <a:pt x="4115087" y="3980122"/>
                </a:lnTo>
                <a:lnTo>
                  <a:pt x="4456139" y="4321175"/>
                </a:lnTo>
                <a:lnTo>
                  <a:pt x="1656946" y="4321175"/>
                </a:lnTo>
                <a:lnTo>
                  <a:pt x="1309931" y="3974159"/>
                </a:lnTo>
                <a:lnTo>
                  <a:pt x="1292112" y="3991978"/>
                </a:lnTo>
                <a:lnTo>
                  <a:pt x="1621308" y="4321175"/>
                </a:lnTo>
                <a:lnTo>
                  <a:pt x="236945" y="4321175"/>
                </a:lnTo>
                <a:lnTo>
                  <a:pt x="0" y="4084231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C77AC45-58D7-D0EF-45BD-15369E64A9E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6260" y="1511300"/>
            <a:ext cx="5183984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4638EED5-5436-558F-B371-5F923FC34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6D4E831-3BCF-C5FF-C9A4-C89E7EA5962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4B9FBAAA-80F2-48F7-A59B-CE511962B1B0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8BDCD7B-AA70-3441-748D-62FA93EA38B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D26621-6BE2-B1F3-B549-D6A69043755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reihandform 17">
            <a:extLst>
              <a:ext uri="{FF2B5EF4-FFF2-40B4-BE49-F238E27FC236}">
                <a16:creationId xmlns:a16="http://schemas.microsoft.com/office/drawing/2014/main" id="{DE657D4E-6CF3-21C3-6F97-23F2EB78882D}"/>
              </a:ext>
            </a:extLst>
          </p:cNvPr>
          <p:cNvSpPr/>
          <p:nvPr userDrawn="1"/>
        </p:nvSpPr>
        <p:spPr>
          <a:xfrm rot="18900000" flipV="1">
            <a:off x="9605635" y="-216727"/>
            <a:ext cx="25201" cy="1416218"/>
          </a:xfrm>
          <a:custGeom>
            <a:avLst/>
            <a:gdLst>
              <a:gd name="connsiteX0" fmla="*/ 1 w 25201"/>
              <a:gd name="connsiteY0" fmla="*/ 0 h 1416218"/>
              <a:gd name="connsiteX1" fmla="*/ 0 w 25201"/>
              <a:gd name="connsiteY1" fmla="*/ 1416218 h 1416218"/>
              <a:gd name="connsiteX2" fmla="*/ 25201 w 25201"/>
              <a:gd name="connsiteY2" fmla="*/ 1391017 h 1416218"/>
              <a:gd name="connsiteX3" fmla="*/ 25200 w 25201"/>
              <a:gd name="connsiteY3" fmla="*/ 0 h 1416218"/>
              <a:gd name="connsiteX4" fmla="*/ 1 w 25201"/>
              <a:gd name="connsiteY4" fmla="*/ 0 h 141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1" h="1416218">
                <a:moveTo>
                  <a:pt x="1" y="0"/>
                </a:moveTo>
                <a:lnTo>
                  <a:pt x="0" y="1416218"/>
                </a:lnTo>
                <a:lnTo>
                  <a:pt x="25201" y="1391017"/>
                </a:lnTo>
                <a:lnTo>
                  <a:pt x="2520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24" name="Freihandform 23">
            <a:extLst>
              <a:ext uri="{FF2B5EF4-FFF2-40B4-BE49-F238E27FC236}">
                <a16:creationId xmlns:a16="http://schemas.microsoft.com/office/drawing/2014/main" id="{4280A663-6113-99B5-AB86-6DF9A5096B2C}"/>
              </a:ext>
            </a:extLst>
          </p:cNvPr>
          <p:cNvSpPr/>
          <p:nvPr userDrawn="1"/>
        </p:nvSpPr>
        <p:spPr>
          <a:xfrm flipH="1" flipV="1">
            <a:off x="10418305" y="-417"/>
            <a:ext cx="1024391" cy="1006572"/>
          </a:xfrm>
          <a:custGeom>
            <a:avLst/>
            <a:gdLst>
              <a:gd name="connsiteX0" fmla="*/ 17819 w 1024391"/>
              <a:gd name="connsiteY0" fmla="*/ 0 h 1006572"/>
              <a:gd name="connsiteX1" fmla="*/ 1024391 w 1024391"/>
              <a:gd name="connsiteY1" fmla="*/ 1006572 h 1006572"/>
              <a:gd name="connsiteX2" fmla="*/ 988751 w 1024391"/>
              <a:gd name="connsiteY2" fmla="*/ 1006572 h 1006572"/>
              <a:gd name="connsiteX3" fmla="*/ 0 w 1024391"/>
              <a:gd name="connsiteY3" fmla="*/ 17819 h 1006572"/>
              <a:gd name="connsiteX4" fmla="*/ 17819 w 1024391"/>
              <a:gd name="connsiteY4" fmla="*/ 0 h 1006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4391" h="1006572">
                <a:moveTo>
                  <a:pt x="17819" y="0"/>
                </a:moveTo>
                <a:lnTo>
                  <a:pt x="1024391" y="1006572"/>
                </a:lnTo>
                <a:lnTo>
                  <a:pt x="988751" y="1006572"/>
                </a:lnTo>
                <a:lnTo>
                  <a:pt x="0" y="17819"/>
                </a:lnTo>
                <a:lnTo>
                  <a:pt x="17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29" name="Freihandform 28">
            <a:extLst>
              <a:ext uri="{FF2B5EF4-FFF2-40B4-BE49-F238E27FC236}">
                <a16:creationId xmlns:a16="http://schemas.microsoft.com/office/drawing/2014/main" id="{711B9FBD-4438-5DEF-6054-EEE742C27C53}"/>
              </a:ext>
            </a:extLst>
          </p:cNvPr>
          <p:cNvSpPr/>
          <p:nvPr userDrawn="1"/>
        </p:nvSpPr>
        <p:spPr>
          <a:xfrm rot="18900000" flipH="1">
            <a:off x="6698137" y="5280265"/>
            <a:ext cx="25202" cy="1416220"/>
          </a:xfrm>
          <a:custGeom>
            <a:avLst/>
            <a:gdLst>
              <a:gd name="connsiteX0" fmla="*/ 1 w 25202"/>
              <a:gd name="connsiteY0" fmla="*/ 0 h 1416220"/>
              <a:gd name="connsiteX1" fmla="*/ 0 w 25202"/>
              <a:gd name="connsiteY1" fmla="*/ 1416220 h 1416220"/>
              <a:gd name="connsiteX2" fmla="*/ 25202 w 25202"/>
              <a:gd name="connsiteY2" fmla="*/ 1391018 h 1416220"/>
              <a:gd name="connsiteX3" fmla="*/ 25201 w 25202"/>
              <a:gd name="connsiteY3" fmla="*/ 0 h 1416220"/>
              <a:gd name="connsiteX4" fmla="*/ 1 w 25202"/>
              <a:gd name="connsiteY4" fmla="*/ 0 h 141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2" h="1416220">
                <a:moveTo>
                  <a:pt x="1" y="0"/>
                </a:moveTo>
                <a:lnTo>
                  <a:pt x="0" y="1416220"/>
                </a:lnTo>
                <a:lnTo>
                  <a:pt x="25202" y="1391018"/>
                </a:lnTo>
                <a:lnTo>
                  <a:pt x="25201" y="0"/>
                </a:lnTo>
                <a:lnTo>
                  <a:pt x="1" y="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0" name="Freihandform 29">
            <a:extLst>
              <a:ext uri="{FF2B5EF4-FFF2-40B4-BE49-F238E27FC236}">
                <a16:creationId xmlns:a16="http://schemas.microsoft.com/office/drawing/2014/main" id="{FE0C4D7D-7BFA-45A6-4BA3-78E60A335052}"/>
              </a:ext>
            </a:extLst>
          </p:cNvPr>
          <p:cNvSpPr/>
          <p:nvPr userDrawn="1"/>
        </p:nvSpPr>
        <p:spPr>
          <a:xfrm rot="18900000" flipH="1">
            <a:off x="8121490" y="5288357"/>
            <a:ext cx="25202" cy="1406740"/>
          </a:xfrm>
          <a:custGeom>
            <a:avLst/>
            <a:gdLst>
              <a:gd name="connsiteX0" fmla="*/ 0 w 25202"/>
              <a:gd name="connsiteY0" fmla="*/ 0 h 1406740"/>
              <a:gd name="connsiteX1" fmla="*/ 1 w 25202"/>
              <a:gd name="connsiteY1" fmla="*/ 1406740 h 1406740"/>
              <a:gd name="connsiteX2" fmla="*/ 25202 w 25202"/>
              <a:gd name="connsiteY2" fmla="*/ 1381539 h 1406740"/>
              <a:gd name="connsiteX3" fmla="*/ 25200 w 25202"/>
              <a:gd name="connsiteY3" fmla="*/ 0 h 1406740"/>
              <a:gd name="connsiteX4" fmla="*/ 0 w 25202"/>
              <a:gd name="connsiteY4" fmla="*/ 0 h 1406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2" h="1406740">
                <a:moveTo>
                  <a:pt x="0" y="0"/>
                </a:moveTo>
                <a:lnTo>
                  <a:pt x="1" y="1406740"/>
                </a:lnTo>
                <a:lnTo>
                  <a:pt x="25202" y="1381539"/>
                </a:lnTo>
                <a:lnTo>
                  <a:pt x="2520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44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1" name="Freihandform 30">
            <a:extLst>
              <a:ext uri="{FF2B5EF4-FFF2-40B4-BE49-F238E27FC236}">
                <a16:creationId xmlns:a16="http://schemas.microsoft.com/office/drawing/2014/main" id="{1B8F35DB-3A70-5484-AFFF-AE54680E684E}"/>
              </a:ext>
            </a:extLst>
          </p:cNvPr>
          <p:cNvSpPr/>
          <p:nvPr userDrawn="1"/>
        </p:nvSpPr>
        <p:spPr>
          <a:xfrm rot="5400000">
            <a:off x="10471850" y="4081113"/>
            <a:ext cx="1057549" cy="1039729"/>
          </a:xfrm>
          <a:custGeom>
            <a:avLst/>
            <a:gdLst>
              <a:gd name="connsiteX0" fmla="*/ 0 w 1057549"/>
              <a:gd name="connsiteY0" fmla="*/ 0 h 1039729"/>
              <a:gd name="connsiteX1" fmla="*/ 35638 w 1057549"/>
              <a:gd name="connsiteY1" fmla="*/ 0 h 1039729"/>
              <a:gd name="connsiteX2" fmla="*/ 1057549 w 1057549"/>
              <a:gd name="connsiteY2" fmla="*/ 1021910 h 1039729"/>
              <a:gd name="connsiteX3" fmla="*/ 1039729 w 1057549"/>
              <a:gd name="connsiteY3" fmla="*/ 1039729 h 1039729"/>
              <a:gd name="connsiteX4" fmla="*/ 0 w 1057549"/>
              <a:gd name="connsiteY4" fmla="*/ 0 h 1039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7549" h="1039729">
                <a:moveTo>
                  <a:pt x="0" y="0"/>
                </a:moveTo>
                <a:lnTo>
                  <a:pt x="35638" y="0"/>
                </a:lnTo>
                <a:lnTo>
                  <a:pt x="1057549" y="1021910"/>
                </a:lnTo>
                <a:lnTo>
                  <a:pt x="1039729" y="10397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2" name="Freihandform 31">
            <a:extLst>
              <a:ext uri="{FF2B5EF4-FFF2-40B4-BE49-F238E27FC236}">
                <a16:creationId xmlns:a16="http://schemas.microsoft.com/office/drawing/2014/main" id="{D269E36A-A135-06B6-5278-DDFC9CFB3B46}"/>
              </a:ext>
            </a:extLst>
          </p:cNvPr>
          <p:cNvSpPr/>
          <p:nvPr userDrawn="1"/>
        </p:nvSpPr>
        <p:spPr>
          <a:xfrm>
            <a:off x="10450800" y="5473603"/>
            <a:ext cx="1024391" cy="1006572"/>
          </a:xfrm>
          <a:custGeom>
            <a:avLst/>
            <a:gdLst>
              <a:gd name="connsiteX0" fmla="*/ 17819 w 1024391"/>
              <a:gd name="connsiteY0" fmla="*/ 0 h 1006572"/>
              <a:gd name="connsiteX1" fmla="*/ 1024391 w 1024391"/>
              <a:gd name="connsiteY1" fmla="*/ 1006572 h 1006572"/>
              <a:gd name="connsiteX2" fmla="*/ 988751 w 1024391"/>
              <a:gd name="connsiteY2" fmla="*/ 1006572 h 1006572"/>
              <a:gd name="connsiteX3" fmla="*/ 0 w 1024391"/>
              <a:gd name="connsiteY3" fmla="*/ 17819 h 1006572"/>
              <a:gd name="connsiteX4" fmla="*/ 17819 w 1024391"/>
              <a:gd name="connsiteY4" fmla="*/ 0 h 1006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4391" h="1006572">
                <a:moveTo>
                  <a:pt x="17819" y="0"/>
                </a:moveTo>
                <a:lnTo>
                  <a:pt x="1024391" y="1006572"/>
                </a:lnTo>
                <a:lnTo>
                  <a:pt x="988751" y="1006572"/>
                </a:lnTo>
                <a:lnTo>
                  <a:pt x="0" y="17819"/>
                </a:lnTo>
                <a:lnTo>
                  <a:pt x="17819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111619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FBAE40"/>
          </p15:clr>
        </p15:guide>
        <p15:guide id="2" pos="39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- 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A7AE45-3CA1-7F36-AF32-049E7B942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90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7AE45-3CA1-7F36-AF32-049E7B942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4608513" cy="3240088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E2A7DF94-8713-67B6-80BC-F726580D1238}"/>
              </a:ext>
            </a:extLst>
          </p:cNvPr>
          <p:cNvGrpSpPr/>
          <p:nvPr userDrawn="1"/>
        </p:nvGrpSpPr>
        <p:grpSpPr>
          <a:xfrm>
            <a:off x="5324400" y="2343324"/>
            <a:ext cx="6199854" cy="4141607"/>
            <a:chOff x="5320635" y="2343324"/>
            <a:chExt cx="6199854" cy="4141607"/>
          </a:xfrm>
        </p:grpSpPr>
        <p:sp>
          <p:nvSpPr>
            <p:cNvPr id="3" name="Freihandform 2">
              <a:extLst>
                <a:ext uri="{FF2B5EF4-FFF2-40B4-BE49-F238E27FC236}">
                  <a16:creationId xmlns:a16="http://schemas.microsoft.com/office/drawing/2014/main" id="{7C7B17E7-8437-205E-F04C-357CFBF9510E}"/>
                </a:ext>
              </a:extLst>
            </p:cNvPr>
            <p:cNvSpPr/>
            <p:nvPr userDrawn="1"/>
          </p:nvSpPr>
          <p:spPr>
            <a:xfrm rot="18900000">
              <a:off x="5320635" y="5746289"/>
              <a:ext cx="2016096" cy="144000"/>
            </a:xfrm>
            <a:custGeom>
              <a:avLst/>
              <a:gdLst>
                <a:gd name="connsiteX0" fmla="*/ 2016095 w 2016096"/>
                <a:gd name="connsiteY0" fmla="*/ 0 h 144000"/>
                <a:gd name="connsiteX1" fmla="*/ 2016096 w 2016096"/>
                <a:gd name="connsiteY1" fmla="*/ 144000 h 144000"/>
                <a:gd name="connsiteX2" fmla="*/ 144001 w 2016096"/>
                <a:gd name="connsiteY2" fmla="*/ 144000 h 144000"/>
                <a:gd name="connsiteX3" fmla="*/ 0 w 2016096"/>
                <a:gd name="connsiteY3" fmla="*/ 0 h 144000"/>
                <a:gd name="connsiteX4" fmla="*/ 2016095 w 2016096"/>
                <a:gd name="connsiteY4" fmla="*/ 0 h 1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6096" h="144000">
                  <a:moveTo>
                    <a:pt x="2016095" y="0"/>
                  </a:moveTo>
                  <a:lnTo>
                    <a:pt x="2016096" y="144000"/>
                  </a:lnTo>
                  <a:lnTo>
                    <a:pt x="144001" y="144000"/>
                  </a:lnTo>
                  <a:lnTo>
                    <a:pt x="0" y="0"/>
                  </a:lnTo>
                  <a:lnTo>
                    <a:pt x="2016095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  <p:sp>
          <p:nvSpPr>
            <p:cNvPr id="7" name="Freihandform 6">
              <a:extLst>
                <a:ext uri="{FF2B5EF4-FFF2-40B4-BE49-F238E27FC236}">
                  <a16:creationId xmlns:a16="http://schemas.microsoft.com/office/drawing/2014/main" id="{225E6DF5-23A7-BC7C-9828-4BD0C0832FA6}"/>
                </a:ext>
              </a:extLst>
            </p:cNvPr>
            <p:cNvSpPr/>
            <p:nvPr userDrawn="1"/>
          </p:nvSpPr>
          <p:spPr>
            <a:xfrm rot="18900000">
              <a:off x="5562647" y="5235087"/>
              <a:ext cx="3461994" cy="144000"/>
            </a:xfrm>
            <a:custGeom>
              <a:avLst/>
              <a:gdLst>
                <a:gd name="connsiteX0" fmla="*/ 3461994 w 3461994"/>
                <a:gd name="connsiteY0" fmla="*/ 0 h 144000"/>
                <a:gd name="connsiteX1" fmla="*/ 3461994 w 3461994"/>
                <a:gd name="connsiteY1" fmla="*/ 144000 h 144000"/>
                <a:gd name="connsiteX2" fmla="*/ 144001 w 3461994"/>
                <a:gd name="connsiteY2" fmla="*/ 144000 h 144000"/>
                <a:gd name="connsiteX3" fmla="*/ 0 w 3461994"/>
                <a:gd name="connsiteY3" fmla="*/ 0 h 144000"/>
                <a:gd name="connsiteX4" fmla="*/ 3461994 w 3461994"/>
                <a:gd name="connsiteY4" fmla="*/ 0 h 1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61994" h="144000">
                  <a:moveTo>
                    <a:pt x="3461994" y="0"/>
                  </a:moveTo>
                  <a:lnTo>
                    <a:pt x="3461994" y="144000"/>
                  </a:lnTo>
                  <a:lnTo>
                    <a:pt x="144001" y="144000"/>
                  </a:lnTo>
                  <a:lnTo>
                    <a:pt x="0" y="0"/>
                  </a:lnTo>
                  <a:lnTo>
                    <a:pt x="3461994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  <p:sp>
          <p:nvSpPr>
            <p:cNvPr id="9" name="Freihandform 8">
              <a:extLst>
                <a:ext uri="{FF2B5EF4-FFF2-40B4-BE49-F238E27FC236}">
                  <a16:creationId xmlns:a16="http://schemas.microsoft.com/office/drawing/2014/main" id="{B9F430F8-14E8-9104-ACE1-F7A85E5CBDA1}"/>
                </a:ext>
              </a:extLst>
            </p:cNvPr>
            <p:cNvSpPr/>
            <p:nvPr userDrawn="1"/>
          </p:nvSpPr>
          <p:spPr>
            <a:xfrm>
              <a:off x="9936710" y="4515628"/>
              <a:ext cx="1583779" cy="1685603"/>
            </a:xfrm>
            <a:custGeom>
              <a:avLst/>
              <a:gdLst>
                <a:gd name="connsiteX0" fmla="*/ 1583779 w 1583779"/>
                <a:gd name="connsiteY0" fmla="*/ 0 h 1685603"/>
                <a:gd name="connsiteX1" fmla="*/ 1583779 w 1583779"/>
                <a:gd name="connsiteY1" fmla="*/ 203647 h 1685603"/>
                <a:gd name="connsiteX2" fmla="*/ 101823 w 1583779"/>
                <a:gd name="connsiteY2" fmla="*/ 1685603 h 1685603"/>
                <a:gd name="connsiteX3" fmla="*/ 0 w 1583779"/>
                <a:gd name="connsiteY3" fmla="*/ 1583779 h 1685603"/>
                <a:gd name="connsiteX4" fmla="*/ 1583779 w 1583779"/>
                <a:gd name="connsiteY4" fmla="*/ 0 h 1685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3779" h="1685603">
                  <a:moveTo>
                    <a:pt x="1583779" y="0"/>
                  </a:moveTo>
                  <a:lnTo>
                    <a:pt x="1583779" y="203647"/>
                  </a:lnTo>
                  <a:lnTo>
                    <a:pt x="101823" y="1685603"/>
                  </a:lnTo>
                  <a:lnTo>
                    <a:pt x="0" y="1583779"/>
                  </a:lnTo>
                  <a:lnTo>
                    <a:pt x="1583779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  <p:sp>
          <p:nvSpPr>
            <p:cNvPr id="12" name="Freihandform 11">
              <a:extLst>
                <a:ext uri="{FF2B5EF4-FFF2-40B4-BE49-F238E27FC236}">
                  <a16:creationId xmlns:a16="http://schemas.microsoft.com/office/drawing/2014/main" id="{EFE6790C-B9D7-09CE-E524-7202C249D346}"/>
                </a:ext>
              </a:extLst>
            </p:cNvPr>
            <p:cNvSpPr/>
            <p:nvPr userDrawn="1"/>
          </p:nvSpPr>
          <p:spPr>
            <a:xfrm>
              <a:off x="10260746" y="3615528"/>
              <a:ext cx="1259743" cy="1361567"/>
            </a:xfrm>
            <a:custGeom>
              <a:avLst/>
              <a:gdLst>
                <a:gd name="connsiteX0" fmla="*/ 1259743 w 1259743"/>
                <a:gd name="connsiteY0" fmla="*/ 0 h 1361567"/>
                <a:gd name="connsiteX1" fmla="*/ 1259743 w 1259743"/>
                <a:gd name="connsiteY1" fmla="*/ 203647 h 1361567"/>
                <a:gd name="connsiteX2" fmla="*/ 101823 w 1259743"/>
                <a:gd name="connsiteY2" fmla="*/ 1361567 h 1361567"/>
                <a:gd name="connsiteX3" fmla="*/ 0 w 1259743"/>
                <a:gd name="connsiteY3" fmla="*/ 1259743 h 1361567"/>
                <a:gd name="connsiteX4" fmla="*/ 1259743 w 1259743"/>
                <a:gd name="connsiteY4" fmla="*/ 0 h 136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9743" h="1361567">
                  <a:moveTo>
                    <a:pt x="1259743" y="0"/>
                  </a:moveTo>
                  <a:lnTo>
                    <a:pt x="1259743" y="203647"/>
                  </a:lnTo>
                  <a:lnTo>
                    <a:pt x="101823" y="1361567"/>
                  </a:lnTo>
                  <a:lnTo>
                    <a:pt x="0" y="1259743"/>
                  </a:lnTo>
                  <a:lnTo>
                    <a:pt x="1259743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  <p:sp>
          <p:nvSpPr>
            <p:cNvPr id="15" name="Freihandform 14">
              <a:extLst>
                <a:ext uri="{FF2B5EF4-FFF2-40B4-BE49-F238E27FC236}">
                  <a16:creationId xmlns:a16="http://schemas.microsoft.com/office/drawing/2014/main" id="{B8C5B3F1-C46B-3CE0-6611-E9297EB81733}"/>
                </a:ext>
              </a:extLst>
            </p:cNvPr>
            <p:cNvSpPr/>
            <p:nvPr userDrawn="1"/>
          </p:nvSpPr>
          <p:spPr>
            <a:xfrm>
              <a:off x="6905483" y="3060067"/>
              <a:ext cx="3526687" cy="3424864"/>
            </a:xfrm>
            <a:custGeom>
              <a:avLst/>
              <a:gdLst>
                <a:gd name="connsiteX0" fmla="*/ 3424864 w 3526687"/>
                <a:gd name="connsiteY0" fmla="*/ 0 h 3424864"/>
                <a:gd name="connsiteX1" fmla="*/ 3526687 w 3526687"/>
                <a:gd name="connsiteY1" fmla="*/ 101823 h 3424864"/>
                <a:gd name="connsiteX2" fmla="*/ 203646 w 3526687"/>
                <a:gd name="connsiteY2" fmla="*/ 3424864 h 3424864"/>
                <a:gd name="connsiteX3" fmla="*/ 0 w 3526687"/>
                <a:gd name="connsiteY3" fmla="*/ 3424864 h 3424864"/>
                <a:gd name="connsiteX4" fmla="*/ 3424864 w 3526687"/>
                <a:gd name="connsiteY4" fmla="*/ 0 h 3424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6687" h="3424864">
                  <a:moveTo>
                    <a:pt x="3424864" y="0"/>
                  </a:moveTo>
                  <a:lnTo>
                    <a:pt x="3526687" y="101823"/>
                  </a:lnTo>
                  <a:lnTo>
                    <a:pt x="203646" y="3424864"/>
                  </a:lnTo>
                  <a:lnTo>
                    <a:pt x="0" y="3424864"/>
                  </a:lnTo>
                  <a:lnTo>
                    <a:pt x="3424864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54000">
                  <a:schemeClr val="accent4"/>
                </a:gs>
                <a:gs pos="100000">
                  <a:schemeClr val="accent3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  <p:sp>
          <p:nvSpPr>
            <p:cNvPr id="17" name="Freihandform 16">
              <a:extLst>
                <a:ext uri="{FF2B5EF4-FFF2-40B4-BE49-F238E27FC236}">
                  <a16:creationId xmlns:a16="http://schemas.microsoft.com/office/drawing/2014/main" id="{8612BAC3-2FDF-D10C-4D77-0BEDB667131A}"/>
                </a:ext>
              </a:extLst>
            </p:cNvPr>
            <p:cNvSpPr/>
            <p:nvPr userDrawn="1"/>
          </p:nvSpPr>
          <p:spPr>
            <a:xfrm>
              <a:off x="7382129" y="2343324"/>
              <a:ext cx="4136851" cy="4136851"/>
            </a:xfrm>
            <a:custGeom>
              <a:avLst/>
              <a:gdLst>
                <a:gd name="connsiteX0" fmla="*/ 4136851 w 4136851"/>
                <a:gd name="connsiteY0" fmla="*/ 0 h 4136851"/>
                <a:gd name="connsiteX1" fmla="*/ 4136851 w 4136851"/>
                <a:gd name="connsiteY1" fmla="*/ 203647 h 4136851"/>
                <a:gd name="connsiteX2" fmla="*/ 203647 w 4136851"/>
                <a:gd name="connsiteY2" fmla="*/ 4136851 h 4136851"/>
                <a:gd name="connsiteX3" fmla="*/ 0 w 4136851"/>
                <a:gd name="connsiteY3" fmla="*/ 4136851 h 4136851"/>
                <a:gd name="connsiteX4" fmla="*/ 4136851 w 4136851"/>
                <a:gd name="connsiteY4" fmla="*/ 0 h 4136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6851" h="4136851">
                  <a:moveTo>
                    <a:pt x="4136851" y="0"/>
                  </a:moveTo>
                  <a:lnTo>
                    <a:pt x="4136851" y="203647"/>
                  </a:lnTo>
                  <a:lnTo>
                    <a:pt x="203647" y="4136851"/>
                  </a:lnTo>
                  <a:lnTo>
                    <a:pt x="0" y="4136851"/>
                  </a:lnTo>
                  <a:lnTo>
                    <a:pt x="4136851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54000">
                  <a:schemeClr val="accent4"/>
                </a:gs>
                <a:gs pos="100000">
                  <a:schemeClr val="accent3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47E5F16D-4319-C46E-DB73-5645D5E6B55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88" y="216265"/>
            <a:ext cx="2012696" cy="34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091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3447">
          <p15:clr>
            <a:srgbClr val="FBAE40"/>
          </p15:clr>
        </p15:guide>
        <p15:guide id="5" pos="326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links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746D094-FE45-17D9-1135-F9324B0A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60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746D094-FE45-17D9-1135-F9324B0A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4C06C5CB-9982-56CE-B824-F851931BC8E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263" y="1511300"/>
            <a:ext cx="4608000" cy="4321175"/>
          </a:xfrm>
          <a:custGeom>
            <a:avLst/>
            <a:gdLst>
              <a:gd name="connsiteX0" fmla="*/ 0 w 4608000"/>
              <a:gd name="connsiteY0" fmla="*/ 0 h 4321175"/>
              <a:gd name="connsiteX1" fmla="*/ 4608000 w 4608000"/>
              <a:gd name="connsiteY1" fmla="*/ 0 h 4321175"/>
              <a:gd name="connsiteX2" fmla="*/ 4608000 w 4608000"/>
              <a:gd name="connsiteY2" fmla="*/ 4321175 h 4321175"/>
              <a:gd name="connsiteX3" fmla="*/ 0 w 4608000"/>
              <a:gd name="connsiteY3" fmla="*/ 4321175 h 4321175"/>
              <a:gd name="connsiteX4" fmla="*/ 0 w 4608000"/>
              <a:gd name="connsiteY4" fmla="*/ 3933392 h 4321175"/>
              <a:gd name="connsiteX5" fmla="*/ 1124601 w 4608000"/>
              <a:gd name="connsiteY5" fmla="*/ 2808791 h 4321175"/>
              <a:gd name="connsiteX6" fmla="*/ 1106782 w 4608000"/>
              <a:gd name="connsiteY6" fmla="*/ 2790972 h 4321175"/>
              <a:gd name="connsiteX7" fmla="*/ 0 w 4608000"/>
              <a:gd name="connsiteY7" fmla="*/ 3897754 h 4321175"/>
              <a:gd name="connsiteX8" fmla="*/ 0 w 4608000"/>
              <a:gd name="connsiteY8" fmla="*/ 2944203 h 4321175"/>
              <a:gd name="connsiteX9" fmla="*/ 543859 w 4608000"/>
              <a:gd name="connsiteY9" fmla="*/ 2400344 h 4321175"/>
              <a:gd name="connsiteX10" fmla="*/ 526040 w 4608000"/>
              <a:gd name="connsiteY10" fmla="*/ 2382525 h 4321175"/>
              <a:gd name="connsiteX11" fmla="*/ 0 w 4608000"/>
              <a:gd name="connsiteY11" fmla="*/ 2908565 h 4321175"/>
              <a:gd name="connsiteX12" fmla="*/ 0 w 4608000"/>
              <a:gd name="connsiteY12" fmla="*/ 1746010 h 4321175"/>
              <a:gd name="connsiteX13" fmla="*/ 1240053 w 4608000"/>
              <a:gd name="connsiteY13" fmla="*/ 505957 h 4321175"/>
              <a:gd name="connsiteX14" fmla="*/ 1222234 w 4608000"/>
              <a:gd name="connsiteY14" fmla="*/ 488138 h 4321175"/>
              <a:gd name="connsiteX15" fmla="*/ 0 w 4608000"/>
              <a:gd name="connsiteY15" fmla="*/ 1710372 h 4321175"/>
              <a:gd name="connsiteX16" fmla="*/ 0 w 4608000"/>
              <a:gd name="connsiteY16" fmla="*/ 762364 h 4321175"/>
              <a:gd name="connsiteX17" fmla="*/ 347906 w 4608000"/>
              <a:gd name="connsiteY17" fmla="*/ 414459 h 4321175"/>
              <a:gd name="connsiteX18" fmla="*/ 330087 w 4608000"/>
              <a:gd name="connsiteY18" fmla="*/ 396639 h 4321175"/>
              <a:gd name="connsiteX19" fmla="*/ 0 w 4608000"/>
              <a:gd name="connsiteY19" fmla="*/ 726726 h 432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08000" h="4321175">
                <a:moveTo>
                  <a:pt x="0" y="0"/>
                </a:moveTo>
                <a:lnTo>
                  <a:pt x="4608000" y="0"/>
                </a:lnTo>
                <a:lnTo>
                  <a:pt x="4608000" y="4321175"/>
                </a:lnTo>
                <a:lnTo>
                  <a:pt x="0" y="4321175"/>
                </a:lnTo>
                <a:lnTo>
                  <a:pt x="0" y="3933392"/>
                </a:lnTo>
                <a:lnTo>
                  <a:pt x="1124601" y="2808791"/>
                </a:lnTo>
                <a:lnTo>
                  <a:pt x="1106782" y="2790972"/>
                </a:lnTo>
                <a:lnTo>
                  <a:pt x="0" y="3897754"/>
                </a:lnTo>
                <a:lnTo>
                  <a:pt x="0" y="2944203"/>
                </a:lnTo>
                <a:lnTo>
                  <a:pt x="543859" y="2400344"/>
                </a:lnTo>
                <a:lnTo>
                  <a:pt x="526040" y="2382525"/>
                </a:lnTo>
                <a:lnTo>
                  <a:pt x="0" y="2908565"/>
                </a:lnTo>
                <a:lnTo>
                  <a:pt x="0" y="1746010"/>
                </a:lnTo>
                <a:lnTo>
                  <a:pt x="1240053" y="505957"/>
                </a:lnTo>
                <a:lnTo>
                  <a:pt x="1222234" y="488138"/>
                </a:lnTo>
                <a:lnTo>
                  <a:pt x="0" y="1710372"/>
                </a:lnTo>
                <a:lnTo>
                  <a:pt x="0" y="762364"/>
                </a:lnTo>
                <a:lnTo>
                  <a:pt x="347906" y="414459"/>
                </a:lnTo>
                <a:lnTo>
                  <a:pt x="330087" y="396639"/>
                </a:lnTo>
                <a:lnTo>
                  <a:pt x="0" y="726726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19" name="Inhaltsplatzhalter 22">
            <a:extLst>
              <a:ext uri="{FF2B5EF4-FFF2-40B4-BE49-F238E27FC236}">
                <a16:creationId xmlns:a16="http://schemas.microsoft.com/office/drawing/2014/main" id="{207F72F3-42B9-4D50-B3BC-370BA175770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0244" y="1511300"/>
            <a:ext cx="5183981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F0EB50B1-270C-BD8B-2CAB-529FB9E22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48AD10B-AC34-DD55-ADB6-32479B0EABD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487BC81E-0513-4A41-9469-6FFCF8ACAA2F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4E06A4-717D-8EE3-2648-7569B9EE436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ED0964-74FB-3C29-2E4E-E7AB675EDA5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BE27213-3C3E-2286-9129-8CAF800209D1}"/>
              </a:ext>
            </a:extLst>
          </p:cNvPr>
          <p:cNvSpPr/>
          <p:nvPr userDrawn="1"/>
        </p:nvSpPr>
        <p:spPr>
          <a:xfrm rot="2700000" flipH="1">
            <a:off x="1056587" y="1702567"/>
            <a:ext cx="25200" cy="20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8" name="Freihandform 37">
            <a:extLst>
              <a:ext uri="{FF2B5EF4-FFF2-40B4-BE49-F238E27FC236}">
                <a16:creationId xmlns:a16="http://schemas.microsoft.com/office/drawing/2014/main" id="{88AF0FBB-84C7-08A2-06BA-0F633BB7CDDA}"/>
              </a:ext>
            </a:extLst>
          </p:cNvPr>
          <p:cNvSpPr/>
          <p:nvPr userDrawn="1"/>
        </p:nvSpPr>
        <p:spPr>
          <a:xfrm rot="2700000" flipH="1">
            <a:off x="538551" y="3670751"/>
            <a:ext cx="25200" cy="1584091"/>
          </a:xfrm>
          <a:custGeom>
            <a:avLst/>
            <a:gdLst>
              <a:gd name="connsiteX0" fmla="*/ 25200 w 25200"/>
              <a:gd name="connsiteY0" fmla="*/ 0 h 1584091"/>
              <a:gd name="connsiteX1" fmla="*/ 0 w 25200"/>
              <a:gd name="connsiteY1" fmla="*/ 0 h 1584091"/>
              <a:gd name="connsiteX2" fmla="*/ 0 w 25200"/>
              <a:gd name="connsiteY2" fmla="*/ 1584091 h 1584091"/>
              <a:gd name="connsiteX3" fmla="*/ 25200 w 25200"/>
              <a:gd name="connsiteY3" fmla="*/ 1558892 h 1584091"/>
              <a:gd name="connsiteX4" fmla="*/ 25200 w 25200"/>
              <a:gd name="connsiteY4" fmla="*/ 0 h 158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0" h="1584091">
                <a:moveTo>
                  <a:pt x="25200" y="0"/>
                </a:moveTo>
                <a:lnTo>
                  <a:pt x="0" y="0"/>
                </a:lnTo>
                <a:lnTo>
                  <a:pt x="0" y="1584091"/>
                </a:lnTo>
                <a:lnTo>
                  <a:pt x="25200" y="1558892"/>
                </a:lnTo>
                <a:lnTo>
                  <a:pt x="25200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41" name="Freihandform 40">
            <a:extLst>
              <a:ext uri="{FF2B5EF4-FFF2-40B4-BE49-F238E27FC236}">
                <a16:creationId xmlns:a16="http://schemas.microsoft.com/office/drawing/2014/main" id="{87D0E851-E7CD-3967-5CA0-029296342DCC}"/>
              </a:ext>
            </a:extLst>
          </p:cNvPr>
          <p:cNvSpPr/>
          <p:nvPr userDrawn="1"/>
        </p:nvSpPr>
        <p:spPr>
          <a:xfrm rot="2700000" flipH="1">
            <a:off x="828923" y="3958921"/>
            <a:ext cx="25200" cy="2405384"/>
          </a:xfrm>
          <a:custGeom>
            <a:avLst/>
            <a:gdLst>
              <a:gd name="connsiteX0" fmla="*/ 25200 w 25200"/>
              <a:gd name="connsiteY0" fmla="*/ 0 h 2405384"/>
              <a:gd name="connsiteX1" fmla="*/ 0 w 25200"/>
              <a:gd name="connsiteY1" fmla="*/ 0 h 2405384"/>
              <a:gd name="connsiteX2" fmla="*/ 0 w 25200"/>
              <a:gd name="connsiteY2" fmla="*/ 2405384 h 2405384"/>
              <a:gd name="connsiteX3" fmla="*/ 25200 w 25200"/>
              <a:gd name="connsiteY3" fmla="*/ 2380184 h 2405384"/>
              <a:gd name="connsiteX4" fmla="*/ 25200 w 25200"/>
              <a:gd name="connsiteY4" fmla="*/ 0 h 2405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0" h="2405384">
                <a:moveTo>
                  <a:pt x="25200" y="0"/>
                </a:moveTo>
                <a:lnTo>
                  <a:pt x="0" y="0"/>
                </a:lnTo>
                <a:lnTo>
                  <a:pt x="0" y="2405384"/>
                </a:lnTo>
                <a:lnTo>
                  <a:pt x="25200" y="2380184"/>
                </a:lnTo>
                <a:lnTo>
                  <a:pt x="25200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5" name="Freihandform 34">
            <a:extLst>
              <a:ext uri="{FF2B5EF4-FFF2-40B4-BE49-F238E27FC236}">
                <a16:creationId xmlns:a16="http://schemas.microsoft.com/office/drawing/2014/main" id="{93391991-D4C6-D891-F9F9-0290DDB68A48}"/>
              </a:ext>
            </a:extLst>
          </p:cNvPr>
          <p:cNvSpPr/>
          <p:nvPr userDrawn="1"/>
        </p:nvSpPr>
        <p:spPr>
          <a:xfrm rot="2700000" flipH="1">
            <a:off x="440575" y="1725447"/>
            <a:ext cx="25201" cy="1306973"/>
          </a:xfrm>
          <a:custGeom>
            <a:avLst/>
            <a:gdLst>
              <a:gd name="connsiteX0" fmla="*/ 25201 w 25201"/>
              <a:gd name="connsiteY0" fmla="*/ 0 h 1306973"/>
              <a:gd name="connsiteX1" fmla="*/ 0 w 25201"/>
              <a:gd name="connsiteY1" fmla="*/ 1 h 1306973"/>
              <a:gd name="connsiteX2" fmla="*/ 1 w 25201"/>
              <a:gd name="connsiteY2" fmla="*/ 1306973 h 1306973"/>
              <a:gd name="connsiteX3" fmla="*/ 25201 w 25201"/>
              <a:gd name="connsiteY3" fmla="*/ 1281773 h 1306973"/>
              <a:gd name="connsiteX4" fmla="*/ 25201 w 25201"/>
              <a:gd name="connsiteY4" fmla="*/ 0 h 1306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1" h="1306973">
                <a:moveTo>
                  <a:pt x="25201" y="0"/>
                </a:moveTo>
                <a:lnTo>
                  <a:pt x="0" y="1"/>
                </a:lnTo>
                <a:lnTo>
                  <a:pt x="1" y="1306973"/>
                </a:lnTo>
                <a:lnTo>
                  <a:pt x="25201" y="1281773"/>
                </a:lnTo>
                <a:lnTo>
                  <a:pt x="2520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3120018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FBAE40"/>
          </p15:clr>
        </p15:guide>
        <p15:guide id="2" pos="326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_links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746D094-FE45-17D9-1135-F9324B0A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60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746D094-FE45-17D9-1135-F9324B0A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20411B32-35D4-5C4A-A2FA-2BD4B9116AC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263" y="1511300"/>
            <a:ext cx="4608000" cy="432117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19" name="Inhaltsplatzhalter 22">
            <a:extLst>
              <a:ext uri="{FF2B5EF4-FFF2-40B4-BE49-F238E27FC236}">
                <a16:creationId xmlns:a16="http://schemas.microsoft.com/office/drawing/2014/main" id="{207F72F3-42B9-4D50-B3BC-370BA175770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0244" y="1511300"/>
            <a:ext cx="5183981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F0EB50B1-270C-BD8B-2CAB-529FB9E22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48AD10B-AC34-DD55-ADB6-32479B0EABD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EC118BD8-2310-4DD2-91F2-BA74499AAE78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4E06A4-717D-8EE3-2648-7569B9EE436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ED0964-74FB-3C29-2E4E-E7AB675EDA5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3554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FBAE40"/>
          </p15:clr>
        </p15:guide>
        <p15:guide id="2" pos="326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96175B4-C6D6-A81D-C56C-388F00336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71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96175B4-C6D6-A81D-C56C-388F00336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A0858B-A364-8058-41F3-99A17E0749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0FFEC934-C91D-4349-BB37-958E696D1FAF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281CD-5BC2-C04D-9E6F-3804259C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8C599D-3C25-2A55-24A4-5B2086204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E244EC8-4BCF-FF61-0AA0-6F5EE2E75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99163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bseitiges Bild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Freihandform 61">
            <a:extLst>
              <a:ext uri="{FF2B5EF4-FFF2-40B4-BE49-F238E27FC236}">
                <a16:creationId xmlns:a16="http://schemas.microsoft.com/office/drawing/2014/main" id="{63022FA1-2C3A-7323-9153-4CC825D87AD7}"/>
              </a:ext>
            </a:extLst>
          </p:cNvPr>
          <p:cNvSpPr/>
          <p:nvPr userDrawn="1"/>
        </p:nvSpPr>
        <p:spPr>
          <a:xfrm rot="2700000" flipH="1">
            <a:off x="7090344" y="4732272"/>
            <a:ext cx="25200" cy="2074991"/>
          </a:xfrm>
          <a:custGeom>
            <a:avLst/>
            <a:gdLst>
              <a:gd name="connsiteX0" fmla="*/ 25200 w 25200"/>
              <a:gd name="connsiteY0" fmla="*/ 0 h 2074991"/>
              <a:gd name="connsiteX1" fmla="*/ 0 w 25200"/>
              <a:gd name="connsiteY1" fmla="*/ 0 h 2074991"/>
              <a:gd name="connsiteX2" fmla="*/ 0 w 25200"/>
              <a:gd name="connsiteY2" fmla="*/ 2049792 h 2074991"/>
              <a:gd name="connsiteX3" fmla="*/ 25200 w 25200"/>
              <a:gd name="connsiteY3" fmla="*/ 2074991 h 2074991"/>
              <a:gd name="connsiteX4" fmla="*/ 25200 w 25200"/>
              <a:gd name="connsiteY4" fmla="*/ 0 h 207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0" h="2074991">
                <a:moveTo>
                  <a:pt x="25200" y="0"/>
                </a:moveTo>
                <a:lnTo>
                  <a:pt x="0" y="0"/>
                </a:lnTo>
                <a:lnTo>
                  <a:pt x="0" y="2049792"/>
                </a:lnTo>
                <a:lnTo>
                  <a:pt x="25200" y="2074991"/>
                </a:lnTo>
                <a:lnTo>
                  <a:pt x="25200" y="0"/>
                </a:lnTo>
                <a:close/>
              </a:path>
            </a:pathLst>
          </a:custGeom>
          <a:gradFill>
            <a:gsLst>
              <a:gs pos="48000">
                <a:schemeClr val="accent4"/>
              </a:gs>
              <a:gs pos="0">
                <a:schemeClr val="accent3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E383622-9002-DB8D-D2D9-58B1BF3A8CD5}"/>
              </a:ext>
            </a:extLst>
          </p:cNvPr>
          <p:cNvSpPr/>
          <p:nvPr userDrawn="1"/>
        </p:nvSpPr>
        <p:spPr>
          <a:xfrm rot="2700000" flipH="1">
            <a:off x="6632313" y="943200"/>
            <a:ext cx="25200" cy="226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9DA31D51-2961-0085-9C68-E4BAEFD8E50E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337298" y="0"/>
            <a:ext cx="5183190" cy="6480175"/>
          </a:xfrm>
          <a:custGeom>
            <a:avLst/>
            <a:gdLst>
              <a:gd name="connsiteX0" fmla="*/ 0 w 5183190"/>
              <a:gd name="connsiteY0" fmla="*/ 0 h 6480175"/>
              <a:gd name="connsiteX1" fmla="*/ 5183190 w 5183190"/>
              <a:gd name="connsiteY1" fmla="*/ 0 h 6480175"/>
              <a:gd name="connsiteX2" fmla="*/ 5183190 w 5183190"/>
              <a:gd name="connsiteY2" fmla="*/ 1226355 h 6480175"/>
              <a:gd name="connsiteX3" fmla="*/ 4748999 w 5183190"/>
              <a:gd name="connsiteY3" fmla="*/ 1660545 h 6480175"/>
              <a:gd name="connsiteX4" fmla="*/ 4766818 w 5183190"/>
              <a:gd name="connsiteY4" fmla="*/ 1678364 h 6480175"/>
              <a:gd name="connsiteX5" fmla="*/ 5183190 w 5183190"/>
              <a:gd name="connsiteY5" fmla="*/ 1261993 h 6480175"/>
              <a:gd name="connsiteX6" fmla="*/ 5183190 w 5183190"/>
              <a:gd name="connsiteY6" fmla="*/ 2321479 h 6480175"/>
              <a:gd name="connsiteX7" fmla="*/ 4534702 w 5183190"/>
              <a:gd name="connsiteY7" fmla="*/ 2969967 h 6480175"/>
              <a:gd name="connsiteX8" fmla="*/ 4552521 w 5183190"/>
              <a:gd name="connsiteY8" fmla="*/ 2987786 h 6480175"/>
              <a:gd name="connsiteX9" fmla="*/ 5183190 w 5183190"/>
              <a:gd name="connsiteY9" fmla="*/ 2357117 h 6480175"/>
              <a:gd name="connsiteX10" fmla="*/ 5183190 w 5183190"/>
              <a:gd name="connsiteY10" fmla="*/ 6480175 h 6480175"/>
              <a:gd name="connsiteX11" fmla="*/ 73057 w 5183190"/>
              <a:gd name="connsiteY11" fmla="*/ 6480175 h 6480175"/>
              <a:gd name="connsiteX12" fmla="*/ 1508176 w 5183190"/>
              <a:gd name="connsiteY12" fmla="*/ 5045056 h 6480175"/>
              <a:gd name="connsiteX13" fmla="*/ 1490357 w 5183190"/>
              <a:gd name="connsiteY13" fmla="*/ 5027237 h 6480175"/>
              <a:gd name="connsiteX14" fmla="*/ 37419 w 5183190"/>
              <a:gd name="connsiteY14" fmla="*/ 6480175 h 6480175"/>
              <a:gd name="connsiteX15" fmla="*/ 0 w 5183190"/>
              <a:gd name="connsiteY15" fmla="*/ 6480175 h 6480175"/>
              <a:gd name="connsiteX16" fmla="*/ 0 w 5183190"/>
              <a:gd name="connsiteY16" fmla="*/ 5462735 h 6480175"/>
              <a:gd name="connsiteX17" fmla="*/ 861234 w 5183190"/>
              <a:gd name="connsiteY17" fmla="*/ 4601502 h 6480175"/>
              <a:gd name="connsiteX18" fmla="*/ 843415 w 5183190"/>
              <a:gd name="connsiteY18" fmla="*/ 4583683 h 6480175"/>
              <a:gd name="connsiteX19" fmla="*/ 0 w 5183190"/>
              <a:gd name="connsiteY19" fmla="*/ 5427097 h 6480175"/>
              <a:gd name="connsiteX20" fmla="*/ 0 w 5183190"/>
              <a:gd name="connsiteY20" fmla="*/ 3496390 h 6480175"/>
              <a:gd name="connsiteX21" fmla="*/ 830253 w 5183190"/>
              <a:gd name="connsiteY21" fmla="*/ 2666137 h 6480175"/>
              <a:gd name="connsiteX22" fmla="*/ 812434 w 5183190"/>
              <a:gd name="connsiteY22" fmla="*/ 2648318 h 6480175"/>
              <a:gd name="connsiteX23" fmla="*/ 0 w 5183190"/>
              <a:gd name="connsiteY23" fmla="*/ 3460752 h 648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183190" h="6480175">
                <a:moveTo>
                  <a:pt x="0" y="0"/>
                </a:moveTo>
                <a:lnTo>
                  <a:pt x="5183190" y="0"/>
                </a:lnTo>
                <a:lnTo>
                  <a:pt x="5183190" y="1226355"/>
                </a:lnTo>
                <a:lnTo>
                  <a:pt x="4748999" y="1660545"/>
                </a:lnTo>
                <a:lnTo>
                  <a:pt x="4766818" y="1678364"/>
                </a:lnTo>
                <a:lnTo>
                  <a:pt x="5183190" y="1261993"/>
                </a:lnTo>
                <a:lnTo>
                  <a:pt x="5183190" y="2321479"/>
                </a:lnTo>
                <a:lnTo>
                  <a:pt x="4534702" y="2969967"/>
                </a:lnTo>
                <a:lnTo>
                  <a:pt x="4552521" y="2987786"/>
                </a:lnTo>
                <a:lnTo>
                  <a:pt x="5183190" y="2357117"/>
                </a:lnTo>
                <a:lnTo>
                  <a:pt x="5183190" y="6480175"/>
                </a:lnTo>
                <a:lnTo>
                  <a:pt x="73057" y="6480175"/>
                </a:lnTo>
                <a:lnTo>
                  <a:pt x="1508176" y="5045056"/>
                </a:lnTo>
                <a:lnTo>
                  <a:pt x="1490357" y="5027237"/>
                </a:lnTo>
                <a:lnTo>
                  <a:pt x="37419" y="6480175"/>
                </a:lnTo>
                <a:lnTo>
                  <a:pt x="0" y="6480175"/>
                </a:lnTo>
                <a:lnTo>
                  <a:pt x="0" y="5462735"/>
                </a:lnTo>
                <a:lnTo>
                  <a:pt x="861234" y="4601502"/>
                </a:lnTo>
                <a:lnTo>
                  <a:pt x="843415" y="4583683"/>
                </a:lnTo>
                <a:lnTo>
                  <a:pt x="0" y="5427097"/>
                </a:lnTo>
                <a:lnTo>
                  <a:pt x="0" y="3496390"/>
                </a:lnTo>
                <a:lnTo>
                  <a:pt x="830253" y="2666137"/>
                </a:lnTo>
                <a:lnTo>
                  <a:pt x="812434" y="2648318"/>
                </a:lnTo>
                <a:lnTo>
                  <a:pt x="0" y="346075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44000" tIns="144000" rIns="144000" bIns="144000" anchor="t"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platzieren</a:t>
            </a:r>
            <a:r>
              <a:rPr lang="en-GB" dirty="0"/>
              <a:t>: </a:t>
            </a:r>
            <a:br>
              <a:rPr lang="en-GB" dirty="0"/>
            </a:br>
            <a:r>
              <a:rPr lang="en-GB" dirty="0"/>
              <a:t>Klick auf </a:t>
            </a:r>
            <a:r>
              <a:rPr lang="en-GB" dirty="0" err="1"/>
              <a:t>Fläche</a:t>
            </a:r>
            <a:r>
              <a:rPr lang="en-GB" dirty="0"/>
              <a:t> › Menü › </a:t>
            </a:r>
            <a:r>
              <a:rPr lang="en-GB" dirty="0" err="1"/>
              <a:t>Einfügen</a:t>
            </a:r>
            <a:r>
              <a:rPr lang="en-GB" dirty="0"/>
              <a:t> › Bild </a:t>
            </a:r>
            <a:r>
              <a:rPr lang="en-GB" dirty="0" err="1"/>
              <a:t>aus</a:t>
            </a:r>
            <a:r>
              <a:rPr lang="en-GB" dirty="0"/>
              <a:t> </a:t>
            </a:r>
            <a:r>
              <a:rPr lang="en-GB" dirty="0" err="1"/>
              <a:t>Datei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r>
              <a:rPr lang="en-GB" dirty="0"/>
              <a:t>  </a:t>
            </a: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0AD62C3-A5E1-E769-3861-E112D8BE95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301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0AD62C3-A5E1-E769-3861-E112D8BE9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Inhaltsplatzhalter 22">
            <a:extLst>
              <a:ext uri="{FF2B5EF4-FFF2-40B4-BE49-F238E27FC236}">
                <a16:creationId xmlns:a16="http://schemas.microsoft.com/office/drawing/2014/main" id="{07F97559-5E31-2368-D919-53D6CBBA2C7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60" y="1511300"/>
            <a:ext cx="5183190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9E09D5EF-078D-0A9B-FCC8-DBF093BBA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5183190" cy="1008064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7B7514A-5E76-1226-0828-B71C44A27CE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4E618BF4-786D-474D-AD53-52F2C62C4C40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59D2B09-34C0-F110-3CF5-999A714061D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3061D5A-8D57-103D-1F4A-F0585E3DAD7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3F8759C5-F03A-74BC-00BD-988A6D740AB3}"/>
              </a:ext>
            </a:extLst>
          </p:cNvPr>
          <p:cNvSpPr/>
          <p:nvPr userDrawn="1"/>
        </p:nvSpPr>
        <p:spPr>
          <a:xfrm rot="2700000" flipH="1">
            <a:off x="6598741" y="2430528"/>
            <a:ext cx="25200" cy="1548000"/>
          </a:xfrm>
          <a:prstGeom prst="rect">
            <a:avLst/>
          </a:prstGeom>
          <a:gradFill>
            <a:gsLst>
              <a:gs pos="0">
                <a:schemeClr val="accent4"/>
              </a:gs>
              <a:gs pos="82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55" name="Freihandform 54">
            <a:extLst>
              <a:ext uri="{FF2B5EF4-FFF2-40B4-BE49-F238E27FC236}">
                <a16:creationId xmlns:a16="http://schemas.microsoft.com/office/drawing/2014/main" id="{2A74E6BE-7D67-28F7-9E0F-E282F682290E}"/>
              </a:ext>
            </a:extLst>
          </p:cNvPr>
          <p:cNvSpPr/>
          <p:nvPr userDrawn="1"/>
        </p:nvSpPr>
        <p:spPr>
          <a:xfrm rot="2700000" flipH="1">
            <a:off x="11299703" y="1145339"/>
            <a:ext cx="25200" cy="614039"/>
          </a:xfrm>
          <a:custGeom>
            <a:avLst/>
            <a:gdLst>
              <a:gd name="connsiteX0" fmla="*/ 25200 w 25200"/>
              <a:gd name="connsiteY0" fmla="*/ 0 h 614039"/>
              <a:gd name="connsiteX1" fmla="*/ 0 w 25200"/>
              <a:gd name="connsiteY1" fmla="*/ 25200 h 614039"/>
              <a:gd name="connsiteX2" fmla="*/ 0 w 25200"/>
              <a:gd name="connsiteY2" fmla="*/ 614039 h 614039"/>
              <a:gd name="connsiteX3" fmla="*/ 25200 w 25200"/>
              <a:gd name="connsiteY3" fmla="*/ 614039 h 614039"/>
              <a:gd name="connsiteX4" fmla="*/ 25200 w 25200"/>
              <a:gd name="connsiteY4" fmla="*/ 0 h 614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0" h="614039">
                <a:moveTo>
                  <a:pt x="25200" y="0"/>
                </a:moveTo>
                <a:lnTo>
                  <a:pt x="0" y="25200"/>
                </a:lnTo>
                <a:lnTo>
                  <a:pt x="0" y="614039"/>
                </a:lnTo>
                <a:lnTo>
                  <a:pt x="25200" y="614039"/>
                </a:lnTo>
                <a:lnTo>
                  <a:pt x="2520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D3ADC1B5-8C9A-97B8-FC8D-5491B9200BE3}"/>
              </a:ext>
            </a:extLst>
          </p:cNvPr>
          <p:cNvSpPr/>
          <p:nvPr userDrawn="1"/>
        </p:nvSpPr>
        <p:spPr>
          <a:xfrm rot="2700000" flipH="1">
            <a:off x="6375163" y="4260451"/>
            <a:ext cx="25200" cy="2268000"/>
          </a:xfrm>
          <a:prstGeom prst="rect">
            <a:avLst/>
          </a:prstGeom>
          <a:gradFill>
            <a:gsLst>
              <a:gs pos="48000">
                <a:schemeClr val="accent4"/>
              </a:gs>
              <a:gs pos="0">
                <a:schemeClr val="accent3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52" name="Freihandform 51">
            <a:extLst>
              <a:ext uri="{FF2B5EF4-FFF2-40B4-BE49-F238E27FC236}">
                <a16:creationId xmlns:a16="http://schemas.microsoft.com/office/drawing/2014/main" id="{095B7F16-92F3-A647-869D-207430DCF84D}"/>
              </a:ext>
            </a:extLst>
          </p:cNvPr>
          <p:cNvSpPr/>
          <p:nvPr userDrawn="1"/>
        </p:nvSpPr>
        <p:spPr>
          <a:xfrm>
            <a:off x="10872000" y="2321479"/>
            <a:ext cx="648488" cy="666307"/>
          </a:xfrm>
          <a:custGeom>
            <a:avLst/>
            <a:gdLst>
              <a:gd name="connsiteX0" fmla="*/ 648488 w 648488"/>
              <a:gd name="connsiteY0" fmla="*/ 0 h 666307"/>
              <a:gd name="connsiteX1" fmla="*/ 648488 w 648488"/>
              <a:gd name="connsiteY1" fmla="*/ 35638 h 666307"/>
              <a:gd name="connsiteX2" fmla="*/ 17819 w 648488"/>
              <a:gd name="connsiteY2" fmla="*/ 666307 h 666307"/>
              <a:gd name="connsiteX3" fmla="*/ 0 w 648488"/>
              <a:gd name="connsiteY3" fmla="*/ 648488 h 666307"/>
              <a:gd name="connsiteX4" fmla="*/ 648488 w 648488"/>
              <a:gd name="connsiteY4" fmla="*/ 0 h 66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8488" h="666307">
                <a:moveTo>
                  <a:pt x="648488" y="0"/>
                </a:moveTo>
                <a:lnTo>
                  <a:pt x="648488" y="35638"/>
                </a:lnTo>
                <a:lnTo>
                  <a:pt x="17819" y="666307"/>
                </a:lnTo>
                <a:lnTo>
                  <a:pt x="0" y="648488"/>
                </a:lnTo>
                <a:lnTo>
                  <a:pt x="648488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912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FBAE40"/>
          </p15:clr>
        </p15:guide>
        <p15:guide id="2" pos="399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eite_5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96175B4-C6D6-A81D-C56C-388F00336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8888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96175B4-C6D6-A81D-C56C-388F00336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A0858B-A364-8058-41F3-99A17E0749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3DFB1E1-5694-4FED-9E9A-B7A7C8A53FC5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281CD-5BC2-C04D-9E6F-3804259C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8C599D-3C25-2A55-24A4-5B2086204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E244EC8-4BCF-FF61-0AA0-6F5EE2E75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 anchor="t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29B0C06D-4221-7E1A-C582-4EDD9D3834AB}"/>
              </a:ext>
            </a:extLst>
          </p:cNvPr>
          <p:cNvSpPr>
            <a:spLocks noGrp="1" noChangeAspect="1"/>
          </p:cNvSpPr>
          <p:nvPr>
            <p:ph type="pic" sz="quarter" idx="68"/>
          </p:nvPr>
        </p:nvSpPr>
        <p:spPr>
          <a:xfrm>
            <a:off x="4824835" y="1511300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EF6BA240-46F6-E85D-D2E8-71E050846C03}"/>
              </a:ext>
            </a:extLst>
          </p:cNvPr>
          <p:cNvSpPr>
            <a:spLocks noGrp="1" noChangeAspect="1"/>
          </p:cNvSpPr>
          <p:nvPr>
            <p:ph type="pic" sz="quarter" idx="69"/>
          </p:nvPr>
        </p:nvSpPr>
        <p:spPr>
          <a:xfrm>
            <a:off x="6949253" y="1511300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9" name="Bildplatzhalter 5">
            <a:extLst>
              <a:ext uri="{FF2B5EF4-FFF2-40B4-BE49-F238E27FC236}">
                <a16:creationId xmlns:a16="http://schemas.microsoft.com/office/drawing/2014/main" id="{234AAC01-59B1-EE1A-C877-973E22285E42}"/>
              </a:ext>
            </a:extLst>
          </p:cNvPr>
          <p:cNvSpPr>
            <a:spLocks noGrp="1" noChangeAspect="1"/>
          </p:cNvSpPr>
          <p:nvPr>
            <p:ph type="pic" sz="quarter" idx="70"/>
          </p:nvPr>
        </p:nvSpPr>
        <p:spPr>
          <a:xfrm>
            <a:off x="9073670" y="1511300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0564398D-BC07-2B6E-5E65-560E83A7144E}"/>
              </a:ext>
            </a:extLst>
          </p:cNvPr>
          <p:cNvSpPr>
            <a:spLocks noGrp="1" noChangeAspect="1"/>
          </p:cNvSpPr>
          <p:nvPr>
            <p:ph type="pic" sz="quarter" idx="71"/>
          </p:nvPr>
        </p:nvSpPr>
        <p:spPr>
          <a:xfrm>
            <a:off x="2700417" y="1511300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1" name="Bildplatzhalter 5">
            <a:extLst>
              <a:ext uri="{FF2B5EF4-FFF2-40B4-BE49-F238E27FC236}">
                <a16:creationId xmlns:a16="http://schemas.microsoft.com/office/drawing/2014/main" id="{25037F09-1B66-4A88-3824-95C8FF6D13A9}"/>
              </a:ext>
            </a:extLst>
          </p:cNvPr>
          <p:cNvSpPr>
            <a:spLocks noGrp="1" noChangeAspect="1"/>
          </p:cNvSpPr>
          <p:nvPr>
            <p:ph type="pic" sz="quarter" idx="72"/>
          </p:nvPr>
        </p:nvSpPr>
        <p:spPr>
          <a:xfrm>
            <a:off x="575999" y="1511300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8C7E1768-D6B1-96B4-10E5-B5CE108BAA4E}"/>
              </a:ext>
            </a:extLst>
          </p:cNvPr>
          <p:cNvSpPr>
            <a:spLocks noGrp="1" noChangeAspect="1"/>
          </p:cNvSpPr>
          <p:nvPr>
            <p:ph type="pic" sz="quarter" idx="73"/>
          </p:nvPr>
        </p:nvSpPr>
        <p:spPr>
          <a:xfrm>
            <a:off x="4824834" y="3011692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5573873F-A9C3-676D-7542-599B9C91042C}"/>
              </a:ext>
            </a:extLst>
          </p:cNvPr>
          <p:cNvSpPr>
            <a:spLocks noGrp="1" noChangeAspect="1"/>
          </p:cNvSpPr>
          <p:nvPr>
            <p:ph type="pic" sz="quarter" idx="74"/>
          </p:nvPr>
        </p:nvSpPr>
        <p:spPr>
          <a:xfrm>
            <a:off x="6949251" y="3011692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58BF6C60-C91C-D28F-0238-C5E080BC53BD}"/>
              </a:ext>
            </a:extLst>
          </p:cNvPr>
          <p:cNvSpPr>
            <a:spLocks noGrp="1" noChangeAspect="1"/>
          </p:cNvSpPr>
          <p:nvPr>
            <p:ph type="pic" sz="quarter" idx="75"/>
          </p:nvPr>
        </p:nvSpPr>
        <p:spPr>
          <a:xfrm>
            <a:off x="9073670" y="3011692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31549D7E-7332-5FE8-1777-82EAD9CB7149}"/>
              </a:ext>
            </a:extLst>
          </p:cNvPr>
          <p:cNvSpPr>
            <a:spLocks noGrp="1" noChangeAspect="1"/>
          </p:cNvSpPr>
          <p:nvPr>
            <p:ph type="pic" sz="quarter" idx="76"/>
          </p:nvPr>
        </p:nvSpPr>
        <p:spPr>
          <a:xfrm>
            <a:off x="2700417" y="3011692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6" name="Bildplatzhalter 5">
            <a:extLst>
              <a:ext uri="{FF2B5EF4-FFF2-40B4-BE49-F238E27FC236}">
                <a16:creationId xmlns:a16="http://schemas.microsoft.com/office/drawing/2014/main" id="{C682A980-284A-005A-7BCE-2BCDE1817B98}"/>
              </a:ext>
            </a:extLst>
          </p:cNvPr>
          <p:cNvSpPr>
            <a:spLocks noGrp="1" noChangeAspect="1"/>
          </p:cNvSpPr>
          <p:nvPr>
            <p:ph type="pic" sz="quarter" idx="77"/>
          </p:nvPr>
        </p:nvSpPr>
        <p:spPr>
          <a:xfrm>
            <a:off x="576000" y="3011692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7" name="Bildplatzhalter 5">
            <a:extLst>
              <a:ext uri="{FF2B5EF4-FFF2-40B4-BE49-F238E27FC236}">
                <a16:creationId xmlns:a16="http://schemas.microsoft.com/office/drawing/2014/main" id="{8698E55D-1AE3-4CB1-AD8A-7BB1583D0DBA}"/>
              </a:ext>
            </a:extLst>
          </p:cNvPr>
          <p:cNvSpPr>
            <a:spLocks noGrp="1" noChangeAspect="1"/>
          </p:cNvSpPr>
          <p:nvPr>
            <p:ph type="pic" sz="quarter" idx="78"/>
          </p:nvPr>
        </p:nvSpPr>
        <p:spPr>
          <a:xfrm>
            <a:off x="4824835" y="4512084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8" name="Bildplatzhalter 5">
            <a:extLst>
              <a:ext uri="{FF2B5EF4-FFF2-40B4-BE49-F238E27FC236}">
                <a16:creationId xmlns:a16="http://schemas.microsoft.com/office/drawing/2014/main" id="{21F311A0-0CF5-5805-9BC7-27E8E05D7BBA}"/>
              </a:ext>
            </a:extLst>
          </p:cNvPr>
          <p:cNvSpPr>
            <a:spLocks noGrp="1" noChangeAspect="1"/>
          </p:cNvSpPr>
          <p:nvPr>
            <p:ph type="pic" sz="quarter" idx="79"/>
          </p:nvPr>
        </p:nvSpPr>
        <p:spPr>
          <a:xfrm>
            <a:off x="6949253" y="4512084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9" name="Bildplatzhalter 5">
            <a:extLst>
              <a:ext uri="{FF2B5EF4-FFF2-40B4-BE49-F238E27FC236}">
                <a16:creationId xmlns:a16="http://schemas.microsoft.com/office/drawing/2014/main" id="{23C56748-936F-2E8C-502C-B58967AF80F9}"/>
              </a:ext>
            </a:extLst>
          </p:cNvPr>
          <p:cNvSpPr>
            <a:spLocks noGrp="1" noChangeAspect="1"/>
          </p:cNvSpPr>
          <p:nvPr>
            <p:ph type="pic" sz="quarter" idx="80"/>
          </p:nvPr>
        </p:nvSpPr>
        <p:spPr>
          <a:xfrm>
            <a:off x="9073670" y="4512084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68591617-F72E-10BC-9765-5F102F94A11C}"/>
              </a:ext>
            </a:extLst>
          </p:cNvPr>
          <p:cNvSpPr>
            <a:spLocks noGrp="1" noChangeAspect="1"/>
          </p:cNvSpPr>
          <p:nvPr>
            <p:ph type="pic" sz="quarter" idx="81"/>
          </p:nvPr>
        </p:nvSpPr>
        <p:spPr>
          <a:xfrm>
            <a:off x="2700417" y="4512084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40EE4C0B-6AD7-057D-2BD6-0B1221ECB6B9}"/>
              </a:ext>
            </a:extLst>
          </p:cNvPr>
          <p:cNvSpPr>
            <a:spLocks noGrp="1" noChangeAspect="1"/>
          </p:cNvSpPr>
          <p:nvPr>
            <p:ph type="pic" sz="quarter" idx="82"/>
          </p:nvPr>
        </p:nvSpPr>
        <p:spPr>
          <a:xfrm>
            <a:off x="575999" y="4512084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2118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_Logo -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9D9D83C7-3F40-CC4C-AFF0-304731484F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760" y="2723103"/>
            <a:ext cx="4320968" cy="73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762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2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_Logo - ro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D9E0B1B-958E-BC46-B324-2877BF2447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760" y="2723102"/>
            <a:ext cx="4320968" cy="73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321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2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_Text -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6335711" cy="32400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ext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79" y="4248151"/>
            <a:ext cx="6335711" cy="13684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Optionale </a:t>
            </a:r>
            <a:r>
              <a:rPr lang="de-DE" dirty="0" err="1"/>
              <a:t>Subline</a:t>
            </a:r>
            <a:r>
              <a:rPr lang="de-DE" dirty="0"/>
              <a:t> einfügen</a:t>
            </a:r>
          </a:p>
        </p:txBody>
      </p:sp>
      <p:pic>
        <p:nvPicPr>
          <p:cNvPr id="4" name="Grafik 3" descr="Ein Bild, das Schwarz, Dunkelheit enthält.&#10;&#10;Automatisch generierte Beschreibung">
            <a:hlinkClick r:id="rId2"/>
            <a:extLst>
              <a:ext uri="{FF2B5EF4-FFF2-40B4-BE49-F238E27FC236}">
                <a16:creationId xmlns:a16="http://schemas.microsoft.com/office/drawing/2014/main" id="{06381935-CDB5-1980-61FD-C762A13F41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668" y="4787495"/>
            <a:ext cx="1060954" cy="288032"/>
          </a:xfrm>
          <a:prstGeom prst="rect">
            <a:avLst/>
          </a:prstGeom>
        </p:spPr>
      </p:pic>
      <p:pic>
        <p:nvPicPr>
          <p:cNvPr id="6" name="Grafik 5" descr="Ein Bild, das Schwarz, Dunkelheit enthält.&#10;&#10;Automatisch generierte Beschreibung">
            <a:hlinkClick r:id="rId4"/>
            <a:extLst>
              <a:ext uri="{FF2B5EF4-FFF2-40B4-BE49-F238E27FC236}">
                <a16:creationId xmlns:a16="http://schemas.microsoft.com/office/drawing/2014/main" id="{92D51DC8-33DA-6260-D664-3D6704EF5E7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666" y="4752255"/>
            <a:ext cx="756084" cy="299283"/>
          </a:xfrm>
          <a:prstGeom prst="rect">
            <a:avLst/>
          </a:prstGeom>
        </p:spPr>
      </p:pic>
      <p:sp>
        <p:nvSpPr>
          <p:cNvPr id="7" name="Untertitel 2">
            <a:hlinkClick r:id="rId6"/>
            <a:extLst>
              <a:ext uri="{FF2B5EF4-FFF2-40B4-BE49-F238E27FC236}">
                <a16:creationId xmlns:a16="http://schemas.microsoft.com/office/drawing/2014/main" id="{87A4B8C2-9442-4203-BAE8-AE9313077A75}"/>
              </a:ext>
            </a:extLst>
          </p:cNvPr>
          <p:cNvSpPr txBox="1">
            <a:spLocks/>
          </p:cNvSpPr>
          <p:nvPr userDrawn="1"/>
        </p:nvSpPr>
        <p:spPr>
          <a:xfrm>
            <a:off x="3131952" y="4824263"/>
            <a:ext cx="1060954" cy="2880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64017" rtl="0" eaLnBrk="1" latinLnBrk="0" hangingPunct="1">
              <a:lnSpc>
                <a:spcPct val="110000"/>
              </a:lnSpc>
              <a:spcBef>
                <a:spcPts val="88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864017" rtl="0" eaLnBrk="1" latinLnBrk="0" hangingPunct="1"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864017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864017" rtl="0" eaLnBrk="1" latinLnBrk="0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864017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secu</a:t>
            </a:r>
            <a:r>
              <a:rPr lang="en-US" dirty="0">
                <a:solidFill>
                  <a:schemeClr val="accent1"/>
                </a:solidFill>
                <a:latin typeface="+mj-lt"/>
              </a:rPr>
              <a:t>view</a:t>
            </a:r>
          </a:p>
          <a:p>
            <a:endParaRPr lang="en-US" dirty="0"/>
          </a:p>
        </p:txBody>
      </p:sp>
      <p:sp>
        <p:nvSpPr>
          <p:cNvPr id="9" name="Untertitel 2">
            <a:hlinkClick r:id="rId7"/>
            <a:extLst>
              <a:ext uri="{FF2B5EF4-FFF2-40B4-BE49-F238E27FC236}">
                <a16:creationId xmlns:a16="http://schemas.microsoft.com/office/drawing/2014/main" id="{E748655B-4987-4E71-78AB-3136F3783291}"/>
              </a:ext>
            </a:extLst>
          </p:cNvPr>
          <p:cNvSpPr txBox="1">
            <a:spLocks/>
          </p:cNvSpPr>
          <p:nvPr userDrawn="1"/>
        </p:nvSpPr>
        <p:spPr>
          <a:xfrm>
            <a:off x="4336922" y="4824263"/>
            <a:ext cx="1060954" cy="2880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64017" rtl="0" eaLnBrk="1" latinLnBrk="0" hangingPunct="1">
              <a:lnSpc>
                <a:spcPct val="110000"/>
              </a:lnSpc>
              <a:spcBef>
                <a:spcPts val="88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864017" rtl="0" eaLnBrk="1" latinLnBrk="0" hangingPunct="1"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864017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864017" rtl="0" eaLnBrk="1" latinLnBrk="0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864017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events</a:t>
            </a:r>
            <a:endParaRPr lang="en-US" dirty="0">
              <a:solidFill>
                <a:schemeClr val="accent1"/>
              </a:solidFill>
              <a:latin typeface="+mj-lt"/>
            </a:endParaRPr>
          </a:p>
          <a:p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D56BB9-DFB6-F94B-1491-448E3163C9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779" y="5924759"/>
            <a:ext cx="1152000" cy="1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280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676">
          <p15:clr>
            <a:srgbClr val="FBAE40"/>
          </p15:clr>
        </p15:guide>
        <p15:guide id="5" pos="435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_Text - ro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6335711" cy="32400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xt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79" y="4248150"/>
            <a:ext cx="6335711" cy="14398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Optionale </a:t>
            </a:r>
            <a:r>
              <a:rPr lang="de-DE" dirty="0" err="1"/>
              <a:t>Subline</a:t>
            </a:r>
            <a:r>
              <a:rPr lang="de-DE" dirty="0"/>
              <a:t> einfüg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4099A06-FA21-E243-A7A5-1E8FA3A06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263" y="5924572"/>
            <a:ext cx="1152000" cy="195088"/>
          </a:xfrm>
          <a:prstGeom prst="rect">
            <a:avLst/>
          </a:prstGeom>
        </p:spPr>
      </p:pic>
      <p:pic>
        <p:nvPicPr>
          <p:cNvPr id="3" name="Grafik 2">
            <a:hlinkClick r:id="rId3"/>
            <a:extLst>
              <a:ext uri="{FF2B5EF4-FFF2-40B4-BE49-F238E27FC236}">
                <a16:creationId xmlns:a16="http://schemas.microsoft.com/office/drawing/2014/main" id="{AB62FD29-D8EC-BE76-3A9A-3BEB7440ED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5668" y="4797342"/>
            <a:ext cx="1060952" cy="288032"/>
          </a:xfrm>
          <a:prstGeom prst="rect">
            <a:avLst/>
          </a:prstGeom>
        </p:spPr>
      </p:pic>
      <p:pic>
        <p:nvPicPr>
          <p:cNvPr id="4" name="Grafik 3">
            <a:hlinkClick r:id="rId5"/>
            <a:extLst>
              <a:ext uri="{FF2B5EF4-FFF2-40B4-BE49-F238E27FC236}">
                <a16:creationId xmlns:a16="http://schemas.microsoft.com/office/drawing/2014/main" id="{D77AF743-E858-D1BA-1A4D-978E1D671CD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32666" y="4762102"/>
            <a:ext cx="756083" cy="299283"/>
          </a:xfrm>
          <a:prstGeom prst="rect">
            <a:avLst/>
          </a:prstGeom>
        </p:spPr>
      </p:pic>
      <p:sp>
        <p:nvSpPr>
          <p:cNvPr id="6" name="Untertitel 2">
            <a:hlinkClick r:id="rId7"/>
            <a:extLst>
              <a:ext uri="{FF2B5EF4-FFF2-40B4-BE49-F238E27FC236}">
                <a16:creationId xmlns:a16="http://schemas.microsoft.com/office/drawing/2014/main" id="{C2891694-ACBE-92A4-E346-6FA2CE8FC327}"/>
              </a:ext>
            </a:extLst>
          </p:cNvPr>
          <p:cNvSpPr txBox="1">
            <a:spLocks/>
          </p:cNvSpPr>
          <p:nvPr userDrawn="1"/>
        </p:nvSpPr>
        <p:spPr>
          <a:xfrm>
            <a:off x="3131951" y="4834110"/>
            <a:ext cx="1060954" cy="2880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64017" rtl="0" eaLnBrk="1" latinLnBrk="0" hangingPunct="1">
              <a:lnSpc>
                <a:spcPct val="110000"/>
              </a:lnSpc>
              <a:spcBef>
                <a:spcPts val="88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864017" rtl="0" eaLnBrk="1" latinLnBrk="0" hangingPunct="1"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864017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864017" rtl="0" eaLnBrk="1" latinLnBrk="0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864017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err="1">
                <a:solidFill>
                  <a:schemeClr val="bg1"/>
                </a:solidFill>
                <a:latin typeface="+mj-lt"/>
              </a:rPr>
              <a:t>secuview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Untertitel 2">
            <a:hlinkClick r:id="rId8"/>
            <a:extLst>
              <a:ext uri="{FF2B5EF4-FFF2-40B4-BE49-F238E27FC236}">
                <a16:creationId xmlns:a16="http://schemas.microsoft.com/office/drawing/2014/main" id="{690DE140-4C2E-A0B5-4432-DE141FE2BE01}"/>
              </a:ext>
            </a:extLst>
          </p:cNvPr>
          <p:cNvSpPr txBox="1">
            <a:spLocks/>
          </p:cNvSpPr>
          <p:nvPr userDrawn="1"/>
        </p:nvSpPr>
        <p:spPr>
          <a:xfrm>
            <a:off x="4336921" y="4834110"/>
            <a:ext cx="1060954" cy="2880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64017" rtl="0" eaLnBrk="1" latinLnBrk="0" hangingPunct="1">
              <a:lnSpc>
                <a:spcPct val="110000"/>
              </a:lnSpc>
              <a:spcBef>
                <a:spcPts val="88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864017" rtl="0" eaLnBrk="1" latinLnBrk="0" hangingPunct="1"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864017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864017" rtl="0" eaLnBrk="1" latinLnBrk="0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Symbol" panose="050501020107060205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864017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  <a:latin typeface="+mj-lt"/>
              </a:rPr>
              <a:t>events</a:t>
            </a:r>
          </a:p>
        </p:txBody>
      </p:sp>
    </p:spTree>
    <p:extLst>
      <p:ext uri="{BB962C8B-B14F-4D97-AF65-F5344CB8AC3E}">
        <p14:creationId xmlns:p14="http://schemas.microsoft.com/office/powerpoint/2010/main" val="356939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435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_oben_3spaltig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0F643D-8E98-7E44-BB93-C433E4581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10367962" cy="1008064"/>
          </a:xfrm>
          <a:prstGeom prst="rect">
            <a:avLst/>
          </a:prstGeom>
        </p:spPr>
        <p:txBody>
          <a:bodyPr lIns="0" tIns="0" bIns="0"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9F19AA5B-64B9-614A-90A3-FD4F4BFCAC87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latin typeface="+mj-lt"/>
              </a:rPr>
              <a:pPr/>
              <a:t>‹Nr.›</a:t>
            </a:fld>
            <a:endParaRPr lang="de-DE" sz="800">
              <a:latin typeface="+mj-lt"/>
            </a:endParaRPr>
          </a:p>
        </p:txBody>
      </p:sp>
      <p:pic>
        <p:nvPicPr>
          <p:cNvPr id="18" name="Grafik 1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3178EB7E-2673-C548-9F8F-34CFFC960D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00" y="6249600"/>
            <a:ext cx="509401" cy="86400"/>
          </a:xfrm>
          <a:prstGeom prst="rect">
            <a:avLst/>
          </a:prstGeom>
        </p:spPr>
      </p:pic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BE56F278-D904-C147-8669-A3B171746A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40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/>
            </a:lvl1pPr>
          </a:lstStyle>
          <a:p>
            <a:fld id="{92A6C449-AFE7-4B8A-81CD-24D2FA9D6B8C}" type="datetime1">
              <a:rPr lang="de-DE" smtClean="0"/>
              <a:t>17.04.2026</a:t>
            </a:fld>
            <a:endParaRPr lang="de-DE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560E0495-D195-3348-A7B6-8902B3B37A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40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Systemschrift"/>
              <a:buChar char="|"/>
              <a:defRPr sz="800"/>
            </a:lvl1pPr>
          </a:lstStyle>
          <a:p>
            <a:r>
              <a:rPr lang="de-DE"/>
              <a:t>Cybersecurity Summit Hamburg | NIS-2 und die sichere Lieferkette</a:t>
            </a:r>
            <a:endParaRPr lang="de-DE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A335187C-2E03-A744-BACB-3034DAB5E6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0" y="3816350"/>
            <a:ext cx="3167063" cy="2016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Font typeface="+mj-lt"/>
              <a:buNone/>
              <a:defRPr lang="de-DE" sz="1400" smtClean="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smtClean="0">
                <a:latin typeface="+mn-lt"/>
              </a:defRPr>
            </a:lvl2pPr>
            <a:lvl3pPr marL="360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3pPr>
            <a:lvl4pPr marL="504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4pPr>
            <a:lvl5pPr marL="648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>
                <a:latin typeface="+mn-lt"/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837E00A1-81BD-5145-92D4-452E42F3A4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76712" y="3816350"/>
            <a:ext cx="3167063" cy="2016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Font typeface="+mj-lt"/>
              <a:buNone/>
              <a:defRPr lang="de-DE" sz="1400" smtClean="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smtClean="0">
                <a:latin typeface="+mn-lt"/>
              </a:defRPr>
            </a:lvl2pPr>
            <a:lvl3pPr marL="360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3pPr>
            <a:lvl4pPr marL="504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4pPr>
            <a:lvl5pPr marL="648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>
                <a:latin typeface="+mn-lt"/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3B0879D9-99B0-5C40-8D53-DB949DD084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777162" y="3816350"/>
            <a:ext cx="3167063" cy="2016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Font typeface="+mj-lt"/>
              <a:buNone/>
              <a:defRPr lang="de-DE" sz="1400" smtClean="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smtClean="0">
                <a:latin typeface="+mn-lt"/>
              </a:defRPr>
            </a:lvl2pPr>
            <a:lvl3pPr marL="360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3pPr>
            <a:lvl4pPr marL="504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4pPr>
            <a:lvl5pPr marL="648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>
                <a:latin typeface="+mn-lt"/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FB0D6DD7-4C71-9149-8A8C-07E180C878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6263" y="1511299"/>
            <a:ext cx="3167060" cy="201612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A497E11B-D7F2-884D-BCA2-DBEFCB3823C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179847" y="1511299"/>
            <a:ext cx="3167060" cy="201612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89D45C9D-03B8-8246-B3CD-1A9665BB110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777165" y="1511299"/>
            <a:ext cx="3167060" cy="201612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47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31">
          <p15:clr>
            <a:srgbClr val="FBAE40"/>
          </p15:clr>
        </p15:guide>
        <p15:guide id="2" pos="2358">
          <p15:clr>
            <a:srgbClr val="FBAE40"/>
          </p15:clr>
        </p15:guide>
        <p15:guide id="3" orient="horz" pos="771">
          <p15:clr>
            <a:srgbClr val="FBAE40"/>
          </p15:clr>
        </p15:guide>
        <p15:guide id="4" pos="4626">
          <p15:clr>
            <a:srgbClr val="FBAE40"/>
          </p15:clr>
        </p15:guide>
        <p15:guide id="5" pos="48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- Patter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A7AE45-3CA1-7F36-AF32-049E7B942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90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7AE45-3CA1-7F36-AF32-049E7B942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B0B187FF-E2B4-3B4D-91C5-EA23D26C608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988" y="216265"/>
            <a:ext cx="2012696" cy="34084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4608513" cy="3240088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2BBAEB7B-63D5-1FD7-35CB-12C7FD9724CD}"/>
              </a:ext>
            </a:extLst>
          </p:cNvPr>
          <p:cNvGrpSpPr/>
          <p:nvPr userDrawn="1"/>
        </p:nvGrpSpPr>
        <p:grpSpPr>
          <a:xfrm>
            <a:off x="5324400" y="2348081"/>
            <a:ext cx="6199854" cy="4136851"/>
            <a:chOff x="5320635" y="2348081"/>
            <a:chExt cx="6199854" cy="4136851"/>
          </a:xfrm>
        </p:grpSpPr>
        <p:sp>
          <p:nvSpPr>
            <p:cNvPr id="48" name="Freihandform 47">
              <a:extLst>
                <a:ext uri="{FF2B5EF4-FFF2-40B4-BE49-F238E27FC236}">
                  <a16:creationId xmlns:a16="http://schemas.microsoft.com/office/drawing/2014/main" id="{CAABFBCB-DEE5-7C3E-5F20-C11D348267DA}"/>
                </a:ext>
              </a:extLst>
            </p:cNvPr>
            <p:cNvSpPr/>
            <p:nvPr userDrawn="1"/>
          </p:nvSpPr>
          <p:spPr>
            <a:xfrm rot="18900000">
              <a:off x="5320635" y="5746289"/>
              <a:ext cx="2016096" cy="144000"/>
            </a:xfrm>
            <a:custGeom>
              <a:avLst/>
              <a:gdLst>
                <a:gd name="connsiteX0" fmla="*/ 2016095 w 2016096"/>
                <a:gd name="connsiteY0" fmla="*/ 0 h 144000"/>
                <a:gd name="connsiteX1" fmla="*/ 2016096 w 2016096"/>
                <a:gd name="connsiteY1" fmla="*/ 144000 h 144000"/>
                <a:gd name="connsiteX2" fmla="*/ 144001 w 2016096"/>
                <a:gd name="connsiteY2" fmla="*/ 144000 h 144000"/>
                <a:gd name="connsiteX3" fmla="*/ 0 w 2016096"/>
                <a:gd name="connsiteY3" fmla="*/ 0 h 144000"/>
                <a:gd name="connsiteX4" fmla="*/ 2016095 w 2016096"/>
                <a:gd name="connsiteY4" fmla="*/ 0 h 1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6096" h="144000">
                  <a:moveTo>
                    <a:pt x="2016095" y="0"/>
                  </a:moveTo>
                  <a:lnTo>
                    <a:pt x="2016096" y="144000"/>
                  </a:lnTo>
                  <a:lnTo>
                    <a:pt x="144001" y="144000"/>
                  </a:lnTo>
                  <a:lnTo>
                    <a:pt x="0" y="0"/>
                  </a:lnTo>
                  <a:lnTo>
                    <a:pt x="2016095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  <p:sp>
          <p:nvSpPr>
            <p:cNvPr id="44" name="Freihandform 43">
              <a:extLst>
                <a:ext uri="{FF2B5EF4-FFF2-40B4-BE49-F238E27FC236}">
                  <a16:creationId xmlns:a16="http://schemas.microsoft.com/office/drawing/2014/main" id="{FEC8788E-F6ED-2750-FEE7-9539AD518402}"/>
                </a:ext>
              </a:extLst>
            </p:cNvPr>
            <p:cNvSpPr/>
            <p:nvPr userDrawn="1"/>
          </p:nvSpPr>
          <p:spPr>
            <a:xfrm rot="18900000">
              <a:off x="5562647" y="5235087"/>
              <a:ext cx="3461994" cy="144000"/>
            </a:xfrm>
            <a:custGeom>
              <a:avLst/>
              <a:gdLst>
                <a:gd name="connsiteX0" fmla="*/ 3461994 w 3461994"/>
                <a:gd name="connsiteY0" fmla="*/ 0 h 144000"/>
                <a:gd name="connsiteX1" fmla="*/ 3461994 w 3461994"/>
                <a:gd name="connsiteY1" fmla="*/ 144000 h 144000"/>
                <a:gd name="connsiteX2" fmla="*/ 144001 w 3461994"/>
                <a:gd name="connsiteY2" fmla="*/ 144000 h 144000"/>
                <a:gd name="connsiteX3" fmla="*/ 0 w 3461994"/>
                <a:gd name="connsiteY3" fmla="*/ 0 h 144000"/>
                <a:gd name="connsiteX4" fmla="*/ 3461994 w 3461994"/>
                <a:gd name="connsiteY4" fmla="*/ 0 h 1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61994" h="144000">
                  <a:moveTo>
                    <a:pt x="3461994" y="0"/>
                  </a:moveTo>
                  <a:lnTo>
                    <a:pt x="3461994" y="144000"/>
                  </a:lnTo>
                  <a:lnTo>
                    <a:pt x="144001" y="144000"/>
                  </a:lnTo>
                  <a:lnTo>
                    <a:pt x="0" y="0"/>
                  </a:lnTo>
                  <a:lnTo>
                    <a:pt x="3461994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  <p:sp>
          <p:nvSpPr>
            <p:cNvPr id="30" name="Freihandform 29">
              <a:extLst>
                <a:ext uri="{FF2B5EF4-FFF2-40B4-BE49-F238E27FC236}">
                  <a16:creationId xmlns:a16="http://schemas.microsoft.com/office/drawing/2014/main" id="{7AE012B5-0BB7-348C-40E3-C5262822FE57}"/>
                </a:ext>
              </a:extLst>
            </p:cNvPr>
            <p:cNvSpPr/>
            <p:nvPr userDrawn="1"/>
          </p:nvSpPr>
          <p:spPr>
            <a:xfrm>
              <a:off x="9936710" y="4520385"/>
              <a:ext cx="1583779" cy="1685603"/>
            </a:xfrm>
            <a:custGeom>
              <a:avLst/>
              <a:gdLst>
                <a:gd name="connsiteX0" fmla="*/ 1583779 w 1583779"/>
                <a:gd name="connsiteY0" fmla="*/ 0 h 1685603"/>
                <a:gd name="connsiteX1" fmla="*/ 1583779 w 1583779"/>
                <a:gd name="connsiteY1" fmla="*/ 203647 h 1685603"/>
                <a:gd name="connsiteX2" fmla="*/ 101823 w 1583779"/>
                <a:gd name="connsiteY2" fmla="*/ 1685603 h 1685603"/>
                <a:gd name="connsiteX3" fmla="*/ 0 w 1583779"/>
                <a:gd name="connsiteY3" fmla="*/ 1583779 h 1685603"/>
                <a:gd name="connsiteX4" fmla="*/ 1583779 w 1583779"/>
                <a:gd name="connsiteY4" fmla="*/ 0 h 1685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3779" h="1685603">
                  <a:moveTo>
                    <a:pt x="1583779" y="0"/>
                  </a:moveTo>
                  <a:lnTo>
                    <a:pt x="1583779" y="203647"/>
                  </a:lnTo>
                  <a:lnTo>
                    <a:pt x="101823" y="1685603"/>
                  </a:lnTo>
                  <a:lnTo>
                    <a:pt x="0" y="1583779"/>
                  </a:lnTo>
                  <a:lnTo>
                    <a:pt x="1583779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  <p:sp>
          <p:nvSpPr>
            <p:cNvPr id="20" name="Freihandform 19">
              <a:extLst>
                <a:ext uri="{FF2B5EF4-FFF2-40B4-BE49-F238E27FC236}">
                  <a16:creationId xmlns:a16="http://schemas.microsoft.com/office/drawing/2014/main" id="{F5C99C04-3DA6-BA9C-EC11-6B3C0A1275E0}"/>
                </a:ext>
              </a:extLst>
            </p:cNvPr>
            <p:cNvSpPr/>
            <p:nvPr userDrawn="1"/>
          </p:nvSpPr>
          <p:spPr>
            <a:xfrm>
              <a:off x="10260746" y="3620285"/>
              <a:ext cx="1259743" cy="1361567"/>
            </a:xfrm>
            <a:custGeom>
              <a:avLst/>
              <a:gdLst>
                <a:gd name="connsiteX0" fmla="*/ 1259743 w 1259743"/>
                <a:gd name="connsiteY0" fmla="*/ 0 h 1361567"/>
                <a:gd name="connsiteX1" fmla="*/ 1259743 w 1259743"/>
                <a:gd name="connsiteY1" fmla="*/ 203647 h 1361567"/>
                <a:gd name="connsiteX2" fmla="*/ 101823 w 1259743"/>
                <a:gd name="connsiteY2" fmla="*/ 1361567 h 1361567"/>
                <a:gd name="connsiteX3" fmla="*/ 0 w 1259743"/>
                <a:gd name="connsiteY3" fmla="*/ 1259743 h 1361567"/>
                <a:gd name="connsiteX4" fmla="*/ 1259743 w 1259743"/>
                <a:gd name="connsiteY4" fmla="*/ 0 h 136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9743" h="1361567">
                  <a:moveTo>
                    <a:pt x="1259743" y="0"/>
                  </a:moveTo>
                  <a:lnTo>
                    <a:pt x="1259743" y="203647"/>
                  </a:lnTo>
                  <a:lnTo>
                    <a:pt x="101823" y="1361567"/>
                  </a:lnTo>
                  <a:lnTo>
                    <a:pt x="0" y="1259743"/>
                  </a:lnTo>
                  <a:lnTo>
                    <a:pt x="1259743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  <p:sp>
          <p:nvSpPr>
            <p:cNvPr id="41" name="Freihandform 40">
              <a:extLst>
                <a:ext uri="{FF2B5EF4-FFF2-40B4-BE49-F238E27FC236}">
                  <a16:creationId xmlns:a16="http://schemas.microsoft.com/office/drawing/2014/main" id="{72E8FE9F-B411-DCF0-7D66-11918EF9673F}"/>
                </a:ext>
              </a:extLst>
            </p:cNvPr>
            <p:cNvSpPr/>
            <p:nvPr userDrawn="1"/>
          </p:nvSpPr>
          <p:spPr>
            <a:xfrm>
              <a:off x="6905483" y="3060067"/>
              <a:ext cx="3526687" cy="3424864"/>
            </a:xfrm>
            <a:custGeom>
              <a:avLst/>
              <a:gdLst>
                <a:gd name="connsiteX0" fmla="*/ 3424864 w 3526687"/>
                <a:gd name="connsiteY0" fmla="*/ 0 h 3424864"/>
                <a:gd name="connsiteX1" fmla="*/ 3526687 w 3526687"/>
                <a:gd name="connsiteY1" fmla="*/ 101823 h 3424864"/>
                <a:gd name="connsiteX2" fmla="*/ 203646 w 3526687"/>
                <a:gd name="connsiteY2" fmla="*/ 3424864 h 3424864"/>
                <a:gd name="connsiteX3" fmla="*/ 0 w 3526687"/>
                <a:gd name="connsiteY3" fmla="*/ 3424864 h 3424864"/>
                <a:gd name="connsiteX4" fmla="*/ 3424864 w 3526687"/>
                <a:gd name="connsiteY4" fmla="*/ 0 h 3424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6687" h="3424864">
                  <a:moveTo>
                    <a:pt x="3424864" y="0"/>
                  </a:moveTo>
                  <a:lnTo>
                    <a:pt x="3526687" y="101823"/>
                  </a:lnTo>
                  <a:lnTo>
                    <a:pt x="203646" y="3424864"/>
                  </a:lnTo>
                  <a:lnTo>
                    <a:pt x="0" y="3424864"/>
                  </a:lnTo>
                  <a:lnTo>
                    <a:pt x="3424864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54000">
                  <a:schemeClr val="accent4"/>
                </a:gs>
                <a:gs pos="100000">
                  <a:schemeClr val="accent3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  <p:sp>
          <p:nvSpPr>
            <p:cNvPr id="38" name="Freihandform 37">
              <a:extLst>
                <a:ext uri="{FF2B5EF4-FFF2-40B4-BE49-F238E27FC236}">
                  <a16:creationId xmlns:a16="http://schemas.microsoft.com/office/drawing/2014/main" id="{F29AACD6-3409-F06C-1015-6A4DC2DB3000}"/>
                </a:ext>
              </a:extLst>
            </p:cNvPr>
            <p:cNvSpPr/>
            <p:nvPr userDrawn="1"/>
          </p:nvSpPr>
          <p:spPr>
            <a:xfrm>
              <a:off x="7382129" y="2348081"/>
              <a:ext cx="4136851" cy="4136851"/>
            </a:xfrm>
            <a:custGeom>
              <a:avLst/>
              <a:gdLst>
                <a:gd name="connsiteX0" fmla="*/ 4136851 w 4136851"/>
                <a:gd name="connsiteY0" fmla="*/ 0 h 4136851"/>
                <a:gd name="connsiteX1" fmla="*/ 4136851 w 4136851"/>
                <a:gd name="connsiteY1" fmla="*/ 203647 h 4136851"/>
                <a:gd name="connsiteX2" fmla="*/ 203647 w 4136851"/>
                <a:gd name="connsiteY2" fmla="*/ 4136851 h 4136851"/>
                <a:gd name="connsiteX3" fmla="*/ 0 w 4136851"/>
                <a:gd name="connsiteY3" fmla="*/ 4136851 h 4136851"/>
                <a:gd name="connsiteX4" fmla="*/ 4136851 w 4136851"/>
                <a:gd name="connsiteY4" fmla="*/ 0 h 4136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6851" h="4136851">
                  <a:moveTo>
                    <a:pt x="4136851" y="0"/>
                  </a:moveTo>
                  <a:lnTo>
                    <a:pt x="4136851" y="203647"/>
                  </a:lnTo>
                  <a:lnTo>
                    <a:pt x="203647" y="4136851"/>
                  </a:lnTo>
                  <a:lnTo>
                    <a:pt x="0" y="4136851"/>
                  </a:lnTo>
                  <a:lnTo>
                    <a:pt x="4136851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54000">
                  <a:schemeClr val="accent4"/>
                </a:gs>
                <a:gs pos="100000">
                  <a:schemeClr val="accent3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FBFB20A8-0BB9-712D-99F2-9247B331466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88" y="216165"/>
            <a:ext cx="2012696" cy="340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401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3447">
          <p15:clr>
            <a:srgbClr val="FBAE40"/>
          </p15:clr>
        </p15:guide>
        <p15:guide id="5" pos="326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- Vollbild_hell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F08E0053-DE68-1847-9476-0A3A49ADDB24}"/>
              </a:ext>
            </a:extLst>
          </p:cNvPr>
          <p:cNvSpPr/>
          <p:nvPr userDrawn="1"/>
        </p:nvSpPr>
        <p:spPr>
          <a:xfrm flipH="1">
            <a:off x="0" y="-1"/>
            <a:ext cx="6912373" cy="6480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D9D83C7-3F40-CC4C-AFF0-304731484F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88" y="216165"/>
            <a:ext cx="2012696" cy="340845"/>
          </a:xfrm>
          <a:prstGeom prst="rect">
            <a:avLst/>
          </a:prstGeom>
        </p:spPr>
      </p:pic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D655DC5E-6F8F-2140-B927-22B0F29BE417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472113" y="1368000"/>
            <a:ext cx="4321175" cy="43200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4" r="14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4" y="863601"/>
            <a:ext cx="4608512" cy="32400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79" y="4248150"/>
            <a:ext cx="4608513" cy="1584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1249646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3447">
          <p15:clr>
            <a:srgbClr val="FBAE40"/>
          </p15:clr>
        </p15:guide>
        <p15:guide id="5" pos="326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- Vollbild_dunkel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4F5D5D0-A8D3-214C-9967-98D6D292B554}"/>
              </a:ext>
            </a:extLst>
          </p:cNvPr>
          <p:cNvSpPr/>
          <p:nvPr userDrawn="1"/>
        </p:nvSpPr>
        <p:spPr>
          <a:xfrm flipH="1">
            <a:off x="-2" y="0"/>
            <a:ext cx="6912373" cy="6480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0B187FF-E2B4-3B4D-91C5-EA23D26C60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88" y="216265"/>
            <a:ext cx="2012696" cy="340846"/>
          </a:xfrm>
          <a:prstGeom prst="rect">
            <a:avLst/>
          </a:prstGeom>
        </p:spPr>
      </p:pic>
      <p:sp>
        <p:nvSpPr>
          <p:cNvPr id="14" name="Bildplatzhalter 10">
            <a:extLst>
              <a:ext uri="{FF2B5EF4-FFF2-40B4-BE49-F238E27FC236}">
                <a16:creationId xmlns:a16="http://schemas.microsoft.com/office/drawing/2014/main" id="{A040E19D-042D-434E-A533-D80BCA4ED2C7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472113" y="1368000"/>
            <a:ext cx="4321175" cy="43200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4" r="14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4608513" cy="32400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2542039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3447">
          <p15:clr>
            <a:srgbClr val="FBAE40"/>
          </p15:clr>
        </p15:guide>
        <p15:guide id="5" pos="326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-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B753CE1A-7544-8DA6-B9F4-0B30F3C6D2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140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B753CE1A-7544-8DA6-B9F4-0B30F3C6D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12">
            <a:extLst>
              <a:ext uri="{FF2B5EF4-FFF2-40B4-BE49-F238E27FC236}">
                <a16:creationId xmlns:a16="http://schemas.microsoft.com/office/drawing/2014/main" id="{DC70CD32-6663-4C46-8AA9-5B309C083571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24638" y="0"/>
            <a:ext cx="4895850" cy="6480175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lIns="144000" tIns="144000" rIns="144000" bIns="144000" anchor="t"/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platzieren</a:t>
            </a:r>
            <a:r>
              <a:rPr lang="en-GB" dirty="0"/>
              <a:t>: </a:t>
            </a:r>
            <a:br>
              <a:rPr lang="en-GB" dirty="0"/>
            </a:br>
            <a:r>
              <a:rPr lang="en-GB" dirty="0"/>
              <a:t>Klick auf </a:t>
            </a:r>
            <a:r>
              <a:rPr lang="en-GB" dirty="0" err="1"/>
              <a:t>Fläche</a:t>
            </a:r>
            <a:r>
              <a:rPr lang="en-GB" dirty="0"/>
              <a:t> › Menü › </a:t>
            </a:r>
            <a:r>
              <a:rPr lang="en-GB" dirty="0" err="1"/>
              <a:t>Einfügen</a:t>
            </a:r>
            <a:r>
              <a:rPr lang="en-GB" dirty="0"/>
              <a:t> › Bild </a:t>
            </a:r>
            <a:r>
              <a:rPr lang="en-GB" dirty="0" err="1"/>
              <a:t>aus</a:t>
            </a:r>
            <a:r>
              <a:rPr lang="en-GB" dirty="0"/>
              <a:t> </a:t>
            </a:r>
            <a:r>
              <a:rPr lang="en-GB" dirty="0" err="1"/>
              <a:t>Datei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r>
              <a:rPr lang="en-GB" dirty="0"/>
              <a:t>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D9D83C7-3F40-CC4C-AFF0-304731484F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88" y="216165"/>
            <a:ext cx="2012696" cy="340845"/>
          </a:xfrm>
          <a:prstGeom prst="rect">
            <a:avLst/>
          </a:prstGeom>
        </p:spPr>
      </p:pic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E23B8033-D035-8E43-81EE-B85AB100FC9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472113" y="1368000"/>
            <a:ext cx="4321175" cy="4320000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4" r="14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A39915B-9ABF-B14B-9D97-74BA32E4A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4" y="863601"/>
            <a:ext cx="4608513" cy="3240088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de-DE" dirty="0"/>
              <a:t>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2215360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4173">
          <p15:clr>
            <a:srgbClr val="FBAE40"/>
          </p15:clr>
        </p15:guide>
        <p15:guide id="5" pos="3447">
          <p15:clr>
            <a:srgbClr val="FBAE40"/>
          </p15:clr>
        </p15:guide>
        <p15:guide id="6" pos="326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Produkt) - Freisteller/Illustration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598D3D67-B0EB-63DA-9261-7C39DA3CF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4169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598D3D67-B0EB-63DA-9261-7C39DA3CF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44B69967-2AFB-214B-B0A9-B5B5CBAC5AC0}"/>
              </a:ext>
            </a:extLst>
          </p:cNvPr>
          <p:cNvSpPr/>
          <p:nvPr userDrawn="1"/>
        </p:nvSpPr>
        <p:spPr>
          <a:xfrm>
            <a:off x="6912488" y="0"/>
            <a:ext cx="4608000" cy="6480175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tile tx="0" ty="0" sx="95000" sy="95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Bildplatzhalter 12">
            <a:extLst>
              <a:ext uri="{FF2B5EF4-FFF2-40B4-BE49-F238E27FC236}">
                <a16:creationId xmlns:a16="http://schemas.microsoft.com/office/drawing/2014/main" id="{DC70CD32-6663-4C46-8AA9-5B309C0835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72114" y="0"/>
            <a:ext cx="6048374" cy="6480000"/>
          </a:xfrm>
          <a:prstGeom prst="rect">
            <a:avLst/>
          </a:prstGeom>
          <a:noFill/>
        </p:spPr>
        <p:txBody>
          <a:bodyPr lIns="144000" tIns="144000" rIns="144000" bIns="144000" anchor="ctr" anchorCtr="0"/>
          <a:lstStyle>
            <a:lvl1pPr marL="0" indent="0" algn="r">
              <a:buNone/>
              <a:defRPr sz="14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Freisteller oder Illustration </a:t>
            </a:r>
            <a:r>
              <a:rPr lang="en-GB" dirty="0" err="1"/>
              <a:t>platzieren</a:t>
            </a:r>
            <a:r>
              <a:rPr lang="en-GB" dirty="0"/>
              <a:t>: </a:t>
            </a:r>
            <a:br>
              <a:rPr lang="en-GB" dirty="0"/>
            </a:br>
            <a:r>
              <a:rPr lang="en-GB" dirty="0"/>
              <a:t>Klick auf </a:t>
            </a:r>
            <a:r>
              <a:rPr lang="en-GB" dirty="0" err="1"/>
              <a:t>Fläche</a:t>
            </a:r>
            <a:r>
              <a:rPr lang="en-GB" dirty="0"/>
              <a:t> › Menü › </a:t>
            </a:r>
            <a:r>
              <a:rPr lang="en-GB" dirty="0" err="1"/>
              <a:t>Einfügen</a:t>
            </a:r>
            <a:r>
              <a:rPr lang="en-GB" dirty="0"/>
              <a:t> › Bild </a:t>
            </a:r>
            <a:r>
              <a:rPr lang="en-GB" dirty="0" err="1"/>
              <a:t>aus</a:t>
            </a:r>
            <a:r>
              <a:rPr lang="en-GB" dirty="0"/>
              <a:t> </a:t>
            </a:r>
            <a:r>
              <a:rPr lang="en-GB" dirty="0" err="1"/>
              <a:t>Datei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r>
              <a:rPr lang="en-GB" dirty="0"/>
              <a:t>  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37643A99-6F6A-B94D-AE78-64505AF5C5F5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76000" y="215899"/>
            <a:ext cx="2015999" cy="612635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>
              <a:buFontTx/>
              <a:buNone/>
              <a:defRPr sz="11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Produktlogo mit Klick auf Icon einfügen:</a:t>
            </a:r>
            <a:br>
              <a:rPr lang="en-GB" dirty="0"/>
            </a:br>
            <a:r>
              <a:rPr lang="en-GB" dirty="0"/>
              <a:t>empfohlene Breite: 600px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A39915B-9ABF-B14B-9D97-74BA32E4A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4" y="863601"/>
            <a:ext cx="4608513" cy="3240088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de-DE" dirty="0"/>
              <a:t>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2216597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4354">
          <p15:clr>
            <a:srgbClr val="FBAE40"/>
          </p15:clr>
        </p15:guide>
        <p15:guide id="5" pos="3447">
          <p15:clr>
            <a:srgbClr val="FBAE40"/>
          </p15:clr>
        </p15:guide>
        <p15:guide id="6" pos="326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SINA) - Freisteller/Illustration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4B69967-2AFB-214B-B0A9-B5B5CBAC5AC0}"/>
              </a:ext>
            </a:extLst>
          </p:cNvPr>
          <p:cNvSpPr/>
          <p:nvPr userDrawn="1"/>
        </p:nvSpPr>
        <p:spPr>
          <a:xfrm>
            <a:off x="6912488" y="0"/>
            <a:ext cx="4608000" cy="648017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tile tx="0" ty="0" sx="95000" sy="95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2">
            <a:extLst>
              <a:ext uri="{FF2B5EF4-FFF2-40B4-BE49-F238E27FC236}">
                <a16:creationId xmlns:a16="http://schemas.microsoft.com/office/drawing/2014/main" id="{6B155014-C70F-8C48-8016-9525078B04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72114" y="0"/>
            <a:ext cx="6048374" cy="6480000"/>
          </a:xfrm>
          <a:prstGeom prst="rect">
            <a:avLst/>
          </a:prstGeom>
          <a:noFill/>
        </p:spPr>
        <p:txBody>
          <a:bodyPr lIns="144000" tIns="144000" rIns="144000" bIns="144000" anchor="ctr" anchorCtr="0"/>
          <a:lstStyle>
            <a:lvl1pPr marL="0" indent="0" algn="r">
              <a:buNone/>
              <a:defRPr sz="14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Freisteller oder Illustration </a:t>
            </a:r>
            <a:r>
              <a:rPr lang="en-GB" dirty="0" err="1"/>
              <a:t>platzieren</a:t>
            </a:r>
            <a:r>
              <a:rPr lang="en-GB" dirty="0"/>
              <a:t>: </a:t>
            </a:r>
            <a:br>
              <a:rPr lang="en-GB" dirty="0"/>
            </a:br>
            <a:r>
              <a:rPr lang="en-GB" dirty="0"/>
              <a:t>Klick auf </a:t>
            </a:r>
            <a:r>
              <a:rPr lang="en-GB" dirty="0" err="1"/>
              <a:t>Fläche</a:t>
            </a:r>
            <a:r>
              <a:rPr lang="en-GB" dirty="0"/>
              <a:t> › Menü › </a:t>
            </a:r>
            <a:r>
              <a:rPr lang="en-GB" dirty="0" err="1"/>
              <a:t>Einfügen</a:t>
            </a:r>
            <a:r>
              <a:rPr lang="en-GB" dirty="0"/>
              <a:t> › Bild </a:t>
            </a:r>
            <a:r>
              <a:rPr lang="en-GB" dirty="0" err="1"/>
              <a:t>aus</a:t>
            </a:r>
            <a:r>
              <a:rPr lang="en-GB" dirty="0"/>
              <a:t> </a:t>
            </a:r>
            <a:r>
              <a:rPr lang="en-GB" dirty="0" err="1"/>
              <a:t>Datei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r>
              <a:rPr lang="en-GB" dirty="0"/>
              <a:t>  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A39915B-9ABF-B14B-9D97-74BA32E4A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4" y="863600"/>
            <a:ext cx="4608512" cy="324008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40F90E-47D7-7D44-9D8A-664B514A6F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000" y="612000"/>
            <a:ext cx="4600995" cy="251600"/>
          </a:xfrm>
          <a:prstGeom prst="rect">
            <a:avLst/>
          </a:prstGeom>
        </p:spPr>
        <p:txBody>
          <a:bodyPr lIns="0" tIns="36000" rIns="0" bIns="0"/>
          <a:lstStyle>
            <a:lvl1pPr marL="0" indent="0">
              <a:buFontTx/>
              <a:buNone/>
              <a:defRPr sz="1500" b="1">
                <a:solidFill>
                  <a:schemeClr val="accent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Produktbezeichnung einfügen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545" y="207218"/>
            <a:ext cx="1161176" cy="37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349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385">
          <p15:clr>
            <a:srgbClr val="FBAE40"/>
          </p15:clr>
        </p15:guide>
        <p15:guide id="4" pos="4354">
          <p15:clr>
            <a:srgbClr val="FBAE40"/>
          </p15:clr>
        </p15:guide>
        <p15:guide id="5" pos="3447">
          <p15:clr>
            <a:srgbClr val="FBAE40"/>
          </p15:clr>
        </p15:guide>
        <p15:guide id="6" pos="3266">
          <p15:clr>
            <a:srgbClr val="FBAE40"/>
          </p15:clr>
        </p15:guide>
        <p15:guide id="7" orient="horz" pos="5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-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6A0F3F-AFC8-BCD1-029F-3220CC1DE9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3878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6A0F3F-AFC8-BCD1-029F-3220CC1DE9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25313FBF-CF62-B749-A8C2-BD7E6D715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1511299"/>
            <a:ext cx="6335712" cy="2592389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Zwischentitel einfüg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976AB954-C5AB-A345-8658-300F8AA0A2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79" y="4248150"/>
            <a:ext cx="6335712" cy="1584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A1D788-2454-1B4B-8E7C-E1D672A2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215900"/>
            <a:ext cx="1727736" cy="100796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80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B774478-5A05-B04C-8454-AEA104156899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latin typeface="+mj-lt"/>
              </a:rPr>
              <a:pPr/>
              <a:t>‹Nr.›</a:t>
            </a:fld>
            <a:endParaRPr lang="de-DE" sz="800">
              <a:latin typeface="+mj-lt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32895153-32DB-6743-A243-69ED0DCFBCC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401" cy="86266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AF1E12B7-3130-7F4C-B2EB-421040A86D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40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/>
            </a:lvl1pPr>
          </a:lstStyle>
          <a:p>
            <a:fld id="{A8EA7A4A-2687-471B-A372-AF2FC3691DCE}" type="datetime1">
              <a:rPr lang="de-DE" smtClean="0"/>
              <a:t>17.04.2026</a:t>
            </a:fld>
            <a:endParaRPr lang="de-DE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3C4E3138-5FA4-CF41-90A6-EA5CA95C7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40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Axiforma for Sec"/>
              <a:buChar char="|"/>
              <a:defRPr sz="800"/>
            </a:lvl1pPr>
          </a:lstStyle>
          <a:p>
            <a:r>
              <a:rPr lang="de-DE"/>
              <a:t>Cybersecurity Summit Hamburg | NIS-2 und die sichere Lieferkette</a:t>
            </a:r>
          </a:p>
        </p:txBody>
      </p:sp>
    </p:spTree>
    <p:extLst>
      <p:ext uri="{BB962C8B-B14F-4D97-AF65-F5344CB8AC3E}">
        <p14:creationId xmlns:p14="http://schemas.microsoft.com/office/powerpoint/2010/main" val="1016080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- ro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1D30612-DD35-6E07-19E0-138507AB9A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6536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1D30612-DD35-6E07-19E0-138507AB9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25313FBF-CF62-B749-A8C2-BD7E6D715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1511069"/>
            <a:ext cx="6335712" cy="2592619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 einfüg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976AB954-C5AB-A345-8658-300F8AA0A2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79" y="4248150"/>
            <a:ext cx="6335712" cy="1584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A1D788-2454-1B4B-8E7C-E1D672A2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4" y="215900"/>
            <a:ext cx="1727736" cy="100796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80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1DF386BB-3EC0-9D4E-AA6C-6CCB738B0AD5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solidFill>
                  <a:schemeClr val="bg1"/>
                </a:solidFill>
                <a:latin typeface="+mj-lt"/>
              </a:rPr>
              <a:pPr/>
              <a:t>‹Nr.›</a:t>
            </a:fld>
            <a:endParaRPr lang="de-DE" sz="8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3FF54CA-E7C4-DA41-8767-2F0B1D81C58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395" cy="86265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606F856C-3486-E74C-929E-DB65AFD712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24922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217A0D00-9593-4A00-A904-87C58FE9A4CD}" type="datetime1">
              <a:rPr lang="de-DE" smtClean="0"/>
              <a:t>17.04.2026</a:t>
            </a:fld>
            <a:endParaRPr lang="de-DE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1782EF21-84B8-AA4A-A194-1BDA04D1DF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122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Axiforma for Sec"/>
              <a:buChar char="|"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Cybersecurity Summit Hamburg | NIS-2 und die sichere Lieferkette</a:t>
            </a:r>
          </a:p>
        </p:txBody>
      </p:sp>
    </p:spTree>
    <p:extLst>
      <p:ext uri="{BB962C8B-B14F-4D97-AF65-F5344CB8AC3E}">
        <p14:creationId xmlns:p14="http://schemas.microsoft.com/office/powerpoint/2010/main" val="2651440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spaltig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09F95BC-579B-3766-704E-A33CA523BC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210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09F95BC-579B-3766-704E-A33CA523B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06CB0EEE-EF53-D5F2-D2A6-21703B343E4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76259" y="1511300"/>
            <a:ext cx="10367964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62F7305-FEB3-1061-0BBB-05716E5BF54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25EDA77A-D3AA-4BE9-BA85-C4E5A79ED1C3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06DD57-0F8D-69B6-3C92-80FB94349F7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4AB7625-9E4B-EDEA-95F9-47E130DB8D6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5FF57EF-B1DE-2124-054B-E8E8CA97C7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29153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93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554B5A13-F0EA-48A6-B41E-7FF664CA86BC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60" y="1511300"/>
            <a:ext cx="4895853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048377" y="1511300"/>
            <a:ext cx="4895853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311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ig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595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0138ED6B-B67D-4A11-83FD-B37D159CFCAD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59" y="1511300"/>
            <a:ext cx="3167988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176247" y="1511300"/>
            <a:ext cx="3167988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2">
            <a:extLst>
              <a:ext uri="{FF2B5EF4-FFF2-40B4-BE49-F238E27FC236}">
                <a16:creationId xmlns:a16="http://schemas.microsoft.com/office/drawing/2014/main" id="{CBBAC2ED-C3C6-7F8D-CF8B-8CCAF0F946A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7776235" y="1511300"/>
            <a:ext cx="3167988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543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- 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A7AE45-3CA1-7F36-AF32-049E7B942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90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7AE45-3CA1-7F36-AF32-049E7B942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4608513" cy="3240088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70EE860-DA7D-E738-913C-8A3C21CCAD7E}"/>
              </a:ext>
            </a:extLst>
          </p:cNvPr>
          <p:cNvSpPr/>
          <p:nvPr userDrawn="1"/>
        </p:nvSpPr>
        <p:spPr>
          <a:xfrm rot="2700000" flipH="1">
            <a:off x="8881200" y="3463200"/>
            <a:ext cx="25200" cy="19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A7FE45-CA27-E5E8-9EB4-76A8666AE857}"/>
              </a:ext>
            </a:extLst>
          </p:cNvPr>
          <p:cNvSpPr/>
          <p:nvPr userDrawn="1"/>
        </p:nvSpPr>
        <p:spPr>
          <a:xfrm rot="2700000" flipH="1">
            <a:off x="10597189" y="3524656"/>
            <a:ext cx="25200" cy="18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AB2036A-2B7E-AF33-8C0A-FAE4DADEC408}"/>
              </a:ext>
            </a:extLst>
          </p:cNvPr>
          <p:cNvSpPr/>
          <p:nvPr userDrawn="1"/>
        </p:nvSpPr>
        <p:spPr>
          <a:xfrm rot="2700000" flipH="1">
            <a:off x="10623600" y="95400"/>
            <a:ext cx="25200" cy="19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4D5283-1FB7-5664-8822-8F376D9CB330}"/>
              </a:ext>
            </a:extLst>
          </p:cNvPr>
          <p:cNvSpPr/>
          <p:nvPr userDrawn="1"/>
        </p:nvSpPr>
        <p:spPr>
          <a:xfrm rot="18900000" flipH="1">
            <a:off x="10587600" y="1844414"/>
            <a:ext cx="25200" cy="1872000"/>
          </a:xfrm>
          <a:prstGeom prst="rect">
            <a:avLst/>
          </a:prstGeom>
          <a:gradFill>
            <a:gsLst>
              <a:gs pos="50000">
                <a:schemeClr val="accent4"/>
              </a:gs>
              <a:gs pos="1000">
                <a:schemeClr val="accent3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B6AADA2-B0B7-F134-8AC9-9D8B83F8FBF1}"/>
              </a:ext>
            </a:extLst>
          </p:cNvPr>
          <p:cNvSpPr/>
          <p:nvPr userDrawn="1"/>
        </p:nvSpPr>
        <p:spPr>
          <a:xfrm rot="18900000" flipH="1">
            <a:off x="5223600" y="1813686"/>
            <a:ext cx="25200" cy="190800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34079A5-3819-693B-CC9B-EBF2C2187043}"/>
              </a:ext>
            </a:extLst>
          </p:cNvPr>
          <p:cNvSpPr/>
          <p:nvPr userDrawn="1"/>
        </p:nvSpPr>
        <p:spPr>
          <a:xfrm rot="2700000" flipH="1">
            <a:off x="8864885" y="95400"/>
            <a:ext cx="25200" cy="19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95E94D0-9EDD-15D2-BD97-E6BA509D3A66}"/>
              </a:ext>
            </a:extLst>
          </p:cNvPr>
          <p:cNvSpPr/>
          <p:nvPr userDrawn="1"/>
        </p:nvSpPr>
        <p:spPr>
          <a:xfrm rot="18900000" flipH="1">
            <a:off x="8942400" y="1844416"/>
            <a:ext cx="25200" cy="1872000"/>
          </a:xfrm>
          <a:prstGeom prst="rect">
            <a:avLst/>
          </a:prstGeom>
          <a:gradFill>
            <a:gsLst>
              <a:gs pos="50000">
                <a:schemeClr val="accent4"/>
              </a:gs>
              <a:gs pos="1000">
                <a:schemeClr val="accent3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E733F7F-EF87-CDE9-70C3-471FD1CAC17E}"/>
              </a:ext>
            </a:extLst>
          </p:cNvPr>
          <p:cNvSpPr/>
          <p:nvPr userDrawn="1"/>
        </p:nvSpPr>
        <p:spPr>
          <a:xfrm rot="18900000" flipH="1">
            <a:off x="7200000" y="1843697"/>
            <a:ext cx="25200" cy="1872000"/>
          </a:xfrm>
          <a:prstGeom prst="rect">
            <a:avLst/>
          </a:prstGeom>
          <a:gradFill>
            <a:gsLst>
              <a:gs pos="50000">
                <a:schemeClr val="accent4"/>
              </a:gs>
              <a:gs pos="1000">
                <a:schemeClr val="accent3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CD34C30-3A30-686C-692B-B4B01BEAD82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88" y="216265"/>
            <a:ext cx="2012696" cy="34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603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3447">
          <p15:clr>
            <a:srgbClr val="FBAE40"/>
          </p15:clr>
        </p15:guide>
        <p15:guide id="5" pos="326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 + 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93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A271925C-7D28-4388-9EB0-F6CAFE34E09A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60" y="1511300"/>
            <a:ext cx="4895853" cy="43211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Wingdings" panose="05000000000000000000" pitchFamily="2" charset="2"/>
              <a:buChar char="n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048377" y="1511300"/>
            <a:ext cx="4895853" cy="43211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Wingdings" panose="05000000000000000000" pitchFamily="2" charset="2"/>
              <a:buChar char="n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535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 +Bild + 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93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70DDFF46-A174-4F47-8A89-61CADF5B6C65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59" y="3640681"/>
            <a:ext cx="4895853" cy="219179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Wingdings" panose="05000000000000000000" pitchFamily="2" charset="2"/>
              <a:buChar char="n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048377" y="3640680"/>
            <a:ext cx="4895853" cy="219179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Wingdings" panose="05000000000000000000" pitchFamily="2" charset="2"/>
              <a:buChar char="n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Bildplatzhalter 5">
            <a:extLst>
              <a:ext uri="{FF2B5EF4-FFF2-40B4-BE49-F238E27FC236}">
                <a16:creationId xmlns:a16="http://schemas.microsoft.com/office/drawing/2014/main" id="{77762CB1-9BF3-699A-BE6B-2094581974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259" y="1511300"/>
            <a:ext cx="4895853" cy="169738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Freisteller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Klick auf Symbol </a:t>
            </a:r>
            <a:r>
              <a:rPr lang="en-GB" dirty="0" err="1"/>
              <a:t>hinzufügen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 dirty="0"/>
          </a:p>
        </p:txBody>
      </p:sp>
      <p:sp>
        <p:nvSpPr>
          <p:cNvPr id="3" name="Bildplatzhalter 5">
            <a:extLst>
              <a:ext uri="{FF2B5EF4-FFF2-40B4-BE49-F238E27FC236}">
                <a16:creationId xmlns:a16="http://schemas.microsoft.com/office/drawing/2014/main" id="{900CA739-3A5F-2261-5DF8-FDA5EA00163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48377" y="1511300"/>
            <a:ext cx="4895853" cy="169738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Freisteller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Klick auf Symbol </a:t>
            </a:r>
            <a:r>
              <a:rPr lang="en-GB" dirty="0" err="1"/>
              <a:t>hinzufügen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5661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ig + 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595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69BF544F-1297-45CF-935C-A555C7954CC4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59" y="1511300"/>
            <a:ext cx="3167988" cy="43211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Wingdings" panose="05000000000000000000" pitchFamily="2" charset="2"/>
              <a:buChar char="n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176247" y="1511300"/>
            <a:ext cx="3167988" cy="43211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Wingdings" panose="05000000000000000000" pitchFamily="2" charset="2"/>
              <a:buChar char="n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2">
            <a:extLst>
              <a:ext uri="{FF2B5EF4-FFF2-40B4-BE49-F238E27FC236}">
                <a16:creationId xmlns:a16="http://schemas.microsoft.com/office/drawing/2014/main" id="{CBBAC2ED-C3C6-7F8D-CF8B-8CCAF0F946A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7776235" y="1511300"/>
            <a:ext cx="3167988" cy="43211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Wingdings" panose="05000000000000000000" pitchFamily="2" charset="2"/>
              <a:buChar char="n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6562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ig + Bild + 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8C80BC3-CCE9-97FB-89F9-C88212C54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595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8C80BC3-CCE9-97FB-89F9-C88212C54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D3CF935A-D8E5-0947-7A0D-6434639F12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8785564E-41E9-4351-BDAA-1E7B5B6AB5FD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A293B3F2-1065-F321-B1DF-B27EF46780B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8E3E23C-91BF-E5F8-C162-E114069EF98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7C8216E-369D-9E99-8198-43E69B9739A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59" y="3640681"/>
            <a:ext cx="3167988" cy="219179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Wingdings" panose="05000000000000000000" pitchFamily="2" charset="2"/>
              <a:buChar char="n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22">
            <a:extLst>
              <a:ext uri="{FF2B5EF4-FFF2-40B4-BE49-F238E27FC236}">
                <a16:creationId xmlns:a16="http://schemas.microsoft.com/office/drawing/2014/main" id="{FA1CE1A1-58D0-B2AD-AA7D-B41DDEBA48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176247" y="3640679"/>
            <a:ext cx="3167988" cy="2191796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Wingdings" panose="05000000000000000000" pitchFamily="2" charset="2"/>
              <a:buChar char="n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Titel 24">
            <a:extLst>
              <a:ext uri="{FF2B5EF4-FFF2-40B4-BE49-F238E27FC236}">
                <a16:creationId xmlns:a16="http://schemas.microsoft.com/office/drawing/2014/main" id="{6F8CCD72-62F5-AC94-CB79-CFD9854E6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2">
            <a:extLst>
              <a:ext uri="{FF2B5EF4-FFF2-40B4-BE49-F238E27FC236}">
                <a16:creationId xmlns:a16="http://schemas.microsoft.com/office/drawing/2014/main" id="{CBBAC2ED-C3C6-7F8D-CF8B-8CCAF0F946A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7776235" y="3640679"/>
            <a:ext cx="3167988" cy="2191796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216000" indent="-216000">
              <a:buFont typeface="Wingdings" panose="05000000000000000000" pitchFamily="2" charset="2"/>
              <a:buChar char="n"/>
              <a:defRPr sz="1400"/>
            </a:lvl3pPr>
            <a:lvl4pPr marL="360000">
              <a:defRPr/>
            </a:lvl4pPr>
            <a:lvl5pPr marL="504000">
              <a:defRPr/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Bildplatzhalter 5">
            <a:extLst>
              <a:ext uri="{FF2B5EF4-FFF2-40B4-BE49-F238E27FC236}">
                <a16:creationId xmlns:a16="http://schemas.microsoft.com/office/drawing/2014/main" id="{6979AC1C-41DF-F23B-00AF-631E4368D23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259" y="1511300"/>
            <a:ext cx="3167988" cy="169738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Freisteller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Klick auf Symbol </a:t>
            </a:r>
            <a:r>
              <a:rPr lang="en-GB" dirty="0" err="1"/>
              <a:t>hinzufügen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0048F359-CBD0-92FF-4BEE-3E8EB2622E4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176250" y="1511300"/>
            <a:ext cx="3167988" cy="169738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Freisteller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Klick auf Symbol </a:t>
            </a:r>
            <a:r>
              <a:rPr lang="en-GB" dirty="0" err="1"/>
              <a:t>hinzufügen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 dirty="0"/>
          </a:p>
        </p:txBody>
      </p:sp>
      <p:sp>
        <p:nvSpPr>
          <p:cNvPr id="5" name="Bildplatzhalter 5">
            <a:extLst>
              <a:ext uri="{FF2B5EF4-FFF2-40B4-BE49-F238E27FC236}">
                <a16:creationId xmlns:a16="http://schemas.microsoft.com/office/drawing/2014/main" id="{3ED819FE-7507-42A5-9CB0-FB8A34517C6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776235" y="1511300"/>
            <a:ext cx="3167988" cy="169738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Freisteller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Klick auf Symbol </a:t>
            </a:r>
            <a:r>
              <a:rPr lang="en-GB" dirty="0" err="1"/>
              <a:t>hinzufügen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5980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pos="381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rechts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9001EA6-0459-2C80-0233-C5BE46F60B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641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9001EA6-0459-2C80-0233-C5BE46F60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840A6CDB-73F1-AE46-8F25-69C4FD54A2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35713" y="1511300"/>
            <a:ext cx="4608000" cy="432117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C77AC45-58D7-D0EF-45BD-15369E64A9E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6260" y="1511300"/>
            <a:ext cx="5183984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4638EED5-5436-558F-B371-5F923FC34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6D4E831-3BCF-C5FF-C9A4-C89E7EA5962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A7EBA755-614E-48CB-B406-2CBD887E7448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8BDCD7B-AA70-3441-748D-62FA93EA38B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D26621-6BE2-B1F3-B549-D6A69043755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2101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FBAE40"/>
          </p15:clr>
        </p15:guide>
        <p15:guide id="2" pos="399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rechts Textgröße1 + Schraff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9001EA6-0459-2C80-0233-C5BE46F60B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3195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9001EA6-0459-2C80-0233-C5BE46F60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9CF0C5B-E284-FC9F-9D21-1D5A5871C498}"/>
              </a:ext>
            </a:extLst>
          </p:cNvPr>
          <p:cNvSpPr/>
          <p:nvPr userDrawn="1"/>
        </p:nvSpPr>
        <p:spPr>
          <a:xfrm>
            <a:off x="6912488" y="0"/>
            <a:ext cx="4608000" cy="6480175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tile tx="0" ty="0" sx="95000" sy="95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840A6CDB-73F1-AE46-8F25-69C4FD54A2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35713" y="1511300"/>
            <a:ext cx="4608000" cy="432117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C77AC45-58D7-D0EF-45BD-15369E64A9E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6260" y="1511300"/>
            <a:ext cx="5183984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4638EED5-5436-558F-B371-5F923FC34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6D4E831-3BCF-C5FF-C9A4-C89E7EA5962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0132C42F-C881-4586-A5E8-2985B7EE320B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8BDCD7B-AA70-3441-748D-62FA93EA38B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D26621-6BE2-B1F3-B549-D6A69043755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8536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FBAE40"/>
          </p15:clr>
        </p15:guide>
        <p15:guide id="2" pos="399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links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746D094-FE45-17D9-1135-F9324B0A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60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746D094-FE45-17D9-1135-F9324B0A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20411B32-35D4-5C4A-A2FA-2BD4B9116AC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263" y="1511300"/>
            <a:ext cx="4608000" cy="432117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19" name="Inhaltsplatzhalter 22">
            <a:extLst>
              <a:ext uri="{FF2B5EF4-FFF2-40B4-BE49-F238E27FC236}">
                <a16:creationId xmlns:a16="http://schemas.microsoft.com/office/drawing/2014/main" id="{207F72F3-42B9-4D50-B3BC-370BA175770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0244" y="1511300"/>
            <a:ext cx="5183981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F0EB50B1-270C-BD8B-2CAB-529FB9E22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48AD10B-AC34-DD55-ADB6-32479B0EABD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272DA7EB-28F5-4E60-B10D-C83F98090378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4E06A4-717D-8EE3-2648-7569B9EE436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ED0964-74FB-3C29-2E4E-E7AB675EDA5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8100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FBAE40"/>
          </p15:clr>
        </p15:guide>
        <p15:guide id="2" pos="326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links Textgröße1 mit Schraff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746D094-FE45-17D9-1135-F9324B0A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60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746D094-FE45-17D9-1135-F9324B0A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20411B32-35D4-5C4A-A2FA-2BD4B9116AC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263" y="1511300"/>
            <a:ext cx="4608000" cy="432117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19" name="Inhaltsplatzhalter 22">
            <a:extLst>
              <a:ext uri="{FF2B5EF4-FFF2-40B4-BE49-F238E27FC236}">
                <a16:creationId xmlns:a16="http://schemas.microsoft.com/office/drawing/2014/main" id="{207F72F3-42B9-4D50-B3BC-370BA175770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0244" y="1511300"/>
            <a:ext cx="5183981" cy="4321175"/>
          </a:xfrm>
          <a:blipFill dpi="0" rotWithShape="1"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tile tx="0" ty="0" sx="95000" sy="95000" flip="none" algn="tl"/>
          </a:blipFill>
        </p:spPr>
        <p:txBody>
          <a:bodyPr lIns="144000" tIns="144000" rIns="144000" bIns="144000"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F0EB50B1-270C-BD8B-2CAB-529FB9E22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48AD10B-AC34-DD55-ADB6-32479B0EABD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9DA3399D-FE89-40BA-BD8F-AB994090808B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4E06A4-717D-8EE3-2648-7569B9EE436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ED0964-74FB-3C29-2E4E-E7AB675EDA5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4043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FBAE40"/>
          </p15:clr>
        </p15:guide>
        <p15:guide id="2" pos="326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96175B4-C6D6-A81D-C56C-388F00336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71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96175B4-C6D6-A81D-C56C-388F00336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A0858B-A364-8058-41F3-99A17E0749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D41857E-6A71-4E5D-9496-1B90CF98294C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281CD-5BC2-C04D-9E6F-3804259C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8C599D-3C25-2A55-24A4-5B2086204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E244EC8-4BCF-FF61-0AA0-6F5EE2E75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269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bseitiges Bild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0AD62C3-A5E1-E769-3861-E112D8BE95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301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0AD62C3-A5E1-E769-3861-E112D8BE9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12">
            <a:extLst>
              <a:ext uri="{FF2B5EF4-FFF2-40B4-BE49-F238E27FC236}">
                <a16:creationId xmlns:a16="http://schemas.microsoft.com/office/drawing/2014/main" id="{17C70E24-E2A5-F74C-B609-EA587D84AFC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337298" y="0"/>
            <a:ext cx="5183190" cy="6480175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lIns="144000" tIns="144000" rIns="144000" bIns="144000" anchor="t"/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Bild </a:t>
            </a:r>
            <a:r>
              <a:rPr lang="en-GB" dirty="0" err="1"/>
              <a:t>platzieren</a:t>
            </a:r>
            <a:r>
              <a:rPr lang="en-GB" dirty="0"/>
              <a:t>: </a:t>
            </a:r>
            <a:br>
              <a:rPr lang="en-GB" dirty="0"/>
            </a:br>
            <a:r>
              <a:rPr lang="en-GB" dirty="0"/>
              <a:t>Klick auf </a:t>
            </a:r>
            <a:r>
              <a:rPr lang="en-GB" dirty="0" err="1"/>
              <a:t>Fläche</a:t>
            </a:r>
            <a:r>
              <a:rPr lang="en-GB" dirty="0"/>
              <a:t> › Menü › </a:t>
            </a:r>
            <a:r>
              <a:rPr lang="en-GB" dirty="0" err="1"/>
              <a:t>Einfügen</a:t>
            </a:r>
            <a:r>
              <a:rPr lang="en-GB" dirty="0"/>
              <a:t> › Bild </a:t>
            </a:r>
            <a:r>
              <a:rPr lang="en-GB" dirty="0" err="1"/>
              <a:t>aus</a:t>
            </a:r>
            <a:r>
              <a:rPr lang="en-GB" dirty="0"/>
              <a:t> </a:t>
            </a:r>
            <a:r>
              <a:rPr lang="en-GB" dirty="0" err="1"/>
              <a:t>Datei</a:t>
            </a:r>
            <a:br>
              <a:rPr lang="en-GB" dirty="0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r>
              <a:rPr lang="en-GB" dirty="0"/>
              <a:t>  </a:t>
            </a:r>
          </a:p>
        </p:txBody>
      </p:sp>
      <p:sp>
        <p:nvSpPr>
          <p:cNvPr id="14" name="Inhaltsplatzhalter 22">
            <a:extLst>
              <a:ext uri="{FF2B5EF4-FFF2-40B4-BE49-F238E27FC236}">
                <a16:creationId xmlns:a16="http://schemas.microsoft.com/office/drawing/2014/main" id="{07F97559-5E31-2368-D919-53D6CBBA2C7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76260" y="1511300"/>
            <a:ext cx="5183190" cy="4321175"/>
          </a:xfrm>
        </p:spPr>
        <p:txBody>
          <a:bodyPr/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9E09D5EF-078D-0A9B-FCC8-DBF093BBA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5183190" cy="1008064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7B7514A-5E76-1226-0828-B71C44A27CE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8B221990-C240-46F5-8314-901B87AA3D07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59D2B09-34C0-F110-3CF5-999A714061D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3061D5A-8D57-103D-1F4A-F0585E3DAD7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3429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FBAE40"/>
          </p15:clr>
        </p15:guide>
        <p15:guide id="2" pos="399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- 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A7AE45-3CA1-7F36-AF32-049E7B942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90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7AE45-3CA1-7F36-AF32-049E7B942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4608513" cy="3240088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A4A558F-5D0F-7782-1FA3-24EE18DEA735}"/>
              </a:ext>
            </a:extLst>
          </p:cNvPr>
          <p:cNvSpPr/>
          <p:nvPr userDrawn="1"/>
        </p:nvSpPr>
        <p:spPr>
          <a:xfrm rot="2700000" flipH="1">
            <a:off x="7799748" y="1489790"/>
            <a:ext cx="25200" cy="234000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5DECFE8-F10B-F6EE-2D94-D496A23428EF}"/>
              </a:ext>
            </a:extLst>
          </p:cNvPr>
          <p:cNvSpPr/>
          <p:nvPr userDrawn="1"/>
        </p:nvSpPr>
        <p:spPr>
          <a:xfrm rot="2700000" flipH="1">
            <a:off x="7713773" y="1624051"/>
            <a:ext cx="25200" cy="4212000"/>
          </a:xfrm>
          <a:prstGeom prst="rect">
            <a:avLst/>
          </a:prstGeom>
          <a:gradFill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9C3E2979-47A3-7216-B97A-231A0F849011}"/>
              </a:ext>
            </a:extLst>
          </p:cNvPr>
          <p:cNvSpPr/>
          <p:nvPr userDrawn="1"/>
        </p:nvSpPr>
        <p:spPr>
          <a:xfrm rot="2700000" flipH="1">
            <a:off x="8192616" y="3619677"/>
            <a:ext cx="25200" cy="1440000"/>
          </a:xfrm>
          <a:prstGeom prst="rect">
            <a:avLst/>
          </a:prstGeom>
          <a:gradFill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26" name="Freihandform 25">
            <a:extLst>
              <a:ext uri="{FF2B5EF4-FFF2-40B4-BE49-F238E27FC236}">
                <a16:creationId xmlns:a16="http://schemas.microsoft.com/office/drawing/2014/main" id="{BA6721B4-DAF8-33A7-18B4-F4B14D819971}"/>
              </a:ext>
            </a:extLst>
          </p:cNvPr>
          <p:cNvSpPr/>
          <p:nvPr userDrawn="1"/>
        </p:nvSpPr>
        <p:spPr>
          <a:xfrm>
            <a:off x="10322039" y="3085200"/>
            <a:ext cx="1198449" cy="1216268"/>
          </a:xfrm>
          <a:custGeom>
            <a:avLst/>
            <a:gdLst>
              <a:gd name="connsiteX0" fmla="*/ 1198449 w 1198449"/>
              <a:gd name="connsiteY0" fmla="*/ 0 h 1216268"/>
              <a:gd name="connsiteX1" fmla="*/ 1198449 w 1198449"/>
              <a:gd name="connsiteY1" fmla="*/ 35639 h 1216268"/>
              <a:gd name="connsiteX2" fmla="*/ 17819 w 1198449"/>
              <a:gd name="connsiteY2" fmla="*/ 1216268 h 1216268"/>
              <a:gd name="connsiteX3" fmla="*/ 0 w 1198449"/>
              <a:gd name="connsiteY3" fmla="*/ 1198449 h 1216268"/>
              <a:gd name="connsiteX4" fmla="*/ 1198449 w 1198449"/>
              <a:gd name="connsiteY4" fmla="*/ 0 h 1216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9" h="1216268">
                <a:moveTo>
                  <a:pt x="1198449" y="0"/>
                </a:moveTo>
                <a:lnTo>
                  <a:pt x="1198449" y="35639"/>
                </a:lnTo>
                <a:lnTo>
                  <a:pt x="17819" y="1216268"/>
                </a:lnTo>
                <a:lnTo>
                  <a:pt x="0" y="1198449"/>
                </a:lnTo>
                <a:lnTo>
                  <a:pt x="1198449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5" name="Freihandform 4">
            <a:extLst>
              <a:ext uri="{FF2B5EF4-FFF2-40B4-BE49-F238E27FC236}">
                <a16:creationId xmlns:a16="http://schemas.microsoft.com/office/drawing/2014/main" id="{B71AAAF5-CF85-8C83-7FE7-69366A4E30A3}"/>
              </a:ext>
            </a:extLst>
          </p:cNvPr>
          <p:cNvSpPr/>
          <p:nvPr userDrawn="1"/>
        </p:nvSpPr>
        <p:spPr>
          <a:xfrm rot="16200000">
            <a:off x="9585577" y="-8909"/>
            <a:ext cx="900104" cy="917923"/>
          </a:xfrm>
          <a:custGeom>
            <a:avLst/>
            <a:gdLst>
              <a:gd name="connsiteX0" fmla="*/ 900104 w 900104"/>
              <a:gd name="connsiteY0" fmla="*/ 882285 h 917923"/>
              <a:gd name="connsiteX1" fmla="*/ 900104 w 900104"/>
              <a:gd name="connsiteY1" fmla="*/ 917923 h 917923"/>
              <a:gd name="connsiteX2" fmla="*/ 0 w 900104"/>
              <a:gd name="connsiteY2" fmla="*/ 17819 h 917923"/>
              <a:gd name="connsiteX3" fmla="*/ 17819 w 900104"/>
              <a:gd name="connsiteY3" fmla="*/ 0 h 917923"/>
              <a:gd name="connsiteX4" fmla="*/ 900104 w 900104"/>
              <a:gd name="connsiteY4" fmla="*/ 882285 h 917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0104" h="917923">
                <a:moveTo>
                  <a:pt x="900104" y="882285"/>
                </a:moveTo>
                <a:lnTo>
                  <a:pt x="900104" y="917923"/>
                </a:lnTo>
                <a:lnTo>
                  <a:pt x="0" y="17819"/>
                </a:lnTo>
                <a:lnTo>
                  <a:pt x="17819" y="0"/>
                </a:lnTo>
                <a:lnTo>
                  <a:pt x="900104" y="88228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7AAAF1E-0D20-42AC-BA5E-93817379D5DC}"/>
              </a:ext>
            </a:extLst>
          </p:cNvPr>
          <p:cNvSpPr/>
          <p:nvPr userDrawn="1"/>
        </p:nvSpPr>
        <p:spPr>
          <a:xfrm rot="2700000" flipH="1">
            <a:off x="8134590" y="207044"/>
            <a:ext cx="25200" cy="22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498ECE7C-D129-35B5-F2D3-1FED70FCCD15}"/>
              </a:ext>
            </a:extLst>
          </p:cNvPr>
          <p:cNvSpPr/>
          <p:nvPr userDrawn="1"/>
        </p:nvSpPr>
        <p:spPr>
          <a:xfrm rot="2700000" flipH="1">
            <a:off x="9604771" y="1929074"/>
            <a:ext cx="25200" cy="3960000"/>
          </a:xfrm>
          <a:prstGeom prst="rect">
            <a:avLst/>
          </a:prstGeom>
          <a:gradFill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3" name="Freihandform 32">
            <a:extLst>
              <a:ext uri="{FF2B5EF4-FFF2-40B4-BE49-F238E27FC236}">
                <a16:creationId xmlns:a16="http://schemas.microsoft.com/office/drawing/2014/main" id="{9997159B-E8D5-6868-F2F4-27CE951AC4CE}"/>
              </a:ext>
            </a:extLst>
          </p:cNvPr>
          <p:cNvSpPr/>
          <p:nvPr userDrawn="1"/>
        </p:nvSpPr>
        <p:spPr>
          <a:xfrm>
            <a:off x="9714710" y="-1"/>
            <a:ext cx="1761027" cy="1743208"/>
          </a:xfrm>
          <a:custGeom>
            <a:avLst/>
            <a:gdLst>
              <a:gd name="connsiteX0" fmla="*/ 1725389 w 1761027"/>
              <a:gd name="connsiteY0" fmla="*/ 0 h 1743208"/>
              <a:gd name="connsiteX1" fmla="*/ 1761027 w 1761027"/>
              <a:gd name="connsiteY1" fmla="*/ 0 h 1743208"/>
              <a:gd name="connsiteX2" fmla="*/ 17818 w 1761027"/>
              <a:gd name="connsiteY2" fmla="*/ 1743208 h 1743208"/>
              <a:gd name="connsiteX3" fmla="*/ 0 w 1761027"/>
              <a:gd name="connsiteY3" fmla="*/ 1725389 h 1743208"/>
              <a:gd name="connsiteX4" fmla="*/ 1725389 w 1761027"/>
              <a:gd name="connsiteY4" fmla="*/ 0 h 1743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1027" h="1743208">
                <a:moveTo>
                  <a:pt x="1725389" y="0"/>
                </a:moveTo>
                <a:lnTo>
                  <a:pt x="1761027" y="0"/>
                </a:lnTo>
                <a:lnTo>
                  <a:pt x="17818" y="1743208"/>
                </a:lnTo>
                <a:lnTo>
                  <a:pt x="0" y="1725389"/>
                </a:lnTo>
                <a:lnTo>
                  <a:pt x="1725389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60042EE-D7CD-EEF2-D605-5C6F259E79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88" y="216265"/>
            <a:ext cx="2012696" cy="34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547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3447">
          <p15:clr>
            <a:srgbClr val="FBAE40"/>
          </p15:clr>
        </p15:guide>
        <p15:guide id="5" pos="3266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_auf Bild hell Textgröße1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1920B58-527A-0EFB-8DE5-0D25B6EAF5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379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1920B58-527A-0EFB-8DE5-0D25B6EAF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10C3D04E-43ED-FC4B-B262-549C30DE4310}"/>
              </a:ext>
            </a:extLst>
          </p:cNvPr>
          <p:cNvSpPr/>
          <p:nvPr userDrawn="1"/>
        </p:nvSpPr>
        <p:spPr>
          <a:xfrm flipH="1">
            <a:off x="-198" y="12182"/>
            <a:ext cx="6912372" cy="648017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9A3316F9-A355-2B4D-BF6A-AE36CC6EBF17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latin typeface="+mj-lt"/>
              </a:rPr>
              <a:pPr/>
              <a:t>‹Nr.›</a:t>
            </a:fld>
            <a:endParaRPr lang="de-DE" sz="800">
              <a:latin typeface="+mj-lt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66182DCC-DA8F-0146-8743-559ED53C0BA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401" cy="86266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976B44F4-913F-9940-9183-6957A69E62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40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/>
            </a:lvl1pPr>
          </a:lstStyle>
          <a:p>
            <a:fld id="{7C4711C5-8EC8-4CF0-AD84-5AB98F175218}" type="datetime1">
              <a:rPr lang="de-DE" smtClean="0"/>
              <a:t>17.04.2026</a:t>
            </a:fld>
            <a:endParaRPr lang="de-DE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D0E300C5-766F-BF4E-9506-43FCFBDFD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40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Axiforma for Sec"/>
              <a:buChar char="|"/>
              <a:defRPr sz="800"/>
            </a:lvl1pPr>
          </a:lstStyle>
          <a:p>
            <a:r>
              <a:rPr lang="de-DE"/>
              <a:t>Cybersecurity Summit Hamburg | NIS-2 und die sichere Lieferkett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FCAE8EF6-FD98-1C47-806F-50E9A698C4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1511300"/>
            <a:ext cx="5183190" cy="2615423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vert="horz" lIns="144000" tIns="144000" rIns="144000" bIns="144000" rtlCol="0">
            <a:spAutoFit/>
          </a:bodyPr>
          <a:lstStyle>
            <a:lvl1pPr marL="0" indent="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Font typeface="+mj-lt"/>
              <a:buNone/>
              <a:defRPr lang="de-DE" sz="1400" smtClean="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smtClean="0">
                <a:latin typeface="+mn-lt"/>
              </a:defRPr>
            </a:lvl2pPr>
            <a:lvl3pPr marL="360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3pPr>
            <a:lvl4pPr marL="504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4pPr>
            <a:lvl5pPr marL="648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>
                <a:latin typeface="+mn-lt"/>
              </a:defRPr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7C48EA5-CA04-2241-0AAA-DE73137732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143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_auf Bild dunkel Textgröße1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C106FE2-9C05-917C-A110-B0E04D6E05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213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C106FE2-9C05-917C-A110-B0E04D6E0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A68EC5EF-6EA8-8C44-AC3C-E876615FB1C0}"/>
              </a:ext>
            </a:extLst>
          </p:cNvPr>
          <p:cNvSpPr/>
          <p:nvPr userDrawn="1"/>
        </p:nvSpPr>
        <p:spPr>
          <a:xfrm flipH="1">
            <a:off x="-2" y="0"/>
            <a:ext cx="6912374" cy="6480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00E66DB-E810-AF4A-BB86-A360A15888AB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solidFill>
                  <a:schemeClr val="bg1"/>
                </a:solidFill>
                <a:latin typeface="+mj-lt"/>
              </a:rPr>
              <a:pPr/>
              <a:t>‹Nr.›</a:t>
            </a:fld>
            <a:endParaRPr lang="de-DE" sz="8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6FF8771-FD6E-1E42-9490-D318734BCBC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395" cy="86265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83821420-1942-6240-8EA9-C51A940575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24922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904D2D1A-166E-4314-833F-F9C34B4095DA}" type="datetime1">
              <a:rPr lang="de-DE" smtClean="0"/>
              <a:t>17.04.2026</a:t>
            </a:fld>
            <a:endParaRPr lang="de-DE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A3C40E8E-12F5-E74C-BEBA-88112CEA27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122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Axiforma for Sec"/>
              <a:buChar char="|"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Cybersecurity Summit Hamburg | NIS-2 und die sichere Lieferkett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3D138B15-AD62-264B-93C3-FF37E80AF0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1511300"/>
            <a:ext cx="5183190" cy="2615423"/>
          </a:xfrm>
          <a:prstGeom prst="rect">
            <a:avLst/>
          </a:prstGeom>
          <a:solidFill>
            <a:schemeClr val="tx1">
              <a:alpha val="70000"/>
            </a:schemeClr>
          </a:solidFill>
        </p:spPr>
        <p:txBody>
          <a:bodyPr vert="horz" lIns="144000" tIns="144000" rIns="144000" bIns="144000" rtlCol="0">
            <a:spAutoFit/>
          </a:bodyPr>
          <a:lstStyle>
            <a:lvl1pPr marL="0" indent="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Font typeface="+mj-lt"/>
              <a:buNone/>
              <a:defRPr lang="de-DE" sz="1400" smtClean="0">
                <a:solidFill>
                  <a:schemeClr val="bg1"/>
                </a:solidFill>
                <a:latin typeface="+mn-lt"/>
              </a:defRPr>
            </a:lvl1pPr>
            <a:lvl2pPr marL="216000" indent="-216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smtClean="0">
                <a:solidFill>
                  <a:schemeClr val="bg1"/>
                </a:solidFill>
                <a:latin typeface="+mn-lt"/>
              </a:defRPr>
            </a:lvl2pPr>
            <a:lvl3pPr marL="360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solidFill>
                  <a:schemeClr val="bg1"/>
                </a:solidFill>
                <a:latin typeface="+mn-lt"/>
              </a:defRPr>
            </a:lvl3pPr>
            <a:lvl4pPr marL="504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solidFill>
                  <a:schemeClr val="bg1"/>
                </a:solidFill>
                <a:latin typeface="+mn-lt"/>
              </a:defRPr>
            </a:lvl4pPr>
            <a:lvl5pPr marL="648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4A4BA89-3569-1427-7AB5-AF6153A323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76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eite_5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96175B4-C6D6-A81D-C56C-388F00336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8888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96175B4-C6D6-A81D-C56C-388F00336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A0858B-A364-8058-41F3-99A17E0749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DF3E0F3-B16B-46E8-89BC-365F59376471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281CD-5BC2-C04D-9E6F-3804259C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8C599D-3C25-2A55-24A4-5B2086204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E244EC8-4BCF-FF61-0AA0-6F5EE2E75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 anchor="t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29B0C06D-4221-7E1A-C582-4EDD9D3834AB}"/>
              </a:ext>
            </a:extLst>
          </p:cNvPr>
          <p:cNvSpPr>
            <a:spLocks noGrp="1" noChangeAspect="1"/>
          </p:cNvSpPr>
          <p:nvPr>
            <p:ph type="pic" sz="quarter" idx="68"/>
          </p:nvPr>
        </p:nvSpPr>
        <p:spPr>
          <a:xfrm>
            <a:off x="4824835" y="1511300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EF6BA240-46F6-E85D-D2E8-71E050846C03}"/>
              </a:ext>
            </a:extLst>
          </p:cNvPr>
          <p:cNvSpPr>
            <a:spLocks noGrp="1" noChangeAspect="1"/>
          </p:cNvSpPr>
          <p:nvPr>
            <p:ph type="pic" sz="quarter" idx="69"/>
          </p:nvPr>
        </p:nvSpPr>
        <p:spPr>
          <a:xfrm>
            <a:off x="6949253" y="1511300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9" name="Bildplatzhalter 5">
            <a:extLst>
              <a:ext uri="{FF2B5EF4-FFF2-40B4-BE49-F238E27FC236}">
                <a16:creationId xmlns:a16="http://schemas.microsoft.com/office/drawing/2014/main" id="{234AAC01-59B1-EE1A-C877-973E22285E42}"/>
              </a:ext>
            </a:extLst>
          </p:cNvPr>
          <p:cNvSpPr>
            <a:spLocks noGrp="1" noChangeAspect="1"/>
          </p:cNvSpPr>
          <p:nvPr>
            <p:ph type="pic" sz="quarter" idx="70"/>
          </p:nvPr>
        </p:nvSpPr>
        <p:spPr>
          <a:xfrm>
            <a:off x="9073670" y="1511300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0564398D-BC07-2B6E-5E65-560E83A7144E}"/>
              </a:ext>
            </a:extLst>
          </p:cNvPr>
          <p:cNvSpPr>
            <a:spLocks noGrp="1" noChangeAspect="1"/>
          </p:cNvSpPr>
          <p:nvPr>
            <p:ph type="pic" sz="quarter" idx="71"/>
          </p:nvPr>
        </p:nvSpPr>
        <p:spPr>
          <a:xfrm>
            <a:off x="2700417" y="1511300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1" name="Bildplatzhalter 5">
            <a:extLst>
              <a:ext uri="{FF2B5EF4-FFF2-40B4-BE49-F238E27FC236}">
                <a16:creationId xmlns:a16="http://schemas.microsoft.com/office/drawing/2014/main" id="{25037F09-1B66-4A88-3824-95C8FF6D13A9}"/>
              </a:ext>
            </a:extLst>
          </p:cNvPr>
          <p:cNvSpPr>
            <a:spLocks noGrp="1" noChangeAspect="1"/>
          </p:cNvSpPr>
          <p:nvPr>
            <p:ph type="pic" sz="quarter" idx="72"/>
          </p:nvPr>
        </p:nvSpPr>
        <p:spPr>
          <a:xfrm>
            <a:off x="575999" y="1511300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8C7E1768-D6B1-96B4-10E5-B5CE108BAA4E}"/>
              </a:ext>
            </a:extLst>
          </p:cNvPr>
          <p:cNvSpPr>
            <a:spLocks noGrp="1" noChangeAspect="1"/>
          </p:cNvSpPr>
          <p:nvPr>
            <p:ph type="pic" sz="quarter" idx="73"/>
          </p:nvPr>
        </p:nvSpPr>
        <p:spPr>
          <a:xfrm>
            <a:off x="4824834" y="3011692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5573873F-A9C3-676D-7542-599B9C91042C}"/>
              </a:ext>
            </a:extLst>
          </p:cNvPr>
          <p:cNvSpPr>
            <a:spLocks noGrp="1" noChangeAspect="1"/>
          </p:cNvSpPr>
          <p:nvPr>
            <p:ph type="pic" sz="quarter" idx="74"/>
          </p:nvPr>
        </p:nvSpPr>
        <p:spPr>
          <a:xfrm>
            <a:off x="6949251" y="3011692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58BF6C60-C91C-D28F-0238-C5E080BC53BD}"/>
              </a:ext>
            </a:extLst>
          </p:cNvPr>
          <p:cNvSpPr>
            <a:spLocks noGrp="1" noChangeAspect="1"/>
          </p:cNvSpPr>
          <p:nvPr>
            <p:ph type="pic" sz="quarter" idx="75"/>
          </p:nvPr>
        </p:nvSpPr>
        <p:spPr>
          <a:xfrm>
            <a:off x="9073670" y="3011692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31549D7E-7332-5FE8-1777-82EAD9CB7149}"/>
              </a:ext>
            </a:extLst>
          </p:cNvPr>
          <p:cNvSpPr>
            <a:spLocks noGrp="1" noChangeAspect="1"/>
          </p:cNvSpPr>
          <p:nvPr>
            <p:ph type="pic" sz="quarter" idx="76"/>
          </p:nvPr>
        </p:nvSpPr>
        <p:spPr>
          <a:xfrm>
            <a:off x="2700417" y="3011692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6" name="Bildplatzhalter 5">
            <a:extLst>
              <a:ext uri="{FF2B5EF4-FFF2-40B4-BE49-F238E27FC236}">
                <a16:creationId xmlns:a16="http://schemas.microsoft.com/office/drawing/2014/main" id="{C682A980-284A-005A-7BCE-2BCDE1817B98}"/>
              </a:ext>
            </a:extLst>
          </p:cNvPr>
          <p:cNvSpPr>
            <a:spLocks noGrp="1" noChangeAspect="1"/>
          </p:cNvSpPr>
          <p:nvPr>
            <p:ph type="pic" sz="quarter" idx="77"/>
          </p:nvPr>
        </p:nvSpPr>
        <p:spPr>
          <a:xfrm>
            <a:off x="576000" y="3011692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7" name="Bildplatzhalter 5">
            <a:extLst>
              <a:ext uri="{FF2B5EF4-FFF2-40B4-BE49-F238E27FC236}">
                <a16:creationId xmlns:a16="http://schemas.microsoft.com/office/drawing/2014/main" id="{8698E55D-1AE3-4CB1-AD8A-7BB1583D0DBA}"/>
              </a:ext>
            </a:extLst>
          </p:cNvPr>
          <p:cNvSpPr>
            <a:spLocks noGrp="1" noChangeAspect="1"/>
          </p:cNvSpPr>
          <p:nvPr>
            <p:ph type="pic" sz="quarter" idx="78"/>
          </p:nvPr>
        </p:nvSpPr>
        <p:spPr>
          <a:xfrm>
            <a:off x="4824835" y="4512084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8" name="Bildplatzhalter 5">
            <a:extLst>
              <a:ext uri="{FF2B5EF4-FFF2-40B4-BE49-F238E27FC236}">
                <a16:creationId xmlns:a16="http://schemas.microsoft.com/office/drawing/2014/main" id="{21F311A0-0CF5-5805-9BC7-27E8E05D7BBA}"/>
              </a:ext>
            </a:extLst>
          </p:cNvPr>
          <p:cNvSpPr>
            <a:spLocks noGrp="1" noChangeAspect="1"/>
          </p:cNvSpPr>
          <p:nvPr>
            <p:ph type="pic" sz="quarter" idx="79"/>
          </p:nvPr>
        </p:nvSpPr>
        <p:spPr>
          <a:xfrm>
            <a:off x="6949253" y="4512084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9" name="Bildplatzhalter 5">
            <a:extLst>
              <a:ext uri="{FF2B5EF4-FFF2-40B4-BE49-F238E27FC236}">
                <a16:creationId xmlns:a16="http://schemas.microsoft.com/office/drawing/2014/main" id="{23C56748-936F-2E8C-502C-B58967AF80F9}"/>
              </a:ext>
            </a:extLst>
          </p:cNvPr>
          <p:cNvSpPr>
            <a:spLocks noGrp="1" noChangeAspect="1"/>
          </p:cNvSpPr>
          <p:nvPr>
            <p:ph type="pic" sz="quarter" idx="80"/>
          </p:nvPr>
        </p:nvSpPr>
        <p:spPr>
          <a:xfrm>
            <a:off x="9073670" y="4512084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68591617-F72E-10BC-9765-5F102F94A11C}"/>
              </a:ext>
            </a:extLst>
          </p:cNvPr>
          <p:cNvSpPr>
            <a:spLocks noGrp="1" noChangeAspect="1"/>
          </p:cNvSpPr>
          <p:nvPr>
            <p:ph type="pic" sz="quarter" idx="81"/>
          </p:nvPr>
        </p:nvSpPr>
        <p:spPr>
          <a:xfrm>
            <a:off x="2700417" y="4512084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40EE4C0B-6AD7-057D-2BD6-0B1221ECB6B9}"/>
              </a:ext>
            </a:extLst>
          </p:cNvPr>
          <p:cNvSpPr>
            <a:spLocks noGrp="1" noChangeAspect="1"/>
          </p:cNvSpPr>
          <p:nvPr>
            <p:ph type="pic" sz="quarter" idx="82"/>
          </p:nvPr>
        </p:nvSpPr>
        <p:spPr>
          <a:xfrm>
            <a:off x="575999" y="4512084"/>
            <a:ext cx="1870554" cy="1320392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anchor="ctr"/>
          <a:lstStyle>
            <a:lvl1pPr marL="0" indent="0" algn="ctr">
              <a:buFontTx/>
              <a:buNone/>
              <a:defRPr sz="800" b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endParaRPr lang="en-GB"/>
          </a:p>
          <a:p>
            <a:endParaRPr lang="en-GB"/>
          </a:p>
          <a:p>
            <a:r>
              <a:rPr lang="en-GB"/>
              <a:t>Logo </a:t>
            </a:r>
            <a:r>
              <a:rPr lang="en-GB" err="1"/>
              <a:t>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29939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_Logo -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9D9D83C7-3F40-CC4C-AFF0-304731484F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760" y="2723103"/>
            <a:ext cx="4320968" cy="73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75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2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_Logo - ro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D9E0B1B-958E-BC46-B324-2877BF2447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760" y="2723102"/>
            <a:ext cx="4320968" cy="73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471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_Text -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6335711" cy="32400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ext einfüg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D9D83C7-3F40-CC4C-AFF0-304731484F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779" y="5924759"/>
            <a:ext cx="1152000" cy="195088"/>
          </a:xfrm>
          <a:prstGeom prst="rect">
            <a:avLst/>
          </a:prstGeom>
        </p:spPr>
      </p:pic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79" y="4248151"/>
            <a:ext cx="6335711" cy="13684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Optionale </a:t>
            </a:r>
            <a:r>
              <a:rPr lang="de-DE" dirty="0" err="1"/>
              <a:t>Subline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2667387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676">
          <p15:clr>
            <a:srgbClr val="FBAE40"/>
          </p15:clr>
        </p15:guide>
        <p15:guide id="5" pos="435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_Text - ro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6335711" cy="32400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xt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79" y="4248150"/>
            <a:ext cx="6335711" cy="14398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Optionale </a:t>
            </a:r>
            <a:r>
              <a:rPr lang="de-DE" dirty="0" err="1"/>
              <a:t>Subline</a:t>
            </a:r>
            <a:r>
              <a:rPr lang="de-DE" dirty="0"/>
              <a:t> einfüg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4099A06-FA21-E243-A7A5-1E8FA3A065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63" y="5924573"/>
            <a:ext cx="1152000" cy="1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18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435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_oben_3spaltig Textgröß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0F643D-8E98-7E44-BB93-C433E4581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10367962" cy="1008064"/>
          </a:xfrm>
          <a:prstGeom prst="rect">
            <a:avLst/>
          </a:prstGeom>
        </p:spPr>
        <p:txBody>
          <a:bodyPr lIns="0" tIns="0" bIns="0"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9F19AA5B-64B9-614A-90A3-FD4F4BFCAC87}"/>
              </a:ext>
            </a:extLst>
          </p:cNvPr>
          <p:cNvSpPr txBox="1">
            <a:spLocks/>
          </p:cNvSpPr>
          <p:nvPr userDrawn="1"/>
        </p:nvSpPr>
        <p:spPr>
          <a:xfrm>
            <a:off x="576263" y="6119684"/>
            <a:ext cx="431737" cy="3600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88108-976F-2446-B325-329F2FA2A466}" type="slidenum">
              <a:rPr lang="de-DE" sz="800" smtClean="0">
                <a:latin typeface="+mj-lt"/>
              </a:rPr>
              <a:pPr/>
              <a:t>‹Nr.›</a:t>
            </a:fld>
            <a:endParaRPr lang="de-DE" sz="800">
              <a:latin typeface="+mj-lt"/>
            </a:endParaRPr>
          </a:p>
        </p:txBody>
      </p:sp>
      <p:pic>
        <p:nvPicPr>
          <p:cNvPr id="18" name="Grafik 1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3178EB7E-2673-C548-9F8F-34CFFC960D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00" y="6249600"/>
            <a:ext cx="509401" cy="86400"/>
          </a:xfrm>
          <a:prstGeom prst="rect">
            <a:avLst/>
          </a:prstGeom>
        </p:spPr>
      </p:pic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BE56F278-D904-C147-8669-A3B171746A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40" cy="360000"/>
          </a:xfrm>
          <a:prstGeom prst="rect">
            <a:avLst/>
          </a:prstGeom>
        </p:spPr>
        <p:txBody>
          <a:bodyPr wrap="none" lIns="0" tIns="0" rIns="36000" bIns="0" anchor="ctr"/>
          <a:lstStyle>
            <a:lvl1pPr algn="r">
              <a:defRPr sz="800"/>
            </a:lvl1pPr>
          </a:lstStyle>
          <a:p>
            <a:fld id="{3F9BCE16-9E7D-46DA-B174-47C952566325}" type="datetime1">
              <a:rPr lang="de-DE" smtClean="0"/>
              <a:t>17.04.2026</a:t>
            </a:fld>
            <a:endParaRPr lang="de-DE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560E0495-D195-3348-A7B6-8902B3B37A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40" y="6120000"/>
            <a:ext cx="3883590" cy="360000"/>
          </a:xfrm>
          <a:prstGeom prst="rect">
            <a:avLst/>
          </a:prstGeom>
        </p:spPr>
        <p:txBody>
          <a:bodyPr wrap="none" lIns="0" tIns="0" rIns="0" bIns="0" anchor="ctr"/>
          <a:lstStyle>
            <a:lvl1pPr marL="108000" indent="-108000">
              <a:buSzPct val="130000"/>
              <a:buFont typeface="Systemschrift"/>
              <a:buChar char="|"/>
              <a:defRPr sz="800"/>
            </a:lvl1pPr>
          </a:lstStyle>
          <a:p>
            <a:r>
              <a:rPr lang="de-DE"/>
              <a:t>Cybersecurity Summit Hamburg | NIS-2 und die sichere Lieferkette</a:t>
            </a:r>
            <a:endParaRPr lang="de-DE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A335187C-2E03-A744-BACB-3034DAB5E6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0" y="3816350"/>
            <a:ext cx="3167063" cy="2016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Font typeface="+mj-lt"/>
              <a:buNone/>
              <a:defRPr lang="de-DE" sz="1400" smtClean="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smtClean="0">
                <a:latin typeface="+mn-lt"/>
              </a:defRPr>
            </a:lvl2pPr>
            <a:lvl3pPr marL="360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3pPr>
            <a:lvl4pPr marL="504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4pPr>
            <a:lvl5pPr marL="648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>
                <a:latin typeface="+mn-lt"/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837E00A1-81BD-5145-92D4-452E42F3A4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76712" y="3816350"/>
            <a:ext cx="3167063" cy="2016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Font typeface="+mj-lt"/>
              <a:buNone/>
              <a:defRPr lang="de-DE" sz="1400" smtClean="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smtClean="0">
                <a:latin typeface="+mn-lt"/>
              </a:defRPr>
            </a:lvl2pPr>
            <a:lvl3pPr marL="360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3pPr>
            <a:lvl4pPr marL="504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4pPr>
            <a:lvl5pPr marL="648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>
                <a:latin typeface="+mn-lt"/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3B0879D9-99B0-5C40-8D53-DB949DD084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777162" y="3816350"/>
            <a:ext cx="3167063" cy="2016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Font typeface="+mj-lt"/>
              <a:buNone/>
              <a:defRPr lang="de-DE" sz="1400" smtClean="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smtClean="0">
                <a:latin typeface="+mn-lt"/>
              </a:defRPr>
            </a:lvl2pPr>
            <a:lvl3pPr marL="360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3pPr>
            <a:lvl4pPr marL="504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smtClean="0">
                <a:latin typeface="+mn-lt"/>
              </a:defRPr>
            </a:lvl4pPr>
            <a:lvl5pPr marL="648000" indent="-144000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>
                <a:latin typeface="+mn-lt"/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FB0D6DD7-4C71-9149-8A8C-07E180C878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6263" y="1511299"/>
            <a:ext cx="3167060" cy="201612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A497E11B-D7F2-884D-BCA2-DBEFCB3823C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179847" y="1511299"/>
            <a:ext cx="3167060" cy="201612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89D45C9D-03B8-8246-B3CD-1A9665BB110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777165" y="1511299"/>
            <a:ext cx="3167060" cy="2016125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/>
              <a:t>Bild oder Freisteller </a:t>
            </a:r>
            <a:r>
              <a:rPr lang="en-GB" err="1"/>
              <a:t>durch</a:t>
            </a:r>
            <a:r>
              <a:rPr lang="en-GB"/>
              <a:t> Klick auf Symbol </a:t>
            </a:r>
            <a:r>
              <a:rPr lang="en-GB" err="1"/>
              <a:t>hinzufügen</a:t>
            </a:r>
            <a:br>
              <a:rPr lang="en-GB" err="1"/>
            </a:b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7330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31">
          <p15:clr>
            <a:srgbClr val="FBAE40"/>
          </p15:clr>
        </p15:guide>
        <p15:guide id="2" pos="2358">
          <p15:clr>
            <a:srgbClr val="FBAE40"/>
          </p15:clr>
        </p15:guide>
        <p15:guide id="3" orient="horz" pos="771">
          <p15:clr>
            <a:srgbClr val="FBAE40"/>
          </p15:clr>
        </p15:guide>
        <p15:guide id="4" pos="4626">
          <p15:clr>
            <a:srgbClr val="FBAE40"/>
          </p15:clr>
        </p15:guide>
        <p15:guide id="5" pos="489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el - 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 4">
            <a:extLst>
              <a:ext uri="{FF2B5EF4-FFF2-40B4-BE49-F238E27FC236}">
                <a16:creationId xmlns:a16="http://schemas.microsoft.com/office/drawing/2014/main" id="{A5244239-D721-F6E3-AB77-C902A0EEFED3}"/>
              </a:ext>
            </a:extLst>
          </p:cNvPr>
          <p:cNvSpPr/>
          <p:nvPr userDrawn="1"/>
        </p:nvSpPr>
        <p:spPr>
          <a:xfrm>
            <a:off x="6268624" y="3303421"/>
            <a:ext cx="3194573" cy="3176754"/>
          </a:xfrm>
          <a:custGeom>
            <a:avLst/>
            <a:gdLst>
              <a:gd name="connsiteX0" fmla="*/ 3176753 w 3194573"/>
              <a:gd name="connsiteY0" fmla="*/ 0 h 3176754"/>
              <a:gd name="connsiteX1" fmla="*/ 3194573 w 3194573"/>
              <a:gd name="connsiteY1" fmla="*/ 17819 h 3176754"/>
              <a:gd name="connsiteX2" fmla="*/ 35638 w 3194573"/>
              <a:gd name="connsiteY2" fmla="*/ 3176754 h 3176754"/>
              <a:gd name="connsiteX3" fmla="*/ 0 w 3194573"/>
              <a:gd name="connsiteY3" fmla="*/ 3176754 h 3176754"/>
              <a:gd name="connsiteX4" fmla="*/ 3176753 w 3194573"/>
              <a:gd name="connsiteY4" fmla="*/ 0 h 3176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4573" h="3176754">
                <a:moveTo>
                  <a:pt x="3176753" y="0"/>
                </a:moveTo>
                <a:lnTo>
                  <a:pt x="3194573" y="17819"/>
                </a:lnTo>
                <a:lnTo>
                  <a:pt x="35638" y="3176754"/>
                </a:lnTo>
                <a:lnTo>
                  <a:pt x="0" y="3176754"/>
                </a:lnTo>
                <a:lnTo>
                  <a:pt x="3176753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A7AE45-3CA1-7F36-AF32-049E7B942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90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7AE45-3CA1-7F36-AF32-049E7B942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4608513" cy="3240088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283EEEB-1764-B0AD-DB8C-535543BDDC69}"/>
              </a:ext>
            </a:extLst>
          </p:cNvPr>
          <p:cNvSpPr/>
          <p:nvPr userDrawn="1"/>
        </p:nvSpPr>
        <p:spPr>
          <a:xfrm rot="2700000" flipH="1">
            <a:off x="6293269" y="2304000"/>
            <a:ext cx="25200" cy="2412000"/>
          </a:xfrm>
          <a:prstGeom prst="rect">
            <a:avLst/>
          </a:prstGeom>
          <a:gradFill>
            <a:gsLst>
              <a:gs pos="0">
                <a:schemeClr val="accent4"/>
              </a:gs>
              <a:gs pos="82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3" name="Freihandform 12">
            <a:extLst>
              <a:ext uri="{FF2B5EF4-FFF2-40B4-BE49-F238E27FC236}">
                <a16:creationId xmlns:a16="http://schemas.microsoft.com/office/drawing/2014/main" id="{920FA527-23D4-4AF1-6D3B-E5FFA7A6DCC2}"/>
              </a:ext>
            </a:extLst>
          </p:cNvPr>
          <p:cNvSpPr/>
          <p:nvPr userDrawn="1"/>
        </p:nvSpPr>
        <p:spPr>
          <a:xfrm rot="2700000" flipH="1">
            <a:off x="10782000" y="927831"/>
            <a:ext cx="25200" cy="2082269"/>
          </a:xfrm>
          <a:custGeom>
            <a:avLst/>
            <a:gdLst>
              <a:gd name="connsiteX0" fmla="*/ 25200 w 25200"/>
              <a:gd name="connsiteY0" fmla="*/ 0 h 2082269"/>
              <a:gd name="connsiteX1" fmla="*/ 0 w 25200"/>
              <a:gd name="connsiteY1" fmla="*/ 25200 h 2082269"/>
              <a:gd name="connsiteX2" fmla="*/ 0 w 25200"/>
              <a:gd name="connsiteY2" fmla="*/ 2082269 h 2082269"/>
              <a:gd name="connsiteX3" fmla="*/ 25200 w 25200"/>
              <a:gd name="connsiteY3" fmla="*/ 2082269 h 2082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00" h="2082269">
                <a:moveTo>
                  <a:pt x="25200" y="0"/>
                </a:moveTo>
                <a:lnTo>
                  <a:pt x="0" y="25200"/>
                </a:lnTo>
                <a:lnTo>
                  <a:pt x="0" y="2082269"/>
                </a:lnTo>
                <a:lnTo>
                  <a:pt x="25200" y="2082269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63" name="Bildplatzhalter 62">
            <a:extLst>
              <a:ext uri="{FF2B5EF4-FFF2-40B4-BE49-F238E27FC236}">
                <a16:creationId xmlns:a16="http://schemas.microsoft.com/office/drawing/2014/main" id="{7A915D8D-3063-D980-6C8E-99D59CAC693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8124" y="611795"/>
            <a:ext cx="4356101" cy="5220680"/>
          </a:xfrm>
          <a:custGeom>
            <a:avLst/>
            <a:gdLst>
              <a:gd name="connsiteX0" fmla="*/ 0 w 4356101"/>
              <a:gd name="connsiteY0" fmla="*/ 0 h 5220680"/>
              <a:gd name="connsiteX1" fmla="*/ 4356101 w 4356101"/>
              <a:gd name="connsiteY1" fmla="*/ 0 h 5220680"/>
              <a:gd name="connsiteX2" fmla="*/ 4356101 w 4356101"/>
              <a:gd name="connsiteY2" fmla="*/ 2281405 h 5220680"/>
              <a:gd name="connsiteX3" fmla="*/ 3552422 w 4356101"/>
              <a:gd name="connsiteY3" fmla="*/ 3085084 h 5220680"/>
              <a:gd name="connsiteX4" fmla="*/ 3570241 w 4356101"/>
              <a:gd name="connsiteY4" fmla="*/ 3102903 h 5220680"/>
              <a:gd name="connsiteX5" fmla="*/ 4356101 w 4356101"/>
              <a:gd name="connsiteY5" fmla="*/ 2317043 h 5220680"/>
              <a:gd name="connsiteX6" fmla="*/ 4356101 w 4356101"/>
              <a:gd name="connsiteY6" fmla="*/ 5220680 h 5220680"/>
              <a:gd name="connsiteX7" fmla="*/ 0 w 4356101"/>
              <a:gd name="connsiteY7" fmla="*/ 5220680 h 5220680"/>
              <a:gd name="connsiteX8" fmla="*/ 0 w 4356101"/>
              <a:gd name="connsiteY8" fmla="*/ 4600114 h 5220680"/>
              <a:gd name="connsiteX9" fmla="*/ 610405 w 4356101"/>
              <a:gd name="connsiteY9" fmla="*/ 3989710 h 5220680"/>
              <a:gd name="connsiteX10" fmla="*/ 592586 w 4356101"/>
              <a:gd name="connsiteY10" fmla="*/ 3971891 h 5220680"/>
              <a:gd name="connsiteX11" fmla="*/ 0 w 4356101"/>
              <a:gd name="connsiteY11" fmla="*/ 4564476 h 5220680"/>
              <a:gd name="connsiteX12" fmla="*/ 0 w 4356101"/>
              <a:gd name="connsiteY12" fmla="*/ 3613343 h 5220680"/>
              <a:gd name="connsiteX13" fmla="*/ 1142268 w 4356101"/>
              <a:gd name="connsiteY13" fmla="*/ 2471076 h 5220680"/>
              <a:gd name="connsiteX14" fmla="*/ 1124449 w 4356101"/>
              <a:gd name="connsiteY14" fmla="*/ 2453257 h 5220680"/>
              <a:gd name="connsiteX15" fmla="*/ 0 w 4356101"/>
              <a:gd name="connsiteY15" fmla="*/ 3577705 h 5220680"/>
              <a:gd name="connsiteX16" fmla="*/ 0 w 4356101"/>
              <a:gd name="connsiteY16" fmla="*/ 1540013 h 5220680"/>
              <a:gd name="connsiteX17" fmla="*/ 867558 w 4356101"/>
              <a:gd name="connsiteY17" fmla="*/ 672456 h 5220680"/>
              <a:gd name="connsiteX18" fmla="*/ 849739 w 4356101"/>
              <a:gd name="connsiteY18" fmla="*/ 654637 h 5220680"/>
              <a:gd name="connsiteX19" fmla="*/ 0 w 4356101"/>
              <a:gd name="connsiteY19" fmla="*/ 1504375 h 522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356101" h="5220680">
                <a:moveTo>
                  <a:pt x="0" y="0"/>
                </a:moveTo>
                <a:lnTo>
                  <a:pt x="4356101" y="0"/>
                </a:lnTo>
                <a:lnTo>
                  <a:pt x="4356101" y="2281405"/>
                </a:lnTo>
                <a:lnTo>
                  <a:pt x="3552422" y="3085084"/>
                </a:lnTo>
                <a:lnTo>
                  <a:pt x="3570241" y="3102903"/>
                </a:lnTo>
                <a:lnTo>
                  <a:pt x="4356101" y="2317043"/>
                </a:lnTo>
                <a:lnTo>
                  <a:pt x="4356101" y="5220680"/>
                </a:lnTo>
                <a:lnTo>
                  <a:pt x="0" y="5220680"/>
                </a:lnTo>
                <a:lnTo>
                  <a:pt x="0" y="4600114"/>
                </a:lnTo>
                <a:lnTo>
                  <a:pt x="610405" y="3989710"/>
                </a:lnTo>
                <a:lnTo>
                  <a:pt x="592586" y="3971891"/>
                </a:lnTo>
                <a:lnTo>
                  <a:pt x="0" y="4564476"/>
                </a:lnTo>
                <a:lnTo>
                  <a:pt x="0" y="3613343"/>
                </a:lnTo>
                <a:lnTo>
                  <a:pt x="1142268" y="2471076"/>
                </a:lnTo>
                <a:lnTo>
                  <a:pt x="1124449" y="2453257"/>
                </a:lnTo>
                <a:lnTo>
                  <a:pt x="0" y="3577705"/>
                </a:lnTo>
                <a:lnTo>
                  <a:pt x="0" y="1540013"/>
                </a:lnTo>
                <a:lnTo>
                  <a:pt x="867558" y="672456"/>
                </a:lnTo>
                <a:lnTo>
                  <a:pt x="849739" y="654637"/>
                </a:lnTo>
                <a:lnTo>
                  <a:pt x="0" y="150437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B1166B7-5BD8-A54E-3778-C42F64E18015}"/>
              </a:ext>
            </a:extLst>
          </p:cNvPr>
          <p:cNvSpPr/>
          <p:nvPr userDrawn="1"/>
        </p:nvSpPr>
        <p:spPr>
          <a:xfrm rot="2700000" flipH="1">
            <a:off x="6232443" y="2462400"/>
            <a:ext cx="25200" cy="4176000"/>
          </a:xfrm>
          <a:prstGeom prst="rect">
            <a:avLst/>
          </a:prstGeom>
          <a:gradFill flip="none" rotWithShape="1">
            <a:gsLst>
              <a:gs pos="48000">
                <a:schemeClr val="accent4"/>
              </a:gs>
              <a:gs pos="0">
                <a:schemeClr val="accent3"/>
              </a:gs>
              <a:gs pos="100000">
                <a:schemeClr val="accent1"/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B3BFAFAB-3DC9-EBDB-50A4-E49C27EC8FDE}"/>
              </a:ext>
            </a:extLst>
          </p:cNvPr>
          <p:cNvSpPr/>
          <p:nvPr userDrawn="1"/>
        </p:nvSpPr>
        <p:spPr>
          <a:xfrm rot="2700000" flipH="1">
            <a:off x="6718814" y="4402800"/>
            <a:ext cx="25200" cy="1296000"/>
          </a:xfrm>
          <a:prstGeom prst="rect">
            <a:avLst/>
          </a:prstGeom>
          <a:gradFill>
            <a:gsLst>
              <a:gs pos="48000">
                <a:schemeClr val="accent4"/>
              </a:gs>
              <a:gs pos="0">
                <a:schemeClr val="accent3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66" name="Freihandform 65">
            <a:extLst>
              <a:ext uri="{FF2B5EF4-FFF2-40B4-BE49-F238E27FC236}">
                <a16:creationId xmlns:a16="http://schemas.microsoft.com/office/drawing/2014/main" id="{EB35DEC9-5764-A857-E18D-88E38E22844F}"/>
              </a:ext>
            </a:extLst>
          </p:cNvPr>
          <p:cNvSpPr/>
          <p:nvPr userDrawn="1"/>
        </p:nvSpPr>
        <p:spPr>
          <a:xfrm>
            <a:off x="10140546" y="2310815"/>
            <a:ext cx="1386064" cy="1403883"/>
          </a:xfrm>
          <a:custGeom>
            <a:avLst/>
            <a:gdLst>
              <a:gd name="connsiteX0" fmla="*/ 1386064 w 1386064"/>
              <a:gd name="connsiteY0" fmla="*/ 0 h 1403883"/>
              <a:gd name="connsiteX1" fmla="*/ 1386064 w 1386064"/>
              <a:gd name="connsiteY1" fmla="*/ 35638 h 1403883"/>
              <a:gd name="connsiteX2" fmla="*/ 17819 w 1386064"/>
              <a:gd name="connsiteY2" fmla="*/ 1403883 h 1403883"/>
              <a:gd name="connsiteX3" fmla="*/ 0 w 1386064"/>
              <a:gd name="connsiteY3" fmla="*/ 1386064 h 1403883"/>
              <a:gd name="connsiteX4" fmla="*/ 1386064 w 1386064"/>
              <a:gd name="connsiteY4" fmla="*/ 0 h 1403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6064" h="1403883">
                <a:moveTo>
                  <a:pt x="1386064" y="0"/>
                </a:moveTo>
                <a:lnTo>
                  <a:pt x="1386064" y="35638"/>
                </a:lnTo>
                <a:lnTo>
                  <a:pt x="17819" y="1403883"/>
                </a:lnTo>
                <a:lnTo>
                  <a:pt x="0" y="1386064"/>
                </a:lnTo>
                <a:lnTo>
                  <a:pt x="1386064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BF588C4-4230-CE0D-CEF1-90E3C12651E2}"/>
              </a:ext>
            </a:extLst>
          </p:cNvPr>
          <p:cNvSpPr/>
          <p:nvPr userDrawn="1"/>
        </p:nvSpPr>
        <p:spPr>
          <a:xfrm rot="2700000" flipH="1">
            <a:off x="6632313" y="943200"/>
            <a:ext cx="25200" cy="226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1E58324-A568-C00C-DB20-97AD76F48BC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88" y="216265"/>
            <a:ext cx="2012696" cy="34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279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3447">
          <p15:clr>
            <a:srgbClr val="FBAE40"/>
          </p15:clr>
        </p15:guide>
        <p15:guide id="5" pos="326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 - Patter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ihandform 44">
            <a:extLst>
              <a:ext uri="{FF2B5EF4-FFF2-40B4-BE49-F238E27FC236}">
                <a16:creationId xmlns:a16="http://schemas.microsoft.com/office/drawing/2014/main" id="{0D408086-EA48-AD79-89A8-3A295F5AF387}"/>
              </a:ext>
            </a:extLst>
          </p:cNvPr>
          <p:cNvSpPr/>
          <p:nvPr userDrawn="1"/>
        </p:nvSpPr>
        <p:spPr>
          <a:xfrm>
            <a:off x="3252689" y="5483182"/>
            <a:ext cx="1014813" cy="996993"/>
          </a:xfrm>
          <a:custGeom>
            <a:avLst/>
            <a:gdLst>
              <a:gd name="connsiteX0" fmla="*/ 17819 w 1014813"/>
              <a:gd name="connsiteY0" fmla="*/ 0 h 996993"/>
              <a:gd name="connsiteX1" fmla="*/ 1014813 w 1014813"/>
              <a:gd name="connsiteY1" fmla="*/ 996993 h 996993"/>
              <a:gd name="connsiteX2" fmla="*/ 979172 w 1014813"/>
              <a:gd name="connsiteY2" fmla="*/ 996993 h 996993"/>
              <a:gd name="connsiteX3" fmla="*/ 0 w 1014813"/>
              <a:gd name="connsiteY3" fmla="*/ 17819 h 996993"/>
              <a:gd name="connsiteX4" fmla="*/ 17819 w 1014813"/>
              <a:gd name="connsiteY4" fmla="*/ 0 h 996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813" h="996993">
                <a:moveTo>
                  <a:pt x="17819" y="0"/>
                </a:moveTo>
                <a:lnTo>
                  <a:pt x="1014813" y="996993"/>
                </a:lnTo>
                <a:lnTo>
                  <a:pt x="979172" y="996993"/>
                </a:lnTo>
                <a:lnTo>
                  <a:pt x="0" y="17819"/>
                </a:lnTo>
                <a:lnTo>
                  <a:pt x="17819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A7AE45-3CA1-7F36-AF32-049E7B942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90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7AE45-3CA1-7F36-AF32-049E7B942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05D6E2-57CD-B842-80C7-C432BDE67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63601"/>
            <a:ext cx="4608513" cy="3240088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73" name="Bildplatzhalter 72">
            <a:extLst>
              <a:ext uri="{FF2B5EF4-FFF2-40B4-BE49-F238E27FC236}">
                <a16:creationId xmlns:a16="http://schemas.microsoft.com/office/drawing/2014/main" id="{1C67C536-EF41-F421-4414-EAE6E2E3BC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8124" y="611795"/>
            <a:ext cx="4356101" cy="5220680"/>
          </a:xfrm>
          <a:custGeom>
            <a:avLst/>
            <a:gdLst>
              <a:gd name="connsiteX0" fmla="*/ 2082539 w 4356101"/>
              <a:gd name="connsiteY0" fmla="*/ 3463523 h 5220680"/>
              <a:gd name="connsiteX1" fmla="*/ 1013394 w 4356101"/>
              <a:gd name="connsiteY1" fmla="*/ 4532668 h 5220680"/>
              <a:gd name="connsiteX2" fmla="*/ 1031213 w 4356101"/>
              <a:gd name="connsiteY2" fmla="*/ 4550488 h 5220680"/>
              <a:gd name="connsiteX3" fmla="*/ 2100358 w 4356101"/>
              <a:gd name="connsiteY3" fmla="*/ 3481342 h 5220680"/>
              <a:gd name="connsiteX4" fmla="*/ 3511569 w 4356101"/>
              <a:gd name="connsiteY4" fmla="*/ 3459923 h 5220680"/>
              <a:gd name="connsiteX5" fmla="*/ 2442424 w 4356101"/>
              <a:gd name="connsiteY5" fmla="*/ 4529068 h 5220680"/>
              <a:gd name="connsiteX6" fmla="*/ 2460243 w 4356101"/>
              <a:gd name="connsiteY6" fmla="*/ 4546888 h 5220680"/>
              <a:gd name="connsiteX7" fmla="*/ 3529388 w 4356101"/>
              <a:gd name="connsiteY7" fmla="*/ 3477742 h 5220680"/>
              <a:gd name="connsiteX8" fmla="*/ 0 w 4356101"/>
              <a:gd name="connsiteY8" fmla="*/ 0 h 5220680"/>
              <a:gd name="connsiteX9" fmla="*/ 4356101 w 4356101"/>
              <a:gd name="connsiteY9" fmla="*/ 0 h 5220680"/>
              <a:gd name="connsiteX10" fmla="*/ 4356101 w 4356101"/>
              <a:gd name="connsiteY10" fmla="*/ 4036672 h 5220680"/>
              <a:gd name="connsiteX11" fmla="*/ 3892636 w 4356101"/>
              <a:gd name="connsiteY11" fmla="*/ 4500137 h 5220680"/>
              <a:gd name="connsiteX12" fmla="*/ 3910455 w 4356101"/>
              <a:gd name="connsiteY12" fmla="*/ 4517957 h 5220680"/>
              <a:gd name="connsiteX13" fmla="*/ 4356101 w 4356101"/>
              <a:gd name="connsiteY13" fmla="*/ 4072311 h 5220680"/>
              <a:gd name="connsiteX14" fmla="*/ 4356101 w 4356101"/>
              <a:gd name="connsiteY14" fmla="*/ 5220680 h 5220680"/>
              <a:gd name="connsiteX15" fmla="*/ 4239367 w 4356101"/>
              <a:gd name="connsiteY15" fmla="*/ 5220680 h 5220680"/>
              <a:gd name="connsiteX16" fmla="*/ 3880495 w 4356101"/>
              <a:gd name="connsiteY16" fmla="*/ 4861808 h 5220680"/>
              <a:gd name="connsiteX17" fmla="*/ 3862676 w 4356101"/>
              <a:gd name="connsiteY17" fmla="*/ 4879627 h 5220680"/>
              <a:gd name="connsiteX18" fmla="*/ 4203728 w 4356101"/>
              <a:gd name="connsiteY18" fmla="*/ 5220680 h 5220680"/>
              <a:gd name="connsiteX19" fmla="*/ 2822687 w 4356101"/>
              <a:gd name="connsiteY19" fmla="*/ 5220680 h 5220680"/>
              <a:gd name="connsiteX20" fmla="*/ 2468970 w 4356101"/>
              <a:gd name="connsiteY20" fmla="*/ 4866963 h 5220680"/>
              <a:gd name="connsiteX21" fmla="*/ 2451152 w 4356101"/>
              <a:gd name="connsiteY21" fmla="*/ 4884782 h 5220680"/>
              <a:gd name="connsiteX22" fmla="*/ 2787050 w 4356101"/>
              <a:gd name="connsiteY22" fmla="*/ 5220680 h 5220680"/>
              <a:gd name="connsiteX23" fmla="*/ 1404535 w 4356101"/>
              <a:gd name="connsiteY23" fmla="*/ 5220680 h 5220680"/>
              <a:gd name="connsiteX24" fmla="*/ 1057520 w 4356101"/>
              <a:gd name="connsiteY24" fmla="*/ 4873664 h 5220680"/>
              <a:gd name="connsiteX25" fmla="*/ 1039701 w 4356101"/>
              <a:gd name="connsiteY25" fmla="*/ 4891483 h 5220680"/>
              <a:gd name="connsiteX26" fmla="*/ 1368897 w 4356101"/>
              <a:gd name="connsiteY26" fmla="*/ 5220680 h 5220680"/>
              <a:gd name="connsiteX27" fmla="*/ 0 w 4356101"/>
              <a:gd name="connsiteY27" fmla="*/ 5220680 h 5220680"/>
              <a:gd name="connsiteX28" fmla="*/ 0 w 4356101"/>
              <a:gd name="connsiteY28" fmla="*/ 4166901 h 5220680"/>
              <a:gd name="connsiteX29" fmla="*/ 699959 w 4356101"/>
              <a:gd name="connsiteY29" fmla="*/ 3466942 h 5220680"/>
              <a:gd name="connsiteX30" fmla="*/ 682139 w 4356101"/>
              <a:gd name="connsiteY30" fmla="*/ 3449123 h 5220680"/>
              <a:gd name="connsiteX31" fmla="*/ 0 w 4356101"/>
              <a:gd name="connsiteY31" fmla="*/ 4131262 h 522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4356101" h="5220680">
                <a:moveTo>
                  <a:pt x="2082539" y="3463523"/>
                </a:moveTo>
                <a:lnTo>
                  <a:pt x="1013394" y="4532668"/>
                </a:lnTo>
                <a:lnTo>
                  <a:pt x="1031213" y="4550488"/>
                </a:lnTo>
                <a:lnTo>
                  <a:pt x="2100358" y="3481342"/>
                </a:lnTo>
                <a:close/>
                <a:moveTo>
                  <a:pt x="3511569" y="3459923"/>
                </a:moveTo>
                <a:lnTo>
                  <a:pt x="2442424" y="4529068"/>
                </a:lnTo>
                <a:lnTo>
                  <a:pt x="2460243" y="4546888"/>
                </a:lnTo>
                <a:lnTo>
                  <a:pt x="3529388" y="3477742"/>
                </a:lnTo>
                <a:close/>
                <a:moveTo>
                  <a:pt x="0" y="0"/>
                </a:moveTo>
                <a:lnTo>
                  <a:pt x="4356101" y="0"/>
                </a:lnTo>
                <a:lnTo>
                  <a:pt x="4356101" y="4036672"/>
                </a:lnTo>
                <a:lnTo>
                  <a:pt x="3892636" y="4500137"/>
                </a:lnTo>
                <a:lnTo>
                  <a:pt x="3910455" y="4517957"/>
                </a:lnTo>
                <a:lnTo>
                  <a:pt x="4356101" y="4072311"/>
                </a:lnTo>
                <a:lnTo>
                  <a:pt x="4356101" y="5220680"/>
                </a:lnTo>
                <a:lnTo>
                  <a:pt x="4239367" y="5220680"/>
                </a:lnTo>
                <a:lnTo>
                  <a:pt x="3880495" y="4861808"/>
                </a:lnTo>
                <a:lnTo>
                  <a:pt x="3862676" y="4879627"/>
                </a:lnTo>
                <a:lnTo>
                  <a:pt x="4203728" y="5220680"/>
                </a:lnTo>
                <a:lnTo>
                  <a:pt x="2822687" y="5220680"/>
                </a:lnTo>
                <a:lnTo>
                  <a:pt x="2468970" y="4866963"/>
                </a:lnTo>
                <a:lnTo>
                  <a:pt x="2451152" y="4884782"/>
                </a:lnTo>
                <a:lnTo>
                  <a:pt x="2787050" y="5220680"/>
                </a:lnTo>
                <a:lnTo>
                  <a:pt x="1404535" y="5220680"/>
                </a:lnTo>
                <a:lnTo>
                  <a:pt x="1057520" y="4873664"/>
                </a:lnTo>
                <a:lnTo>
                  <a:pt x="1039701" y="4891483"/>
                </a:lnTo>
                <a:lnTo>
                  <a:pt x="1368897" y="5220680"/>
                </a:lnTo>
                <a:lnTo>
                  <a:pt x="0" y="5220680"/>
                </a:lnTo>
                <a:lnTo>
                  <a:pt x="0" y="4166901"/>
                </a:lnTo>
                <a:lnTo>
                  <a:pt x="699959" y="3466942"/>
                </a:lnTo>
                <a:lnTo>
                  <a:pt x="682139" y="3449123"/>
                </a:lnTo>
                <a:lnTo>
                  <a:pt x="0" y="413126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8" name="Freihandform 47">
            <a:extLst>
              <a:ext uri="{FF2B5EF4-FFF2-40B4-BE49-F238E27FC236}">
                <a16:creationId xmlns:a16="http://schemas.microsoft.com/office/drawing/2014/main" id="{7E2211BE-BE2E-9113-8B05-A805C8B28223}"/>
              </a:ext>
            </a:extLst>
          </p:cNvPr>
          <p:cNvSpPr/>
          <p:nvPr userDrawn="1"/>
        </p:nvSpPr>
        <p:spPr>
          <a:xfrm rot="18900000" flipH="1">
            <a:off x="5174146" y="5289755"/>
            <a:ext cx="25201" cy="1405103"/>
          </a:xfrm>
          <a:custGeom>
            <a:avLst/>
            <a:gdLst>
              <a:gd name="connsiteX0" fmla="*/ 0 w 25201"/>
              <a:gd name="connsiteY0" fmla="*/ 0 h 1405103"/>
              <a:gd name="connsiteX1" fmla="*/ 0 w 25201"/>
              <a:gd name="connsiteY1" fmla="*/ 1405103 h 1405103"/>
              <a:gd name="connsiteX2" fmla="*/ 25201 w 25201"/>
              <a:gd name="connsiteY2" fmla="*/ 1379903 h 1405103"/>
              <a:gd name="connsiteX3" fmla="*/ 25200 w 25201"/>
              <a:gd name="connsiteY3" fmla="*/ 0 h 1405103"/>
              <a:gd name="connsiteX4" fmla="*/ 0 w 25201"/>
              <a:gd name="connsiteY4" fmla="*/ 0 h 1405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1" h="1405103">
                <a:moveTo>
                  <a:pt x="0" y="0"/>
                </a:moveTo>
                <a:lnTo>
                  <a:pt x="0" y="1405103"/>
                </a:lnTo>
                <a:lnTo>
                  <a:pt x="25201" y="1379903"/>
                </a:lnTo>
                <a:lnTo>
                  <a:pt x="2520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74" name="Freihandform 73">
            <a:extLst>
              <a:ext uri="{FF2B5EF4-FFF2-40B4-BE49-F238E27FC236}">
                <a16:creationId xmlns:a16="http://schemas.microsoft.com/office/drawing/2014/main" id="{E7707E5A-2BB0-3463-7526-5C0EB04183BA}"/>
              </a:ext>
            </a:extLst>
          </p:cNvPr>
          <p:cNvSpPr/>
          <p:nvPr userDrawn="1"/>
        </p:nvSpPr>
        <p:spPr>
          <a:xfrm rot="18900000" flipH="1">
            <a:off x="6698137" y="5280265"/>
            <a:ext cx="25202" cy="1416220"/>
          </a:xfrm>
          <a:custGeom>
            <a:avLst/>
            <a:gdLst>
              <a:gd name="connsiteX0" fmla="*/ 1 w 25202"/>
              <a:gd name="connsiteY0" fmla="*/ 0 h 1416220"/>
              <a:gd name="connsiteX1" fmla="*/ 0 w 25202"/>
              <a:gd name="connsiteY1" fmla="*/ 1416220 h 1416220"/>
              <a:gd name="connsiteX2" fmla="*/ 25202 w 25202"/>
              <a:gd name="connsiteY2" fmla="*/ 1391018 h 1416220"/>
              <a:gd name="connsiteX3" fmla="*/ 25201 w 25202"/>
              <a:gd name="connsiteY3" fmla="*/ 0 h 1416220"/>
              <a:gd name="connsiteX4" fmla="*/ 1 w 25202"/>
              <a:gd name="connsiteY4" fmla="*/ 0 h 141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2" h="1416220">
                <a:moveTo>
                  <a:pt x="1" y="0"/>
                </a:moveTo>
                <a:lnTo>
                  <a:pt x="0" y="1416220"/>
                </a:lnTo>
                <a:lnTo>
                  <a:pt x="25202" y="1391018"/>
                </a:lnTo>
                <a:lnTo>
                  <a:pt x="25201" y="0"/>
                </a:lnTo>
                <a:lnTo>
                  <a:pt x="1" y="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75" name="Freihandform 74">
            <a:extLst>
              <a:ext uri="{FF2B5EF4-FFF2-40B4-BE49-F238E27FC236}">
                <a16:creationId xmlns:a16="http://schemas.microsoft.com/office/drawing/2014/main" id="{4D14F107-D265-011E-E39F-F9A26304A3A5}"/>
              </a:ext>
            </a:extLst>
          </p:cNvPr>
          <p:cNvSpPr/>
          <p:nvPr userDrawn="1"/>
        </p:nvSpPr>
        <p:spPr>
          <a:xfrm rot="18900000" flipH="1">
            <a:off x="9536293" y="5280267"/>
            <a:ext cx="25201" cy="1416218"/>
          </a:xfrm>
          <a:custGeom>
            <a:avLst/>
            <a:gdLst>
              <a:gd name="connsiteX0" fmla="*/ 1 w 25201"/>
              <a:gd name="connsiteY0" fmla="*/ 0 h 1416218"/>
              <a:gd name="connsiteX1" fmla="*/ 0 w 25201"/>
              <a:gd name="connsiteY1" fmla="*/ 1416218 h 1416218"/>
              <a:gd name="connsiteX2" fmla="*/ 25201 w 25201"/>
              <a:gd name="connsiteY2" fmla="*/ 1391017 h 1416218"/>
              <a:gd name="connsiteX3" fmla="*/ 25200 w 25201"/>
              <a:gd name="connsiteY3" fmla="*/ 0 h 1416218"/>
              <a:gd name="connsiteX4" fmla="*/ 1 w 25201"/>
              <a:gd name="connsiteY4" fmla="*/ 0 h 141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1" h="1416218">
                <a:moveTo>
                  <a:pt x="1" y="0"/>
                </a:moveTo>
                <a:lnTo>
                  <a:pt x="0" y="1416218"/>
                </a:lnTo>
                <a:lnTo>
                  <a:pt x="25201" y="1391017"/>
                </a:lnTo>
                <a:lnTo>
                  <a:pt x="25200" y="0"/>
                </a:lnTo>
                <a:lnTo>
                  <a:pt x="1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44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76" name="Freihandform 75">
            <a:extLst>
              <a:ext uri="{FF2B5EF4-FFF2-40B4-BE49-F238E27FC236}">
                <a16:creationId xmlns:a16="http://schemas.microsoft.com/office/drawing/2014/main" id="{FE5FEA66-A9EB-FE56-F133-84F6119C2DBB}"/>
              </a:ext>
            </a:extLst>
          </p:cNvPr>
          <p:cNvSpPr/>
          <p:nvPr userDrawn="1"/>
        </p:nvSpPr>
        <p:spPr>
          <a:xfrm rot="18900000" flipH="1">
            <a:off x="8121490" y="5288357"/>
            <a:ext cx="25202" cy="1406740"/>
          </a:xfrm>
          <a:custGeom>
            <a:avLst/>
            <a:gdLst>
              <a:gd name="connsiteX0" fmla="*/ 0 w 25202"/>
              <a:gd name="connsiteY0" fmla="*/ 0 h 1406740"/>
              <a:gd name="connsiteX1" fmla="*/ 1 w 25202"/>
              <a:gd name="connsiteY1" fmla="*/ 1406740 h 1406740"/>
              <a:gd name="connsiteX2" fmla="*/ 25202 w 25202"/>
              <a:gd name="connsiteY2" fmla="*/ 1381539 h 1406740"/>
              <a:gd name="connsiteX3" fmla="*/ 25200 w 25202"/>
              <a:gd name="connsiteY3" fmla="*/ 0 h 1406740"/>
              <a:gd name="connsiteX4" fmla="*/ 0 w 25202"/>
              <a:gd name="connsiteY4" fmla="*/ 0 h 1406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2" h="1406740">
                <a:moveTo>
                  <a:pt x="0" y="0"/>
                </a:moveTo>
                <a:lnTo>
                  <a:pt x="1" y="1406740"/>
                </a:lnTo>
                <a:lnTo>
                  <a:pt x="25202" y="1381539"/>
                </a:lnTo>
                <a:lnTo>
                  <a:pt x="2520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44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559BE2E6-DCB2-11E5-6AA0-E6EBC7946A72}"/>
              </a:ext>
            </a:extLst>
          </p:cNvPr>
          <p:cNvSpPr/>
          <p:nvPr userDrawn="1"/>
        </p:nvSpPr>
        <p:spPr>
          <a:xfrm rot="13500000" flipH="1">
            <a:off x="6732000" y="3848400"/>
            <a:ext cx="25200" cy="15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FF19EFC3-5039-5D4F-40D2-53A1413EF8F9}"/>
              </a:ext>
            </a:extLst>
          </p:cNvPr>
          <p:cNvSpPr/>
          <p:nvPr userDrawn="1"/>
        </p:nvSpPr>
        <p:spPr>
          <a:xfrm rot="13500000" flipH="1">
            <a:off x="8132400" y="3862800"/>
            <a:ext cx="25200" cy="15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1A96311E-3E23-67B6-3C08-550716A5F242}"/>
              </a:ext>
            </a:extLst>
          </p:cNvPr>
          <p:cNvSpPr/>
          <p:nvPr userDrawn="1"/>
        </p:nvSpPr>
        <p:spPr>
          <a:xfrm rot="13500000" flipH="1">
            <a:off x="9561430" y="3859200"/>
            <a:ext cx="25200" cy="15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80" name="Freihandform 79">
            <a:extLst>
              <a:ext uri="{FF2B5EF4-FFF2-40B4-BE49-F238E27FC236}">
                <a16:creationId xmlns:a16="http://schemas.microsoft.com/office/drawing/2014/main" id="{D5BF3B1A-0AFA-59B4-4275-B03DC9F5FFAE}"/>
              </a:ext>
            </a:extLst>
          </p:cNvPr>
          <p:cNvSpPr/>
          <p:nvPr userDrawn="1"/>
        </p:nvSpPr>
        <p:spPr>
          <a:xfrm rot="5400000">
            <a:off x="10471850" y="4081113"/>
            <a:ext cx="1057549" cy="1039729"/>
          </a:xfrm>
          <a:custGeom>
            <a:avLst/>
            <a:gdLst>
              <a:gd name="connsiteX0" fmla="*/ 0 w 1057549"/>
              <a:gd name="connsiteY0" fmla="*/ 0 h 1039729"/>
              <a:gd name="connsiteX1" fmla="*/ 35638 w 1057549"/>
              <a:gd name="connsiteY1" fmla="*/ 0 h 1039729"/>
              <a:gd name="connsiteX2" fmla="*/ 1057549 w 1057549"/>
              <a:gd name="connsiteY2" fmla="*/ 1021910 h 1039729"/>
              <a:gd name="connsiteX3" fmla="*/ 1039729 w 1057549"/>
              <a:gd name="connsiteY3" fmla="*/ 1039729 h 1039729"/>
              <a:gd name="connsiteX4" fmla="*/ 0 w 1057549"/>
              <a:gd name="connsiteY4" fmla="*/ 0 h 1039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7549" h="1039729">
                <a:moveTo>
                  <a:pt x="0" y="0"/>
                </a:moveTo>
                <a:lnTo>
                  <a:pt x="35638" y="0"/>
                </a:lnTo>
                <a:lnTo>
                  <a:pt x="1057549" y="1021910"/>
                </a:lnTo>
                <a:lnTo>
                  <a:pt x="1039729" y="10397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81" name="Freihandform 80">
            <a:extLst>
              <a:ext uri="{FF2B5EF4-FFF2-40B4-BE49-F238E27FC236}">
                <a16:creationId xmlns:a16="http://schemas.microsoft.com/office/drawing/2014/main" id="{C539650F-A1BE-A435-4202-A8DDDD17D7C0}"/>
              </a:ext>
            </a:extLst>
          </p:cNvPr>
          <p:cNvSpPr/>
          <p:nvPr userDrawn="1"/>
        </p:nvSpPr>
        <p:spPr>
          <a:xfrm>
            <a:off x="10450800" y="5473603"/>
            <a:ext cx="1024391" cy="1006572"/>
          </a:xfrm>
          <a:custGeom>
            <a:avLst/>
            <a:gdLst>
              <a:gd name="connsiteX0" fmla="*/ 17819 w 1024391"/>
              <a:gd name="connsiteY0" fmla="*/ 0 h 1006572"/>
              <a:gd name="connsiteX1" fmla="*/ 1024391 w 1024391"/>
              <a:gd name="connsiteY1" fmla="*/ 1006572 h 1006572"/>
              <a:gd name="connsiteX2" fmla="*/ 988751 w 1024391"/>
              <a:gd name="connsiteY2" fmla="*/ 1006572 h 1006572"/>
              <a:gd name="connsiteX3" fmla="*/ 0 w 1024391"/>
              <a:gd name="connsiteY3" fmla="*/ 17819 h 1006572"/>
              <a:gd name="connsiteX4" fmla="*/ 17819 w 1024391"/>
              <a:gd name="connsiteY4" fmla="*/ 0 h 1006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4391" h="1006572">
                <a:moveTo>
                  <a:pt x="17819" y="0"/>
                </a:moveTo>
                <a:lnTo>
                  <a:pt x="1024391" y="1006572"/>
                </a:lnTo>
                <a:lnTo>
                  <a:pt x="988751" y="1006572"/>
                </a:lnTo>
                <a:lnTo>
                  <a:pt x="0" y="17819"/>
                </a:lnTo>
                <a:lnTo>
                  <a:pt x="17819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201FE1A-FCE5-B7E1-536C-E4910254720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88" y="216265"/>
            <a:ext cx="2012696" cy="34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922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3447">
          <p15:clr>
            <a:srgbClr val="FBAE40"/>
          </p15:clr>
        </p15:guide>
        <p15:guide id="5" pos="326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Produkt) - Freisteller/Illustration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>
            <a:extLst>
              <a:ext uri="{FF2B5EF4-FFF2-40B4-BE49-F238E27FC236}">
                <a16:creationId xmlns:a16="http://schemas.microsoft.com/office/drawing/2014/main" id="{D41D339E-2B8E-B95F-F940-329F7CF3B686}"/>
              </a:ext>
            </a:extLst>
          </p:cNvPr>
          <p:cNvSpPr/>
          <p:nvPr userDrawn="1"/>
        </p:nvSpPr>
        <p:spPr>
          <a:xfrm>
            <a:off x="6911972" y="0"/>
            <a:ext cx="4619069" cy="64800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598D3D67-B0EB-63DA-9261-7C39DA3CF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4169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598D3D67-B0EB-63DA-9261-7C39DA3CF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3">
            <a:extLst>
              <a:ext uri="{FF2B5EF4-FFF2-40B4-BE49-F238E27FC236}">
                <a16:creationId xmlns:a16="http://schemas.microsoft.com/office/drawing/2014/main" id="{37643A99-6F6A-B94D-AE78-64505AF5C5F5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76001" y="215900"/>
            <a:ext cx="2015892" cy="573088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>
              <a:buFontTx/>
              <a:buNone/>
              <a:defRPr sz="110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GB" dirty="0"/>
              <a:t>Produktlogo mit Klick auf Icon einfügen:</a:t>
            </a:r>
            <a:br>
              <a:rPr lang="en-GB" dirty="0"/>
            </a:br>
            <a:r>
              <a:rPr lang="en-GB" dirty="0"/>
              <a:t>empfohlene Breite: 600px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A48EB7B-7513-2442-AEAD-B8A89FBA9A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780" y="4248150"/>
            <a:ext cx="4600996" cy="1584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88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einfüg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A39915B-9ABF-B14B-9D97-74BA32E4A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4" y="863601"/>
            <a:ext cx="4608513" cy="3240088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de-DE" dirty="0"/>
              <a:t>Titel einfügen</a:t>
            </a:r>
          </a:p>
        </p:txBody>
      </p:sp>
      <p:sp>
        <p:nvSpPr>
          <p:cNvPr id="30" name="Freihandform 29">
            <a:extLst>
              <a:ext uri="{FF2B5EF4-FFF2-40B4-BE49-F238E27FC236}">
                <a16:creationId xmlns:a16="http://schemas.microsoft.com/office/drawing/2014/main" id="{72D23644-C5C0-C9F8-C47E-389BD9DF98DB}"/>
              </a:ext>
            </a:extLst>
          </p:cNvPr>
          <p:cNvSpPr/>
          <p:nvPr userDrawn="1"/>
        </p:nvSpPr>
        <p:spPr>
          <a:xfrm rot="13500000" flipH="1">
            <a:off x="6029015" y="-129278"/>
            <a:ext cx="25201" cy="821927"/>
          </a:xfrm>
          <a:custGeom>
            <a:avLst/>
            <a:gdLst>
              <a:gd name="connsiteX0" fmla="*/ 1 w 25201"/>
              <a:gd name="connsiteY0" fmla="*/ 796727 h 821927"/>
              <a:gd name="connsiteX1" fmla="*/ 25201 w 25201"/>
              <a:gd name="connsiteY1" fmla="*/ 821927 h 821927"/>
              <a:gd name="connsiteX2" fmla="*/ 25200 w 25201"/>
              <a:gd name="connsiteY2" fmla="*/ 0 h 821927"/>
              <a:gd name="connsiteX3" fmla="*/ 0 w 25201"/>
              <a:gd name="connsiteY3" fmla="*/ 0 h 821927"/>
              <a:gd name="connsiteX4" fmla="*/ 1 w 25201"/>
              <a:gd name="connsiteY4" fmla="*/ 796727 h 82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1" h="821927">
                <a:moveTo>
                  <a:pt x="1" y="796727"/>
                </a:moveTo>
                <a:lnTo>
                  <a:pt x="25201" y="821927"/>
                </a:lnTo>
                <a:lnTo>
                  <a:pt x="25200" y="0"/>
                </a:lnTo>
                <a:lnTo>
                  <a:pt x="0" y="0"/>
                </a:lnTo>
                <a:lnTo>
                  <a:pt x="1" y="796727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1AD8E70-D794-621E-BC14-600A238E9E42}"/>
              </a:ext>
            </a:extLst>
          </p:cNvPr>
          <p:cNvSpPr/>
          <p:nvPr userDrawn="1"/>
        </p:nvSpPr>
        <p:spPr>
          <a:xfrm rot="13500000" flipH="1">
            <a:off x="10799689" y="730457"/>
            <a:ext cx="25200" cy="1368000"/>
          </a:xfrm>
          <a:prstGeom prst="rect">
            <a:avLst/>
          </a:prstGeom>
          <a:gradFill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61" name="Freihandform 60">
            <a:extLst>
              <a:ext uri="{FF2B5EF4-FFF2-40B4-BE49-F238E27FC236}">
                <a16:creationId xmlns:a16="http://schemas.microsoft.com/office/drawing/2014/main" id="{724A1D6F-BB71-EFD6-31D9-25DB24F17A3D}"/>
              </a:ext>
            </a:extLst>
          </p:cNvPr>
          <p:cNvSpPr/>
          <p:nvPr userDrawn="1"/>
        </p:nvSpPr>
        <p:spPr>
          <a:xfrm rot="16200000">
            <a:off x="10350000" y="-8909"/>
            <a:ext cx="900104" cy="917925"/>
          </a:xfrm>
          <a:custGeom>
            <a:avLst/>
            <a:gdLst>
              <a:gd name="connsiteX0" fmla="*/ 900104 w 900104"/>
              <a:gd name="connsiteY0" fmla="*/ 882287 h 917925"/>
              <a:gd name="connsiteX1" fmla="*/ 900104 w 900104"/>
              <a:gd name="connsiteY1" fmla="*/ 917925 h 917925"/>
              <a:gd name="connsiteX2" fmla="*/ 0 w 900104"/>
              <a:gd name="connsiteY2" fmla="*/ 17821 h 917925"/>
              <a:gd name="connsiteX3" fmla="*/ 17820 w 900104"/>
              <a:gd name="connsiteY3" fmla="*/ 0 h 917925"/>
              <a:gd name="connsiteX4" fmla="*/ 900104 w 900104"/>
              <a:gd name="connsiteY4" fmla="*/ 882287 h 91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0104" h="917925">
                <a:moveTo>
                  <a:pt x="900104" y="882287"/>
                </a:moveTo>
                <a:lnTo>
                  <a:pt x="900104" y="917925"/>
                </a:lnTo>
                <a:lnTo>
                  <a:pt x="0" y="17821"/>
                </a:lnTo>
                <a:lnTo>
                  <a:pt x="17820" y="0"/>
                </a:lnTo>
                <a:lnTo>
                  <a:pt x="900104" y="882287"/>
                </a:lnTo>
                <a:close/>
              </a:path>
            </a:pathLst>
          </a:custGeom>
          <a:gradFill>
            <a:gsLst>
              <a:gs pos="57000">
                <a:schemeClr val="accent4"/>
              </a:gs>
              <a:gs pos="100000">
                <a:schemeClr val="accent3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62" name="Freihandform 61">
            <a:extLst>
              <a:ext uri="{FF2B5EF4-FFF2-40B4-BE49-F238E27FC236}">
                <a16:creationId xmlns:a16="http://schemas.microsoft.com/office/drawing/2014/main" id="{912434E9-886F-BD95-190F-99B6AF6B934F}"/>
              </a:ext>
            </a:extLst>
          </p:cNvPr>
          <p:cNvSpPr/>
          <p:nvPr userDrawn="1"/>
        </p:nvSpPr>
        <p:spPr>
          <a:xfrm rot="2700000" flipH="1">
            <a:off x="6430228" y="-369959"/>
            <a:ext cx="25200" cy="2465411"/>
          </a:xfrm>
          <a:custGeom>
            <a:avLst/>
            <a:gdLst>
              <a:gd name="connsiteX0" fmla="*/ 25200 w 25200"/>
              <a:gd name="connsiteY0" fmla="*/ 25199 h 2465411"/>
              <a:gd name="connsiteX1" fmla="*/ 0 w 25200"/>
              <a:gd name="connsiteY1" fmla="*/ 0 h 2465411"/>
              <a:gd name="connsiteX2" fmla="*/ 0 w 25200"/>
              <a:gd name="connsiteY2" fmla="*/ 2465411 h 2465411"/>
              <a:gd name="connsiteX3" fmla="*/ 25200 w 25200"/>
              <a:gd name="connsiteY3" fmla="*/ 2465411 h 2465411"/>
              <a:gd name="connsiteX4" fmla="*/ 25200 w 25200"/>
              <a:gd name="connsiteY4" fmla="*/ 25199 h 2465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0" h="2465411">
                <a:moveTo>
                  <a:pt x="25200" y="25199"/>
                </a:moveTo>
                <a:lnTo>
                  <a:pt x="0" y="0"/>
                </a:lnTo>
                <a:lnTo>
                  <a:pt x="0" y="2465411"/>
                </a:lnTo>
                <a:lnTo>
                  <a:pt x="25200" y="2465411"/>
                </a:lnTo>
                <a:lnTo>
                  <a:pt x="25200" y="2519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63" name="Freihandform 62">
            <a:extLst>
              <a:ext uri="{FF2B5EF4-FFF2-40B4-BE49-F238E27FC236}">
                <a16:creationId xmlns:a16="http://schemas.microsoft.com/office/drawing/2014/main" id="{D0F42979-8AAA-66BE-58D0-0ED625CE826D}"/>
              </a:ext>
            </a:extLst>
          </p:cNvPr>
          <p:cNvSpPr/>
          <p:nvPr userDrawn="1"/>
        </p:nvSpPr>
        <p:spPr>
          <a:xfrm rot="2700000" flipH="1">
            <a:off x="7652140" y="-272169"/>
            <a:ext cx="25200" cy="1797652"/>
          </a:xfrm>
          <a:custGeom>
            <a:avLst/>
            <a:gdLst>
              <a:gd name="connsiteX0" fmla="*/ 0 w 25200"/>
              <a:gd name="connsiteY0" fmla="*/ 0 h 1797652"/>
              <a:gd name="connsiteX1" fmla="*/ 0 w 25200"/>
              <a:gd name="connsiteY1" fmla="*/ 1797652 h 1797652"/>
              <a:gd name="connsiteX2" fmla="*/ 25200 w 25200"/>
              <a:gd name="connsiteY2" fmla="*/ 1797652 h 1797652"/>
              <a:gd name="connsiteX3" fmla="*/ 25200 w 25200"/>
              <a:gd name="connsiteY3" fmla="*/ 25199 h 1797652"/>
              <a:gd name="connsiteX4" fmla="*/ 0 w 25200"/>
              <a:gd name="connsiteY4" fmla="*/ 0 h 1797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0" h="1797652">
                <a:moveTo>
                  <a:pt x="0" y="0"/>
                </a:moveTo>
                <a:lnTo>
                  <a:pt x="0" y="1797652"/>
                </a:lnTo>
                <a:lnTo>
                  <a:pt x="25200" y="1797652"/>
                </a:lnTo>
                <a:lnTo>
                  <a:pt x="25200" y="251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64" name="Freihandform 63">
            <a:extLst>
              <a:ext uri="{FF2B5EF4-FFF2-40B4-BE49-F238E27FC236}">
                <a16:creationId xmlns:a16="http://schemas.microsoft.com/office/drawing/2014/main" id="{9B074CEC-D04F-8433-9DC8-FBD424DA77A9}"/>
              </a:ext>
            </a:extLst>
          </p:cNvPr>
          <p:cNvSpPr/>
          <p:nvPr userDrawn="1"/>
        </p:nvSpPr>
        <p:spPr>
          <a:xfrm>
            <a:off x="11227390" y="1768983"/>
            <a:ext cx="303652" cy="321471"/>
          </a:xfrm>
          <a:custGeom>
            <a:avLst/>
            <a:gdLst>
              <a:gd name="connsiteX0" fmla="*/ 303652 w 303652"/>
              <a:gd name="connsiteY0" fmla="*/ 0 h 321471"/>
              <a:gd name="connsiteX1" fmla="*/ 303652 w 303652"/>
              <a:gd name="connsiteY1" fmla="*/ 35639 h 321471"/>
              <a:gd name="connsiteX2" fmla="*/ 17819 w 303652"/>
              <a:gd name="connsiteY2" fmla="*/ 321471 h 321471"/>
              <a:gd name="connsiteX3" fmla="*/ 0 w 303652"/>
              <a:gd name="connsiteY3" fmla="*/ 303652 h 321471"/>
              <a:gd name="connsiteX4" fmla="*/ 303652 w 303652"/>
              <a:gd name="connsiteY4" fmla="*/ 0 h 321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652" h="321471">
                <a:moveTo>
                  <a:pt x="303652" y="0"/>
                </a:moveTo>
                <a:lnTo>
                  <a:pt x="303652" y="35639"/>
                </a:lnTo>
                <a:lnTo>
                  <a:pt x="17819" y="321471"/>
                </a:lnTo>
                <a:lnTo>
                  <a:pt x="0" y="303652"/>
                </a:lnTo>
                <a:lnTo>
                  <a:pt x="303652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5698393-0808-7FCA-F773-32E8036B2972}"/>
              </a:ext>
            </a:extLst>
          </p:cNvPr>
          <p:cNvSpPr/>
          <p:nvPr userDrawn="1"/>
        </p:nvSpPr>
        <p:spPr>
          <a:xfrm rot="2700000" flipH="1">
            <a:off x="6681600" y="4517816"/>
            <a:ext cx="25200" cy="20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68" name="Freihandform 67">
            <a:extLst>
              <a:ext uri="{FF2B5EF4-FFF2-40B4-BE49-F238E27FC236}">
                <a16:creationId xmlns:a16="http://schemas.microsoft.com/office/drawing/2014/main" id="{C2BFA7B6-B8FE-A084-B95F-C2AFCB31D1E3}"/>
              </a:ext>
            </a:extLst>
          </p:cNvPr>
          <p:cNvSpPr/>
          <p:nvPr userDrawn="1"/>
        </p:nvSpPr>
        <p:spPr>
          <a:xfrm>
            <a:off x="6469913" y="5832478"/>
            <a:ext cx="683160" cy="665341"/>
          </a:xfrm>
          <a:custGeom>
            <a:avLst/>
            <a:gdLst>
              <a:gd name="connsiteX0" fmla="*/ 665341 w 683160"/>
              <a:gd name="connsiteY0" fmla="*/ 0 h 665341"/>
              <a:gd name="connsiteX1" fmla="*/ 683160 w 683160"/>
              <a:gd name="connsiteY1" fmla="*/ 17819 h 665341"/>
              <a:gd name="connsiteX2" fmla="*/ 35638 w 683160"/>
              <a:gd name="connsiteY2" fmla="*/ 665341 h 665341"/>
              <a:gd name="connsiteX3" fmla="*/ 0 w 683160"/>
              <a:gd name="connsiteY3" fmla="*/ 665341 h 665341"/>
              <a:gd name="connsiteX4" fmla="*/ 665341 w 683160"/>
              <a:gd name="connsiteY4" fmla="*/ 0 h 665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3160" h="665341">
                <a:moveTo>
                  <a:pt x="665341" y="0"/>
                </a:moveTo>
                <a:lnTo>
                  <a:pt x="683160" y="17819"/>
                </a:lnTo>
                <a:lnTo>
                  <a:pt x="35638" y="665341"/>
                </a:lnTo>
                <a:lnTo>
                  <a:pt x="0" y="665341"/>
                </a:lnTo>
                <a:lnTo>
                  <a:pt x="665341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75" name="Bildplatzhalter 12">
            <a:extLst>
              <a:ext uri="{FF2B5EF4-FFF2-40B4-BE49-F238E27FC236}">
                <a16:creationId xmlns:a16="http://schemas.microsoft.com/office/drawing/2014/main" id="{47106924-B4CF-9BAD-117A-D97AA6A86D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84776" y="175"/>
            <a:ext cx="6346265" cy="6480000"/>
          </a:xfrm>
          <a:prstGeom prst="rect">
            <a:avLst/>
          </a:prstGeom>
          <a:noFill/>
        </p:spPr>
        <p:txBody>
          <a:bodyPr lIns="144000" tIns="144000" rIns="144000" bIns="144000" anchor="ctr" anchorCtr="0"/>
          <a:lstStyle>
            <a:lvl1pPr marL="0" indent="0" algn="r">
              <a:buNone/>
              <a:defRPr sz="1400">
                <a:solidFill>
                  <a:schemeClr val="accent6"/>
                </a:solidFill>
                <a:latin typeface="+mj-lt"/>
              </a:defRPr>
            </a:lvl1pPr>
          </a:lstStyle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 err="1"/>
              <a:t>Freisteller</a:t>
            </a:r>
            <a:r>
              <a:rPr lang="en-GB" dirty="0"/>
              <a:t> oder Illustration </a:t>
            </a:r>
            <a:r>
              <a:rPr lang="en-GB" dirty="0" err="1"/>
              <a:t>platzieren</a:t>
            </a:r>
            <a:r>
              <a:rPr lang="en-GB" dirty="0"/>
              <a:t>: </a:t>
            </a:r>
            <a:br>
              <a:rPr lang="en-GB" dirty="0"/>
            </a:br>
            <a:r>
              <a:rPr lang="en-GB" dirty="0"/>
              <a:t>Klick auf </a:t>
            </a:r>
            <a:r>
              <a:rPr lang="en-GB" dirty="0" err="1"/>
              <a:t>Fläche</a:t>
            </a:r>
            <a:r>
              <a:rPr lang="en-GB" dirty="0"/>
              <a:t> › Menü › </a:t>
            </a:r>
            <a:r>
              <a:rPr lang="en-GB" dirty="0" err="1"/>
              <a:t>Einfügen</a:t>
            </a:r>
            <a:r>
              <a:rPr lang="en-GB" dirty="0"/>
              <a:t> › Bild </a:t>
            </a:r>
            <a:r>
              <a:rPr lang="en-GB" dirty="0" err="1"/>
              <a:t>aus</a:t>
            </a:r>
            <a:r>
              <a:rPr lang="en-GB" dirty="0"/>
              <a:t> </a:t>
            </a:r>
            <a:r>
              <a:rPr lang="en-GB" dirty="0" err="1"/>
              <a:t>Datei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› </a:t>
            </a:r>
            <a:r>
              <a:rPr lang="en-GB" dirty="0" err="1"/>
              <a:t>Ausschnitt</a:t>
            </a:r>
            <a:r>
              <a:rPr lang="en-GB" dirty="0"/>
              <a:t> </a:t>
            </a:r>
            <a:r>
              <a:rPr lang="en-GB" dirty="0" err="1"/>
              <a:t>festlegen</a:t>
            </a:r>
            <a:r>
              <a:rPr lang="en-GB" dirty="0"/>
              <a:t>: </a:t>
            </a:r>
            <a:r>
              <a:rPr lang="en-GB" dirty="0" err="1"/>
              <a:t>Bildformat</a:t>
            </a:r>
            <a:r>
              <a:rPr lang="en-GB" dirty="0"/>
              <a:t> › </a:t>
            </a:r>
            <a:r>
              <a:rPr lang="en-GB" dirty="0" err="1"/>
              <a:t>Zuschneiden</a:t>
            </a:r>
            <a:r>
              <a:rPr lang="en-GB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04209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85">
          <p15:clr>
            <a:srgbClr val="FBAE40"/>
          </p15:clr>
        </p15:guide>
        <p15:guide id="2" orient="horz" pos="2676">
          <p15:clr>
            <a:srgbClr val="FBAE40"/>
          </p15:clr>
        </p15:guide>
        <p15:guide id="3" orient="horz" pos="544">
          <p15:clr>
            <a:srgbClr val="FBAE40"/>
          </p15:clr>
        </p15:guide>
        <p15:guide id="4" pos="4354">
          <p15:clr>
            <a:srgbClr val="FBAE40"/>
          </p15:clr>
        </p15:guide>
        <p15:guide id="5" pos="3447">
          <p15:clr>
            <a:srgbClr val="FBAE40"/>
          </p15:clr>
        </p15:guide>
        <p15:guide id="6" pos="326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tags" Target="../tags/tag34.xml"/><Relationship Id="rId8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CD689E5-0BE6-6314-4BFC-AFB0470FE984}"/>
              </a:ext>
            </a:extLst>
          </p:cNvPr>
          <p:cNvGraphicFramePr>
            <a:graphicFrameLocks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047866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592" imgH="591" progId="TCLayout.ActiveDocument.1">
                  <p:embed/>
                </p:oleObj>
              </mc:Choice>
              <mc:Fallback>
                <p:oleObj name="think-cell Folie" r:id="rId42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CD689E5-0BE6-6314-4BFC-AFB0470FE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7FF0F1E-0402-BB67-9648-6D148F6C5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51B3A41-3A9A-3839-B050-FECBF1A1B0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259" y="1511300"/>
            <a:ext cx="10367963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021D4-3023-2394-1F1B-1234DE06ED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39" cy="360001"/>
          </a:xfrm>
          <a:prstGeom prst="rect">
            <a:avLst/>
          </a:prstGeom>
        </p:spPr>
        <p:txBody>
          <a:bodyPr vert="horz" wrap="none" lIns="0" tIns="0" rIns="36000" bIns="0" rtlCol="0" anchor="ctr"/>
          <a:lstStyle>
            <a:lvl1pPr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213C0181-B7FB-42DB-8998-EED128388F4C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6493CF-CDCB-3B9F-1CE4-7FBC734571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39" y="6120000"/>
            <a:ext cx="8484584" cy="360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171450" indent="-171450" algn="l">
              <a:buFont typeface="Axiforma for Sec" pitchFamily="2" charset="0"/>
              <a:buChar char="|"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F2AC0E-2EA0-EDF6-182B-7C459A663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63" y="6119684"/>
            <a:ext cx="431736" cy="360001"/>
          </a:xfrm>
          <a:prstGeom prst="rect">
            <a:avLst/>
          </a:prstGeom>
        </p:spPr>
        <p:txBody>
          <a:bodyPr wrap="none" lIns="0" tIns="0" rIns="0" bIns="0" anchor="ctr"/>
          <a:lstStyle>
            <a:lvl1pPr>
              <a:defRPr lang="en-US" sz="800" smtClean="0">
                <a:latin typeface="+mj-lt"/>
              </a:defRPr>
            </a:lvl1pPr>
          </a:lstStyle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F347B-807A-108A-9A10-F216D9DE4D33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401" cy="86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442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714" r:id="rId3"/>
    <p:sldLayoutId id="2147483715" r:id="rId4"/>
    <p:sldLayoutId id="2147483703" r:id="rId5"/>
    <p:sldLayoutId id="2147483707" r:id="rId6"/>
    <p:sldLayoutId id="2147483725" r:id="rId7"/>
    <p:sldLayoutId id="2147483713" r:id="rId8"/>
    <p:sldLayoutId id="2147483676" r:id="rId9"/>
    <p:sldLayoutId id="2147483677" r:id="rId10"/>
    <p:sldLayoutId id="2147483681" r:id="rId11"/>
    <p:sldLayoutId id="2147483720" r:id="rId12"/>
    <p:sldLayoutId id="2147483726" r:id="rId13"/>
    <p:sldLayoutId id="2147483727" r:id="rId14"/>
    <p:sldLayoutId id="2147483728" r:id="rId15"/>
    <p:sldLayoutId id="2147483682" r:id="rId16"/>
    <p:sldLayoutId id="2147483710" r:id="rId17"/>
    <p:sldLayoutId id="2147483724" r:id="rId18"/>
    <p:sldLayoutId id="2147483683" r:id="rId19"/>
    <p:sldLayoutId id="2147483704" r:id="rId20"/>
    <p:sldLayoutId id="2147483684" r:id="rId21"/>
    <p:sldLayoutId id="2147483693" r:id="rId22"/>
    <p:sldLayoutId id="2147483694" r:id="rId23"/>
    <p:sldLayoutId id="2147483697" r:id="rId24"/>
    <p:sldLayoutId id="2147483695" r:id="rId25"/>
    <p:sldLayoutId id="2147483696" r:id="rId26"/>
    <p:sldLayoutId id="2147483723" r:id="rId27"/>
    <p:sldLayoutId id="2147483686" r:id="rId28"/>
    <p:sldLayoutId id="2147483716" r:id="rId29"/>
    <p:sldLayoutId id="2147483687" r:id="rId30"/>
    <p:sldLayoutId id="2147483717" r:id="rId31"/>
    <p:sldLayoutId id="2147483685" r:id="rId32"/>
    <p:sldLayoutId id="2147483688" r:id="rId33"/>
    <p:sldLayoutId id="2147483699" r:id="rId34"/>
    <p:sldLayoutId id="2147483691" r:id="rId35"/>
    <p:sldLayoutId id="2147483692" r:id="rId36"/>
    <p:sldLayoutId id="2147483700" r:id="rId37"/>
    <p:sldLayoutId id="2147483701" r:id="rId38"/>
    <p:sldLayoutId id="2147483729" r:id="rId39"/>
  </p:sldLayoutIdLst>
  <p:hf hdr="0"/>
  <p:txStyles>
    <p:titleStyle>
      <a:lvl1pPr algn="l" defTabSz="864017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4" algn="l" defTabSz="864017" rtl="0" eaLnBrk="1" latinLnBrk="0" hangingPunct="1">
        <a:lnSpc>
          <a:spcPct val="120000"/>
        </a:lnSpc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44000" algn="l" defTabSz="864017" rtl="0" eaLnBrk="1" latinLnBrk="0" hangingPunct="1">
        <a:lnSpc>
          <a:spcPct val="120000"/>
        </a:lnSpc>
        <a:spcBef>
          <a:spcPts val="200"/>
        </a:spcBef>
        <a:spcAft>
          <a:spcPts val="200"/>
        </a:spcAft>
        <a:buClr>
          <a:schemeClr val="accent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144000" algn="l" defTabSz="864017" rtl="0" eaLnBrk="1" latinLnBrk="0" hangingPunct="1">
        <a:lnSpc>
          <a:spcPct val="120000"/>
        </a:lnSpc>
        <a:spcBef>
          <a:spcPts val="100"/>
        </a:spcBef>
        <a:spcAft>
          <a:spcPts val="100"/>
        </a:spcAft>
        <a:buClr>
          <a:schemeClr val="accent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144000" algn="l" defTabSz="864017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pos="363">
          <p15:clr>
            <a:srgbClr val="F26B43"/>
          </p15:clr>
        </p15:guide>
        <p15:guide id="13" pos="6894">
          <p15:clr>
            <a:srgbClr val="F26B43"/>
          </p15:clr>
        </p15:guide>
        <p15:guide id="14" orient="horz" pos="952">
          <p15:clr>
            <a:srgbClr val="F26B43"/>
          </p15:clr>
        </p15:guide>
        <p15:guide id="16" orient="horz" pos="367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CD689E5-0BE6-6314-4BFC-AFB0470FE984}"/>
              </a:ext>
            </a:extLst>
          </p:cNvPr>
          <p:cNvGraphicFramePr>
            <a:graphicFrameLocks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047866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592" imgH="591" progId="TCLayout.ActiveDocument.1">
                  <p:embed/>
                </p:oleObj>
              </mc:Choice>
              <mc:Fallback>
                <p:oleObj name="think-cell Folie" r:id="rId31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CD689E5-0BE6-6314-4BFC-AFB0470FE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7FF0F1E-0402-BB67-9648-6D148F6C5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51B3A41-3A9A-3839-B050-FECBF1A1B0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259" y="1511300"/>
            <a:ext cx="10367963" cy="43211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Um die Textebene und somit die Schriftformatierung zu ändern, klicke im Startmenü unter „Absatz“ auf „Listenebene verringern“ </a:t>
            </a:r>
            <a:r>
              <a:rPr lang="de-DE" dirty="0" err="1"/>
              <a:t>bzw</a:t>
            </a:r>
            <a:r>
              <a:rPr lang="de-DE" dirty="0"/>
              <a:t> „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021D4-3023-2394-1F1B-1234DE06ED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27200" y="6120000"/>
            <a:ext cx="732439" cy="360001"/>
          </a:xfrm>
          <a:prstGeom prst="rect">
            <a:avLst/>
          </a:prstGeom>
        </p:spPr>
        <p:txBody>
          <a:bodyPr vert="horz" wrap="none" lIns="0" tIns="0" rIns="36000" bIns="0" rtlCol="0" anchor="ctr"/>
          <a:lstStyle>
            <a:lvl1pPr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1ADD2A21-7A61-4333-A4B5-5536CF08F186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6493CF-CDCB-3B9F-1CE4-7FBC734571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9639" y="6120000"/>
            <a:ext cx="8484584" cy="360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171450" indent="-171450" algn="l">
              <a:buFont typeface="Axiforma for Sec" pitchFamily="2" charset="0"/>
              <a:buChar char="|"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F2AC0E-2EA0-EDF6-182B-7C459A663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63" y="6119684"/>
            <a:ext cx="431736" cy="360001"/>
          </a:xfrm>
          <a:prstGeom prst="rect">
            <a:avLst/>
          </a:prstGeom>
        </p:spPr>
        <p:txBody>
          <a:bodyPr wrap="none" lIns="0" tIns="0" rIns="0" bIns="0" anchor="ctr"/>
          <a:lstStyle>
            <a:lvl1pPr>
              <a:defRPr lang="en-US" sz="800" smtClean="0">
                <a:latin typeface="+mj-lt"/>
              </a:defRPr>
            </a:lvl1pPr>
          </a:lstStyle>
          <a:p>
            <a:fld id="{31B7CF8D-B682-4A81-B147-3F9080744213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A877577-1CFB-DFC9-AD8D-3B7744CFB6D3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6249667"/>
            <a:ext cx="509401" cy="86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240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</p:sldLayoutIdLst>
  <p:hf hdr="0"/>
  <p:txStyles>
    <p:titleStyle>
      <a:lvl1pPr algn="l" defTabSz="864017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4" algn="l" defTabSz="864017" rtl="0" eaLnBrk="1" latinLnBrk="0" hangingPunct="1">
        <a:lnSpc>
          <a:spcPct val="120000"/>
        </a:lnSpc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44000" algn="l" defTabSz="864017" rtl="0" eaLnBrk="1" latinLnBrk="0" hangingPunct="1">
        <a:lnSpc>
          <a:spcPct val="120000"/>
        </a:lnSpc>
        <a:spcBef>
          <a:spcPts val="200"/>
        </a:spcBef>
        <a:spcAft>
          <a:spcPts val="2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144000" algn="l" defTabSz="864017" rtl="0" eaLnBrk="1" latinLnBrk="0" hangingPunct="1">
        <a:lnSpc>
          <a:spcPct val="120000"/>
        </a:lnSpc>
        <a:spcBef>
          <a:spcPts val="100"/>
        </a:spcBef>
        <a:spcAft>
          <a:spcPts val="1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144000" algn="l" defTabSz="864017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pos="363">
          <p15:clr>
            <a:srgbClr val="F26B43"/>
          </p15:clr>
        </p15:guide>
        <p15:guide id="13" pos="6894">
          <p15:clr>
            <a:srgbClr val="F26B43"/>
          </p15:clr>
        </p15:guide>
        <p15:guide id="14" orient="horz" pos="952">
          <p15:clr>
            <a:srgbClr val="F26B43"/>
          </p15:clr>
        </p15:guide>
        <p15:guide id="16" orient="horz" pos="36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25.xml"/><Relationship Id="rId7" Type="http://schemas.openxmlformats.org/officeDocument/2006/relationships/image" Target="../media/image30.svg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26.xml"/><Relationship Id="rId4" Type="http://schemas.openxmlformats.org/officeDocument/2006/relationships/image" Target="../media/image2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27.xml"/><Relationship Id="rId4" Type="http://schemas.openxmlformats.org/officeDocument/2006/relationships/image" Target="../media/image2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28.xml"/><Relationship Id="rId4" Type="http://schemas.openxmlformats.org/officeDocument/2006/relationships/image" Target="../media/image28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9.xml"/><Relationship Id="rId4" Type="http://schemas.openxmlformats.org/officeDocument/2006/relationships/image" Target="../media/image28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30.xml"/><Relationship Id="rId4" Type="http://schemas.openxmlformats.org/officeDocument/2006/relationships/image" Target="../media/image28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31.xml"/><Relationship Id="rId4" Type="http://schemas.openxmlformats.org/officeDocument/2006/relationships/image" Target="../media/image28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32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32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33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28.emf"/><Relationship Id="rId9" Type="http://schemas.microsoft.com/office/2007/relationships/diagramDrawing" Target="../diagrams/drawing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34.xml"/><Relationship Id="rId5" Type="http://schemas.openxmlformats.org/officeDocument/2006/relationships/image" Target="../media/image31.jpeg"/><Relationship Id="rId4" Type="http://schemas.openxmlformats.org/officeDocument/2006/relationships/image" Target="../media/image2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35.xml"/><Relationship Id="rId4" Type="http://schemas.openxmlformats.org/officeDocument/2006/relationships/image" Target="../media/image3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36.xml"/><Relationship Id="rId6" Type="http://schemas.openxmlformats.org/officeDocument/2006/relationships/image" Target="../media/image33.jp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37.xml"/><Relationship Id="rId4" Type="http://schemas.openxmlformats.org/officeDocument/2006/relationships/image" Target="../media/image32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38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39.xml"/><Relationship Id="rId4" Type="http://schemas.openxmlformats.org/officeDocument/2006/relationships/image" Target="../media/image28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353.xml"/><Relationship Id="rId18" Type="http://schemas.openxmlformats.org/officeDocument/2006/relationships/tags" Target="../tags/tag358.xml"/><Relationship Id="rId26" Type="http://schemas.openxmlformats.org/officeDocument/2006/relationships/tags" Target="../tags/tag366.xml"/><Relationship Id="rId39" Type="http://schemas.openxmlformats.org/officeDocument/2006/relationships/oleObject" Target="../embeddings/oleObject40.bin"/><Relationship Id="rId21" Type="http://schemas.openxmlformats.org/officeDocument/2006/relationships/tags" Target="../tags/tag361.xml"/><Relationship Id="rId34" Type="http://schemas.openxmlformats.org/officeDocument/2006/relationships/tags" Target="../tags/tag374.xml"/><Relationship Id="rId42" Type="http://schemas.openxmlformats.org/officeDocument/2006/relationships/image" Target="../media/image25.svg"/><Relationship Id="rId47" Type="http://schemas.openxmlformats.org/officeDocument/2006/relationships/image" Target="../media/image36.svg"/><Relationship Id="rId7" Type="http://schemas.openxmlformats.org/officeDocument/2006/relationships/tags" Target="../tags/tag347.xml"/><Relationship Id="rId2" Type="http://schemas.openxmlformats.org/officeDocument/2006/relationships/tags" Target="../tags/tag342.xml"/><Relationship Id="rId16" Type="http://schemas.openxmlformats.org/officeDocument/2006/relationships/tags" Target="../tags/tag356.xml"/><Relationship Id="rId29" Type="http://schemas.openxmlformats.org/officeDocument/2006/relationships/tags" Target="../tags/tag369.xml"/><Relationship Id="rId11" Type="http://schemas.openxmlformats.org/officeDocument/2006/relationships/tags" Target="../tags/tag351.xml"/><Relationship Id="rId24" Type="http://schemas.openxmlformats.org/officeDocument/2006/relationships/tags" Target="../tags/tag364.xml"/><Relationship Id="rId32" Type="http://schemas.openxmlformats.org/officeDocument/2006/relationships/tags" Target="../tags/tag372.xml"/><Relationship Id="rId37" Type="http://schemas.openxmlformats.org/officeDocument/2006/relationships/tags" Target="../tags/tag377.xml"/><Relationship Id="rId40" Type="http://schemas.openxmlformats.org/officeDocument/2006/relationships/image" Target="../media/image22.emf"/><Relationship Id="rId45" Type="http://schemas.openxmlformats.org/officeDocument/2006/relationships/image" Target="../media/image34.svg"/><Relationship Id="rId5" Type="http://schemas.openxmlformats.org/officeDocument/2006/relationships/tags" Target="../tags/tag345.xml"/><Relationship Id="rId15" Type="http://schemas.openxmlformats.org/officeDocument/2006/relationships/tags" Target="../tags/tag355.xml"/><Relationship Id="rId23" Type="http://schemas.openxmlformats.org/officeDocument/2006/relationships/tags" Target="../tags/tag363.xml"/><Relationship Id="rId28" Type="http://schemas.openxmlformats.org/officeDocument/2006/relationships/tags" Target="../tags/tag368.xml"/><Relationship Id="rId36" Type="http://schemas.openxmlformats.org/officeDocument/2006/relationships/tags" Target="../tags/tag376.xml"/><Relationship Id="rId49" Type="http://schemas.openxmlformats.org/officeDocument/2006/relationships/image" Target="../media/image38.svg"/><Relationship Id="rId10" Type="http://schemas.openxmlformats.org/officeDocument/2006/relationships/tags" Target="../tags/tag350.xml"/><Relationship Id="rId19" Type="http://schemas.openxmlformats.org/officeDocument/2006/relationships/tags" Target="../tags/tag359.xml"/><Relationship Id="rId31" Type="http://schemas.openxmlformats.org/officeDocument/2006/relationships/tags" Target="../tags/tag371.xml"/><Relationship Id="rId44" Type="http://schemas.openxmlformats.org/officeDocument/2006/relationships/image" Target="../media/image26.svg"/><Relationship Id="rId4" Type="http://schemas.openxmlformats.org/officeDocument/2006/relationships/tags" Target="../tags/tag344.xml"/><Relationship Id="rId9" Type="http://schemas.openxmlformats.org/officeDocument/2006/relationships/tags" Target="../tags/tag349.xml"/><Relationship Id="rId14" Type="http://schemas.openxmlformats.org/officeDocument/2006/relationships/tags" Target="../tags/tag354.xml"/><Relationship Id="rId22" Type="http://schemas.openxmlformats.org/officeDocument/2006/relationships/tags" Target="../tags/tag362.xml"/><Relationship Id="rId27" Type="http://schemas.openxmlformats.org/officeDocument/2006/relationships/tags" Target="../tags/tag367.xml"/><Relationship Id="rId30" Type="http://schemas.openxmlformats.org/officeDocument/2006/relationships/tags" Target="../tags/tag370.xml"/><Relationship Id="rId35" Type="http://schemas.openxmlformats.org/officeDocument/2006/relationships/tags" Target="../tags/tag375.xml"/><Relationship Id="rId43" Type="http://schemas.openxmlformats.org/officeDocument/2006/relationships/image" Target="../media/image23.svg"/><Relationship Id="rId48" Type="http://schemas.openxmlformats.org/officeDocument/2006/relationships/image" Target="../media/image37.svg"/><Relationship Id="rId8" Type="http://schemas.openxmlformats.org/officeDocument/2006/relationships/tags" Target="../tags/tag348.xml"/><Relationship Id="rId3" Type="http://schemas.openxmlformats.org/officeDocument/2006/relationships/tags" Target="../tags/tag343.xml"/><Relationship Id="rId12" Type="http://schemas.openxmlformats.org/officeDocument/2006/relationships/tags" Target="../tags/tag352.xml"/><Relationship Id="rId17" Type="http://schemas.openxmlformats.org/officeDocument/2006/relationships/tags" Target="../tags/tag357.xml"/><Relationship Id="rId25" Type="http://schemas.openxmlformats.org/officeDocument/2006/relationships/tags" Target="../tags/tag365.xml"/><Relationship Id="rId33" Type="http://schemas.openxmlformats.org/officeDocument/2006/relationships/tags" Target="../tags/tag373.xml"/><Relationship Id="rId38" Type="http://schemas.openxmlformats.org/officeDocument/2006/relationships/slideLayout" Target="../slideLayouts/slideLayout32.xml"/><Relationship Id="rId46" Type="http://schemas.openxmlformats.org/officeDocument/2006/relationships/image" Target="../media/image35.svg"/><Relationship Id="rId20" Type="http://schemas.openxmlformats.org/officeDocument/2006/relationships/tags" Target="../tags/tag360.xml"/><Relationship Id="rId41" Type="http://schemas.openxmlformats.org/officeDocument/2006/relationships/image" Target="../media/image24.svg"/><Relationship Id="rId1" Type="http://schemas.openxmlformats.org/officeDocument/2006/relationships/tags" Target="../tags/tag341.xml"/><Relationship Id="rId6" Type="http://schemas.openxmlformats.org/officeDocument/2006/relationships/tags" Target="../tags/tag34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173.xml"/><Relationship Id="rId21" Type="http://schemas.openxmlformats.org/officeDocument/2006/relationships/tags" Target="../tags/tag77.xml"/><Relationship Id="rId42" Type="http://schemas.openxmlformats.org/officeDocument/2006/relationships/tags" Target="../tags/tag98.xml"/><Relationship Id="rId63" Type="http://schemas.openxmlformats.org/officeDocument/2006/relationships/tags" Target="../tags/tag119.xml"/><Relationship Id="rId84" Type="http://schemas.openxmlformats.org/officeDocument/2006/relationships/tags" Target="../tags/tag140.xml"/><Relationship Id="rId138" Type="http://schemas.openxmlformats.org/officeDocument/2006/relationships/tags" Target="../tags/tag194.xml"/><Relationship Id="rId159" Type="http://schemas.openxmlformats.org/officeDocument/2006/relationships/tags" Target="../tags/tag215.xml"/><Relationship Id="rId170" Type="http://schemas.openxmlformats.org/officeDocument/2006/relationships/tags" Target="../tags/tag226.xml"/><Relationship Id="rId191" Type="http://schemas.openxmlformats.org/officeDocument/2006/relationships/tags" Target="../tags/tag247.xml"/><Relationship Id="rId205" Type="http://schemas.openxmlformats.org/officeDocument/2006/relationships/tags" Target="../tags/tag261.xml"/><Relationship Id="rId226" Type="http://schemas.openxmlformats.org/officeDocument/2006/relationships/tags" Target="../tags/tag282.xml"/><Relationship Id="rId247" Type="http://schemas.openxmlformats.org/officeDocument/2006/relationships/slideLayout" Target="../slideLayouts/slideLayout21.xml"/><Relationship Id="rId107" Type="http://schemas.openxmlformats.org/officeDocument/2006/relationships/tags" Target="../tags/tag163.xml"/><Relationship Id="rId11" Type="http://schemas.openxmlformats.org/officeDocument/2006/relationships/tags" Target="../tags/tag67.xml"/><Relationship Id="rId32" Type="http://schemas.openxmlformats.org/officeDocument/2006/relationships/tags" Target="../tags/tag88.xml"/><Relationship Id="rId53" Type="http://schemas.openxmlformats.org/officeDocument/2006/relationships/tags" Target="../tags/tag109.xml"/><Relationship Id="rId74" Type="http://schemas.openxmlformats.org/officeDocument/2006/relationships/tags" Target="../tags/tag130.xml"/><Relationship Id="rId128" Type="http://schemas.openxmlformats.org/officeDocument/2006/relationships/tags" Target="../tags/tag184.xml"/><Relationship Id="rId149" Type="http://schemas.openxmlformats.org/officeDocument/2006/relationships/tags" Target="../tags/tag205.xml"/><Relationship Id="rId5" Type="http://schemas.openxmlformats.org/officeDocument/2006/relationships/tags" Target="../tags/tag61.xml"/><Relationship Id="rId95" Type="http://schemas.openxmlformats.org/officeDocument/2006/relationships/tags" Target="../tags/tag151.xml"/><Relationship Id="rId160" Type="http://schemas.openxmlformats.org/officeDocument/2006/relationships/tags" Target="../tags/tag216.xml"/><Relationship Id="rId181" Type="http://schemas.openxmlformats.org/officeDocument/2006/relationships/tags" Target="../tags/tag237.xml"/><Relationship Id="rId216" Type="http://schemas.openxmlformats.org/officeDocument/2006/relationships/tags" Target="../tags/tag272.xml"/><Relationship Id="rId237" Type="http://schemas.openxmlformats.org/officeDocument/2006/relationships/tags" Target="../tags/tag293.xml"/><Relationship Id="rId22" Type="http://schemas.openxmlformats.org/officeDocument/2006/relationships/tags" Target="../tags/tag78.xml"/><Relationship Id="rId43" Type="http://schemas.openxmlformats.org/officeDocument/2006/relationships/tags" Target="../tags/tag99.xml"/><Relationship Id="rId64" Type="http://schemas.openxmlformats.org/officeDocument/2006/relationships/tags" Target="../tags/tag120.xml"/><Relationship Id="rId118" Type="http://schemas.openxmlformats.org/officeDocument/2006/relationships/tags" Target="../tags/tag174.xml"/><Relationship Id="rId139" Type="http://schemas.openxmlformats.org/officeDocument/2006/relationships/tags" Target="../tags/tag195.xml"/><Relationship Id="rId85" Type="http://schemas.openxmlformats.org/officeDocument/2006/relationships/tags" Target="../tags/tag141.xml"/><Relationship Id="rId150" Type="http://schemas.openxmlformats.org/officeDocument/2006/relationships/tags" Target="../tags/tag206.xml"/><Relationship Id="rId171" Type="http://schemas.openxmlformats.org/officeDocument/2006/relationships/tags" Target="../tags/tag227.xml"/><Relationship Id="rId192" Type="http://schemas.openxmlformats.org/officeDocument/2006/relationships/tags" Target="../tags/tag248.xml"/><Relationship Id="rId206" Type="http://schemas.openxmlformats.org/officeDocument/2006/relationships/tags" Target="../tags/tag262.xml"/><Relationship Id="rId227" Type="http://schemas.openxmlformats.org/officeDocument/2006/relationships/tags" Target="../tags/tag283.xml"/><Relationship Id="rId248" Type="http://schemas.openxmlformats.org/officeDocument/2006/relationships/notesSlide" Target="../notesSlides/notesSlide1.xml"/><Relationship Id="rId12" Type="http://schemas.openxmlformats.org/officeDocument/2006/relationships/tags" Target="../tags/tag68.xml"/><Relationship Id="rId33" Type="http://schemas.openxmlformats.org/officeDocument/2006/relationships/tags" Target="../tags/tag89.xml"/><Relationship Id="rId108" Type="http://schemas.openxmlformats.org/officeDocument/2006/relationships/tags" Target="../tags/tag164.xml"/><Relationship Id="rId129" Type="http://schemas.openxmlformats.org/officeDocument/2006/relationships/tags" Target="../tags/tag185.xml"/><Relationship Id="rId54" Type="http://schemas.openxmlformats.org/officeDocument/2006/relationships/tags" Target="../tags/tag110.xml"/><Relationship Id="rId75" Type="http://schemas.openxmlformats.org/officeDocument/2006/relationships/tags" Target="../tags/tag131.xml"/><Relationship Id="rId96" Type="http://schemas.openxmlformats.org/officeDocument/2006/relationships/tags" Target="../tags/tag152.xml"/><Relationship Id="rId140" Type="http://schemas.openxmlformats.org/officeDocument/2006/relationships/tags" Target="../tags/tag196.xml"/><Relationship Id="rId161" Type="http://schemas.openxmlformats.org/officeDocument/2006/relationships/tags" Target="../tags/tag217.xml"/><Relationship Id="rId182" Type="http://schemas.openxmlformats.org/officeDocument/2006/relationships/tags" Target="../tags/tag238.xml"/><Relationship Id="rId217" Type="http://schemas.openxmlformats.org/officeDocument/2006/relationships/tags" Target="../tags/tag273.xml"/><Relationship Id="rId6" Type="http://schemas.openxmlformats.org/officeDocument/2006/relationships/tags" Target="../tags/tag62.xml"/><Relationship Id="rId238" Type="http://schemas.openxmlformats.org/officeDocument/2006/relationships/tags" Target="../tags/tag294.xml"/><Relationship Id="rId23" Type="http://schemas.openxmlformats.org/officeDocument/2006/relationships/tags" Target="../tags/tag79.xml"/><Relationship Id="rId119" Type="http://schemas.openxmlformats.org/officeDocument/2006/relationships/tags" Target="../tags/tag175.xml"/><Relationship Id="rId44" Type="http://schemas.openxmlformats.org/officeDocument/2006/relationships/tags" Target="../tags/tag100.xml"/><Relationship Id="rId65" Type="http://schemas.openxmlformats.org/officeDocument/2006/relationships/tags" Target="../tags/tag121.xml"/><Relationship Id="rId86" Type="http://schemas.openxmlformats.org/officeDocument/2006/relationships/tags" Target="../tags/tag142.xml"/><Relationship Id="rId130" Type="http://schemas.openxmlformats.org/officeDocument/2006/relationships/tags" Target="../tags/tag186.xml"/><Relationship Id="rId151" Type="http://schemas.openxmlformats.org/officeDocument/2006/relationships/tags" Target="../tags/tag207.xml"/><Relationship Id="rId172" Type="http://schemas.openxmlformats.org/officeDocument/2006/relationships/tags" Target="../tags/tag228.xml"/><Relationship Id="rId193" Type="http://schemas.openxmlformats.org/officeDocument/2006/relationships/tags" Target="../tags/tag249.xml"/><Relationship Id="rId207" Type="http://schemas.openxmlformats.org/officeDocument/2006/relationships/tags" Target="../tags/tag263.xml"/><Relationship Id="rId228" Type="http://schemas.openxmlformats.org/officeDocument/2006/relationships/tags" Target="../tags/tag284.xml"/><Relationship Id="rId249" Type="http://schemas.openxmlformats.org/officeDocument/2006/relationships/oleObject" Target="../embeddings/oleObject19.bin"/><Relationship Id="rId13" Type="http://schemas.openxmlformats.org/officeDocument/2006/relationships/tags" Target="../tags/tag69.xml"/><Relationship Id="rId109" Type="http://schemas.openxmlformats.org/officeDocument/2006/relationships/tags" Target="../tags/tag165.xml"/><Relationship Id="rId34" Type="http://schemas.openxmlformats.org/officeDocument/2006/relationships/tags" Target="../tags/tag90.xml"/><Relationship Id="rId55" Type="http://schemas.openxmlformats.org/officeDocument/2006/relationships/tags" Target="../tags/tag111.xml"/><Relationship Id="rId76" Type="http://schemas.openxmlformats.org/officeDocument/2006/relationships/tags" Target="../tags/tag132.xml"/><Relationship Id="rId97" Type="http://schemas.openxmlformats.org/officeDocument/2006/relationships/tags" Target="../tags/tag153.xml"/><Relationship Id="rId120" Type="http://schemas.openxmlformats.org/officeDocument/2006/relationships/tags" Target="../tags/tag176.xml"/><Relationship Id="rId141" Type="http://schemas.openxmlformats.org/officeDocument/2006/relationships/tags" Target="../tags/tag197.xml"/><Relationship Id="rId7" Type="http://schemas.openxmlformats.org/officeDocument/2006/relationships/tags" Target="../tags/tag63.xml"/><Relationship Id="rId162" Type="http://schemas.openxmlformats.org/officeDocument/2006/relationships/tags" Target="../tags/tag218.xml"/><Relationship Id="rId183" Type="http://schemas.openxmlformats.org/officeDocument/2006/relationships/tags" Target="../tags/tag239.xml"/><Relationship Id="rId218" Type="http://schemas.openxmlformats.org/officeDocument/2006/relationships/tags" Target="../tags/tag274.xml"/><Relationship Id="rId239" Type="http://schemas.openxmlformats.org/officeDocument/2006/relationships/tags" Target="../tags/tag295.xml"/><Relationship Id="rId250" Type="http://schemas.openxmlformats.org/officeDocument/2006/relationships/image" Target="../media/image22.emf"/><Relationship Id="rId24" Type="http://schemas.openxmlformats.org/officeDocument/2006/relationships/tags" Target="../tags/tag80.xml"/><Relationship Id="rId45" Type="http://schemas.openxmlformats.org/officeDocument/2006/relationships/tags" Target="../tags/tag101.xml"/><Relationship Id="rId66" Type="http://schemas.openxmlformats.org/officeDocument/2006/relationships/tags" Target="../tags/tag122.xml"/><Relationship Id="rId87" Type="http://schemas.openxmlformats.org/officeDocument/2006/relationships/tags" Target="../tags/tag143.xml"/><Relationship Id="rId110" Type="http://schemas.openxmlformats.org/officeDocument/2006/relationships/tags" Target="../tags/tag166.xml"/><Relationship Id="rId131" Type="http://schemas.openxmlformats.org/officeDocument/2006/relationships/tags" Target="../tags/tag187.xml"/><Relationship Id="rId152" Type="http://schemas.openxmlformats.org/officeDocument/2006/relationships/tags" Target="../tags/tag208.xml"/><Relationship Id="rId173" Type="http://schemas.openxmlformats.org/officeDocument/2006/relationships/tags" Target="../tags/tag229.xml"/><Relationship Id="rId194" Type="http://schemas.openxmlformats.org/officeDocument/2006/relationships/tags" Target="../tags/tag250.xml"/><Relationship Id="rId208" Type="http://schemas.openxmlformats.org/officeDocument/2006/relationships/tags" Target="../tags/tag264.xml"/><Relationship Id="rId229" Type="http://schemas.openxmlformats.org/officeDocument/2006/relationships/tags" Target="../tags/tag285.xml"/><Relationship Id="rId240" Type="http://schemas.openxmlformats.org/officeDocument/2006/relationships/tags" Target="../tags/tag296.xml"/><Relationship Id="rId14" Type="http://schemas.openxmlformats.org/officeDocument/2006/relationships/tags" Target="../tags/tag70.xml"/><Relationship Id="rId35" Type="http://schemas.openxmlformats.org/officeDocument/2006/relationships/tags" Target="../tags/tag91.xml"/><Relationship Id="rId56" Type="http://schemas.openxmlformats.org/officeDocument/2006/relationships/tags" Target="../tags/tag112.xml"/><Relationship Id="rId77" Type="http://schemas.openxmlformats.org/officeDocument/2006/relationships/tags" Target="../tags/tag133.xml"/><Relationship Id="rId100" Type="http://schemas.openxmlformats.org/officeDocument/2006/relationships/tags" Target="../tags/tag156.xml"/><Relationship Id="rId8" Type="http://schemas.openxmlformats.org/officeDocument/2006/relationships/tags" Target="../tags/tag64.xml"/><Relationship Id="rId98" Type="http://schemas.openxmlformats.org/officeDocument/2006/relationships/tags" Target="../tags/tag154.xml"/><Relationship Id="rId121" Type="http://schemas.openxmlformats.org/officeDocument/2006/relationships/tags" Target="../tags/tag177.xml"/><Relationship Id="rId142" Type="http://schemas.openxmlformats.org/officeDocument/2006/relationships/tags" Target="../tags/tag198.xml"/><Relationship Id="rId163" Type="http://schemas.openxmlformats.org/officeDocument/2006/relationships/tags" Target="../tags/tag219.xml"/><Relationship Id="rId184" Type="http://schemas.openxmlformats.org/officeDocument/2006/relationships/tags" Target="../tags/tag240.xml"/><Relationship Id="rId219" Type="http://schemas.openxmlformats.org/officeDocument/2006/relationships/tags" Target="../tags/tag275.xml"/><Relationship Id="rId230" Type="http://schemas.openxmlformats.org/officeDocument/2006/relationships/tags" Target="../tags/tag286.xml"/><Relationship Id="rId25" Type="http://schemas.openxmlformats.org/officeDocument/2006/relationships/tags" Target="../tags/tag81.xml"/><Relationship Id="rId46" Type="http://schemas.openxmlformats.org/officeDocument/2006/relationships/tags" Target="../tags/tag102.xml"/><Relationship Id="rId67" Type="http://schemas.openxmlformats.org/officeDocument/2006/relationships/tags" Target="../tags/tag123.xml"/><Relationship Id="rId88" Type="http://schemas.openxmlformats.org/officeDocument/2006/relationships/tags" Target="../tags/tag144.xml"/><Relationship Id="rId111" Type="http://schemas.openxmlformats.org/officeDocument/2006/relationships/tags" Target="../tags/tag167.xml"/><Relationship Id="rId132" Type="http://schemas.openxmlformats.org/officeDocument/2006/relationships/tags" Target="../tags/tag188.xml"/><Relationship Id="rId153" Type="http://schemas.openxmlformats.org/officeDocument/2006/relationships/tags" Target="../tags/tag209.xml"/><Relationship Id="rId174" Type="http://schemas.openxmlformats.org/officeDocument/2006/relationships/tags" Target="../tags/tag230.xml"/><Relationship Id="rId195" Type="http://schemas.openxmlformats.org/officeDocument/2006/relationships/tags" Target="../tags/tag251.xml"/><Relationship Id="rId209" Type="http://schemas.openxmlformats.org/officeDocument/2006/relationships/tags" Target="../tags/tag265.xml"/><Relationship Id="rId220" Type="http://schemas.openxmlformats.org/officeDocument/2006/relationships/tags" Target="../tags/tag276.xml"/><Relationship Id="rId241" Type="http://schemas.openxmlformats.org/officeDocument/2006/relationships/tags" Target="../tags/tag297.xml"/><Relationship Id="rId15" Type="http://schemas.openxmlformats.org/officeDocument/2006/relationships/tags" Target="../tags/tag71.xml"/><Relationship Id="rId36" Type="http://schemas.openxmlformats.org/officeDocument/2006/relationships/tags" Target="../tags/tag92.xml"/><Relationship Id="rId57" Type="http://schemas.openxmlformats.org/officeDocument/2006/relationships/tags" Target="../tags/tag113.xml"/><Relationship Id="rId78" Type="http://schemas.openxmlformats.org/officeDocument/2006/relationships/tags" Target="../tags/tag134.xml"/><Relationship Id="rId99" Type="http://schemas.openxmlformats.org/officeDocument/2006/relationships/tags" Target="../tags/tag155.xml"/><Relationship Id="rId101" Type="http://schemas.openxmlformats.org/officeDocument/2006/relationships/tags" Target="../tags/tag157.xml"/><Relationship Id="rId122" Type="http://schemas.openxmlformats.org/officeDocument/2006/relationships/tags" Target="../tags/tag178.xml"/><Relationship Id="rId143" Type="http://schemas.openxmlformats.org/officeDocument/2006/relationships/tags" Target="../tags/tag199.xml"/><Relationship Id="rId164" Type="http://schemas.openxmlformats.org/officeDocument/2006/relationships/tags" Target="../tags/tag220.xml"/><Relationship Id="rId185" Type="http://schemas.openxmlformats.org/officeDocument/2006/relationships/tags" Target="../tags/tag241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80" Type="http://schemas.openxmlformats.org/officeDocument/2006/relationships/tags" Target="../tags/tag236.xml"/><Relationship Id="rId210" Type="http://schemas.openxmlformats.org/officeDocument/2006/relationships/tags" Target="../tags/tag266.xml"/><Relationship Id="rId215" Type="http://schemas.openxmlformats.org/officeDocument/2006/relationships/tags" Target="../tags/tag271.xml"/><Relationship Id="rId236" Type="http://schemas.openxmlformats.org/officeDocument/2006/relationships/tags" Target="../tags/tag292.xml"/><Relationship Id="rId26" Type="http://schemas.openxmlformats.org/officeDocument/2006/relationships/tags" Target="../tags/tag82.xml"/><Relationship Id="rId231" Type="http://schemas.openxmlformats.org/officeDocument/2006/relationships/tags" Target="../tags/tag287.xml"/><Relationship Id="rId47" Type="http://schemas.openxmlformats.org/officeDocument/2006/relationships/tags" Target="../tags/tag103.xml"/><Relationship Id="rId68" Type="http://schemas.openxmlformats.org/officeDocument/2006/relationships/tags" Target="../tags/tag124.xml"/><Relationship Id="rId89" Type="http://schemas.openxmlformats.org/officeDocument/2006/relationships/tags" Target="../tags/tag145.xml"/><Relationship Id="rId112" Type="http://schemas.openxmlformats.org/officeDocument/2006/relationships/tags" Target="../tags/tag168.xml"/><Relationship Id="rId133" Type="http://schemas.openxmlformats.org/officeDocument/2006/relationships/tags" Target="../tags/tag189.xml"/><Relationship Id="rId154" Type="http://schemas.openxmlformats.org/officeDocument/2006/relationships/tags" Target="../tags/tag210.xml"/><Relationship Id="rId175" Type="http://schemas.openxmlformats.org/officeDocument/2006/relationships/tags" Target="../tags/tag231.xml"/><Relationship Id="rId196" Type="http://schemas.openxmlformats.org/officeDocument/2006/relationships/tags" Target="../tags/tag252.xml"/><Relationship Id="rId200" Type="http://schemas.openxmlformats.org/officeDocument/2006/relationships/tags" Target="../tags/tag256.xml"/><Relationship Id="rId16" Type="http://schemas.openxmlformats.org/officeDocument/2006/relationships/tags" Target="../tags/tag72.xml"/><Relationship Id="rId221" Type="http://schemas.openxmlformats.org/officeDocument/2006/relationships/tags" Target="../tags/tag277.xml"/><Relationship Id="rId242" Type="http://schemas.openxmlformats.org/officeDocument/2006/relationships/tags" Target="../tags/tag298.xml"/><Relationship Id="rId37" Type="http://schemas.openxmlformats.org/officeDocument/2006/relationships/tags" Target="../tags/tag93.xml"/><Relationship Id="rId58" Type="http://schemas.openxmlformats.org/officeDocument/2006/relationships/tags" Target="../tags/tag114.xml"/><Relationship Id="rId79" Type="http://schemas.openxmlformats.org/officeDocument/2006/relationships/tags" Target="../tags/tag135.xml"/><Relationship Id="rId102" Type="http://schemas.openxmlformats.org/officeDocument/2006/relationships/tags" Target="../tags/tag158.xml"/><Relationship Id="rId123" Type="http://schemas.openxmlformats.org/officeDocument/2006/relationships/tags" Target="../tags/tag179.xml"/><Relationship Id="rId144" Type="http://schemas.openxmlformats.org/officeDocument/2006/relationships/tags" Target="../tags/tag200.xml"/><Relationship Id="rId90" Type="http://schemas.openxmlformats.org/officeDocument/2006/relationships/tags" Target="../tags/tag146.xml"/><Relationship Id="rId165" Type="http://schemas.openxmlformats.org/officeDocument/2006/relationships/tags" Target="../tags/tag221.xml"/><Relationship Id="rId186" Type="http://schemas.openxmlformats.org/officeDocument/2006/relationships/tags" Target="../tags/tag242.xml"/><Relationship Id="rId211" Type="http://schemas.openxmlformats.org/officeDocument/2006/relationships/tags" Target="../tags/tag267.xml"/><Relationship Id="rId232" Type="http://schemas.openxmlformats.org/officeDocument/2006/relationships/tags" Target="../tags/tag288.xml"/><Relationship Id="rId27" Type="http://schemas.openxmlformats.org/officeDocument/2006/relationships/tags" Target="../tags/tag83.xml"/><Relationship Id="rId48" Type="http://schemas.openxmlformats.org/officeDocument/2006/relationships/tags" Target="../tags/tag104.xml"/><Relationship Id="rId69" Type="http://schemas.openxmlformats.org/officeDocument/2006/relationships/tags" Target="../tags/tag125.xml"/><Relationship Id="rId113" Type="http://schemas.openxmlformats.org/officeDocument/2006/relationships/tags" Target="../tags/tag169.xml"/><Relationship Id="rId134" Type="http://schemas.openxmlformats.org/officeDocument/2006/relationships/tags" Target="../tags/tag190.xml"/><Relationship Id="rId80" Type="http://schemas.openxmlformats.org/officeDocument/2006/relationships/tags" Target="../tags/tag136.xml"/><Relationship Id="rId155" Type="http://schemas.openxmlformats.org/officeDocument/2006/relationships/tags" Target="../tags/tag211.xml"/><Relationship Id="rId176" Type="http://schemas.openxmlformats.org/officeDocument/2006/relationships/tags" Target="../tags/tag232.xml"/><Relationship Id="rId197" Type="http://schemas.openxmlformats.org/officeDocument/2006/relationships/tags" Target="../tags/tag253.xml"/><Relationship Id="rId201" Type="http://schemas.openxmlformats.org/officeDocument/2006/relationships/tags" Target="../tags/tag257.xml"/><Relationship Id="rId222" Type="http://schemas.openxmlformats.org/officeDocument/2006/relationships/tags" Target="../tags/tag278.xml"/><Relationship Id="rId243" Type="http://schemas.openxmlformats.org/officeDocument/2006/relationships/tags" Target="../tags/tag299.xml"/><Relationship Id="rId17" Type="http://schemas.openxmlformats.org/officeDocument/2006/relationships/tags" Target="../tags/tag73.xml"/><Relationship Id="rId38" Type="http://schemas.openxmlformats.org/officeDocument/2006/relationships/tags" Target="../tags/tag94.xml"/><Relationship Id="rId59" Type="http://schemas.openxmlformats.org/officeDocument/2006/relationships/tags" Target="../tags/tag115.xml"/><Relationship Id="rId103" Type="http://schemas.openxmlformats.org/officeDocument/2006/relationships/tags" Target="../tags/tag159.xml"/><Relationship Id="rId124" Type="http://schemas.openxmlformats.org/officeDocument/2006/relationships/tags" Target="../tags/tag180.xml"/><Relationship Id="rId70" Type="http://schemas.openxmlformats.org/officeDocument/2006/relationships/tags" Target="../tags/tag126.xml"/><Relationship Id="rId91" Type="http://schemas.openxmlformats.org/officeDocument/2006/relationships/tags" Target="../tags/tag147.xml"/><Relationship Id="rId145" Type="http://schemas.openxmlformats.org/officeDocument/2006/relationships/tags" Target="../tags/tag201.xml"/><Relationship Id="rId166" Type="http://schemas.openxmlformats.org/officeDocument/2006/relationships/tags" Target="../tags/tag222.xml"/><Relationship Id="rId187" Type="http://schemas.openxmlformats.org/officeDocument/2006/relationships/tags" Target="../tags/tag243.xml"/><Relationship Id="rId1" Type="http://schemas.openxmlformats.org/officeDocument/2006/relationships/tags" Target="../tags/tag57.xml"/><Relationship Id="rId212" Type="http://schemas.openxmlformats.org/officeDocument/2006/relationships/tags" Target="../tags/tag268.xml"/><Relationship Id="rId233" Type="http://schemas.openxmlformats.org/officeDocument/2006/relationships/tags" Target="../tags/tag289.xml"/><Relationship Id="rId28" Type="http://schemas.openxmlformats.org/officeDocument/2006/relationships/tags" Target="../tags/tag84.xml"/><Relationship Id="rId49" Type="http://schemas.openxmlformats.org/officeDocument/2006/relationships/tags" Target="../tags/tag105.xml"/><Relationship Id="rId114" Type="http://schemas.openxmlformats.org/officeDocument/2006/relationships/tags" Target="../tags/tag170.xml"/><Relationship Id="rId60" Type="http://schemas.openxmlformats.org/officeDocument/2006/relationships/tags" Target="../tags/tag116.xml"/><Relationship Id="rId81" Type="http://schemas.openxmlformats.org/officeDocument/2006/relationships/tags" Target="../tags/tag137.xml"/><Relationship Id="rId135" Type="http://schemas.openxmlformats.org/officeDocument/2006/relationships/tags" Target="../tags/tag191.xml"/><Relationship Id="rId156" Type="http://schemas.openxmlformats.org/officeDocument/2006/relationships/tags" Target="../tags/tag212.xml"/><Relationship Id="rId177" Type="http://schemas.openxmlformats.org/officeDocument/2006/relationships/tags" Target="../tags/tag233.xml"/><Relationship Id="rId198" Type="http://schemas.openxmlformats.org/officeDocument/2006/relationships/tags" Target="../tags/tag254.xml"/><Relationship Id="rId202" Type="http://schemas.openxmlformats.org/officeDocument/2006/relationships/tags" Target="../tags/tag258.xml"/><Relationship Id="rId223" Type="http://schemas.openxmlformats.org/officeDocument/2006/relationships/tags" Target="../tags/tag279.xml"/><Relationship Id="rId244" Type="http://schemas.openxmlformats.org/officeDocument/2006/relationships/tags" Target="../tags/tag300.xml"/><Relationship Id="rId18" Type="http://schemas.openxmlformats.org/officeDocument/2006/relationships/tags" Target="../tags/tag74.xml"/><Relationship Id="rId39" Type="http://schemas.openxmlformats.org/officeDocument/2006/relationships/tags" Target="../tags/tag95.xml"/><Relationship Id="rId50" Type="http://schemas.openxmlformats.org/officeDocument/2006/relationships/tags" Target="../tags/tag106.xml"/><Relationship Id="rId104" Type="http://schemas.openxmlformats.org/officeDocument/2006/relationships/tags" Target="../tags/tag160.xml"/><Relationship Id="rId125" Type="http://schemas.openxmlformats.org/officeDocument/2006/relationships/tags" Target="../tags/tag181.xml"/><Relationship Id="rId146" Type="http://schemas.openxmlformats.org/officeDocument/2006/relationships/tags" Target="../tags/tag202.xml"/><Relationship Id="rId167" Type="http://schemas.openxmlformats.org/officeDocument/2006/relationships/tags" Target="../tags/tag223.xml"/><Relationship Id="rId188" Type="http://schemas.openxmlformats.org/officeDocument/2006/relationships/tags" Target="../tags/tag244.xml"/><Relationship Id="rId71" Type="http://schemas.openxmlformats.org/officeDocument/2006/relationships/tags" Target="../tags/tag127.xml"/><Relationship Id="rId92" Type="http://schemas.openxmlformats.org/officeDocument/2006/relationships/tags" Target="../tags/tag148.xml"/><Relationship Id="rId213" Type="http://schemas.openxmlformats.org/officeDocument/2006/relationships/tags" Target="../tags/tag269.xml"/><Relationship Id="rId234" Type="http://schemas.openxmlformats.org/officeDocument/2006/relationships/tags" Target="../tags/tag290.xml"/><Relationship Id="rId2" Type="http://schemas.openxmlformats.org/officeDocument/2006/relationships/tags" Target="../tags/tag58.xml"/><Relationship Id="rId29" Type="http://schemas.openxmlformats.org/officeDocument/2006/relationships/tags" Target="../tags/tag85.xml"/><Relationship Id="rId40" Type="http://schemas.openxmlformats.org/officeDocument/2006/relationships/tags" Target="../tags/tag96.xml"/><Relationship Id="rId115" Type="http://schemas.openxmlformats.org/officeDocument/2006/relationships/tags" Target="../tags/tag171.xml"/><Relationship Id="rId136" Type="http://schemas.openxmlformats.org/officeDocument/2006/relationships/tags" Target="../tags/tag192.xml"/><Relationship Id="rId157" Type="http://schemas.openxmlformats.org/officeDocument/2006/relationships/tags" Target="../tags/tag213.xml"/><Relationship Id="rId178" Type="http://schemas.openxmlformats.org/officeDocument/2006/relationships/tags" Target="../tags/tag234.xml"/><Relationship Id="rId61" Type="http://schemas.openxmlformats.org/officeDocument/2006/relationships/tags" Target="../tags/tag117.xml"/><Relationship Id="rId82" Type="http://schemas.openxmlformats.org/officeDocument/2006/relationships/tags" Target="../tags/tag138.xml"/><Relationship Id="rId199" Type="http://schemas.openxmlformats.org/officeDocument/2006/relationships/tags" Target="../tags/tag255.xml"/><Relationship Id="rId203" Type="http://schemas.openxmlformats.org/officeDocument/2006/relationships/tags" Target="../tags/tag259.xml"/><Relationship Id="rId19" Type="http://schemas.openxmlformats.org/officeDocument/2006/relationships/tags" Target="../tags/tag75.xml"/><Relationship Id="rId224" Type="http://schemas.openxmlformats.org/officeDocument/2006/relationships/tags" Target="../tags/tag280.xml"/><Relationship Id="rId245" Type="http://schemas.openxmlformats.org/officeDocument/2006/relationships/tags" Target="../tags/tag301.xml"/><Relationship Id="rId30" Type="http://schemas.openxmlformats.org/officeDocument/2006/relationships/tags" Target="../tags/tag86.xml"/><Relationship Id="rId105" Type="http://schemas.openxmlformats.org/officeDocument/2006/relationships/tags" Target="../tags/tag161.xml"/><Relationship Id="rId126" Type="http://schemas.openxmlformats.org/officeDocument/2006/relationships/tags" Target="../tags/tag182.xml"/><Relationship Id="rId147" Type="http://schemas.openxmlformats.org/officeDocument/2006/relationships/tags" Target="../tags/tag203.xml"/><Relationship Id="rId168" Type="http://schemas.openxmlformats.org/officeDocument/2006/relationships/tags" Target="../tags/tag224.xml"/><Relationship Id="rId51" Type="http://schemas.openxmlformats.org/officeDocument/2006/relationships/tags" Target="../tags/tag107.xml"/><Relationship Id="rId72" Type="http://schemas.openxmlformats.org/officeDocument/2006/relationships/tags" Target="../tags/tag128.xml"/><Relationship Id="rId93" Type="http://schemas.openxmlformats.org/officeDocument/2006/relationships/tags" Target="../tags/tag149.xml"/><Relationship Id="rId189" Type="http://schemas.openxmlformats.org/officeDocument/2006/relationships/tags" Target="../tags/tag245.xml"/><Relationship Id="rId3" Type="http://schemas.openxmlformats.org/officeDocument/2006/relationships/tags" Target="../tags/tag59.xml"/><Relationship Id="rId214" Type="http://schemas.openxmlformats.org/officeDocument/2006/relationships/tags" Target="../tags/tag270.xml"/><Relationship Id="rId235" Type="http://schemas.openxmlformats.org/officeDocument/2006/relationships/tags" Target="../tags/tag291.xml"/><Relationship Id="rId116" Type="http://schemas.openxmlformats.org/officeDocument/2006/relationships/tags" Target="../tags/tag172.xml"/><Relationship Id="rId137" Type="http://schemas.openxmlformats.org/officeDocument/2006/relationships/tags" Target="../tags/tag193.xml"/><Relationship Id="rId158" Type="http://schemas.openxmlformats.org/officeDocument/2006/relationships/tags" Target="../tags/tag214.xml"/><Relationship Id="rId20" Type="http://schemas.openxmlformats.org/officeDocument/2006/relationships/tags" Target="../tags/tag76.xml"/><Relationship Id="rId41" Type="http://schemas.openxmlformats.org/officeDocument/2006/relationships/tags" Target="../tags/tag97.xml"/><Relationship Id="rId62" Type="http://schemas.openxmlformats.org/officeDocument/2006/relationships/tags" Target="../tags/tag118.xml"/><Relationship Id="rId83" Type="http://schemas.openxmlformats.org/officeDocument/2006/relationships/tags" Target="../tags/tag139.xml"/><Relationship Id="rId179" Type="http://schemas.openxmlformats.org/officeDocument/2006/relationships/tags" Target="../tags/tag235.xml"/><Relationship Id="rId190" Type="http://schemas.openxmlformats.org/officeDocument/2006/relationships/tags" Target="../tags/tag246.xml"/><Relationship Id="rId204" Type="http://schemas.openxmlformats.org/officeDocument/2006/relationships/tags" Target="../tags/tag260.xml"/><Relationship Id="rId225" Type="http://schemas.openxmlformats.org/officeDocument/2006/relationships/tags" Target="../tags/tag281.xml"/><Relationship Id="rId246" Type="http://schemas.openxmlformats.org/officeDocument/2006/relationships/tags" Target="../tags/tag302.xml"/><Relationship Id="rId106" Type="http://schemas.openxmlformats.org/officeDocument/2006/relationships/tags" Target="../tags/tag162.xml"/><Relationship Id="rId127" Type="http://schemas.openxmlformats.org/officeDocument/2006/relationships/tags" Target="../tags/tag183.xml"/><Relationship Id="rId10" Type="http://schemas.openxmlformats.org/officeDocument/2006/relationships/tags" Target="../tags/tag66.xml"/><Relationship Id="rId31" Type="http://schemas.openxmlformats.org/officeDocument/2006/relationships/tags" Target="../tags/tag87.xml"/><Relationship Id="rId52" Type="http://schemas.openxmlformats.org/officeDocument/2006/relationships/tags" Target="../tags/tag108.xml"/><Relationship Id="rId73" Type="http://schemas.openxmlformats.org/officeDocument/2006/relationships/tags" Target="../tags/tag129.xml"/><Relationship Id="rId94" Type="http://schemas.openxmlformats.org/officeDocument/2006/relationships/tags" Target="../tags/tag150.xml"/><Relationship Id="rId148" Type="http://schemas.openxmlformats.org/officeDocument/2006/relationships/tags" Target="../tags/tag204.xml"/><Relationship Id="rId169" Type="http://schemas.openxmlformats.org/officeDocument/2006/relationships/tags" Target="../tags/tag22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10.xml"/><Relationship Id="rId13" Type="http://schemas.openxmlformats.org/officeDocument/2006/relationships/tags" Target="../tags/tag315.xml"/><Relationship Id="rId18" Type="http://schemas.openxmlformats.org/officeDocument/2006/relationships/oleObject" Target="../embeddings/oleObject20.bin"/><Relationship Id="rId3" Type="http://schemas.openxmlformats.org/officeDocument/2006/relationships/tags" Target="../tags/tag305.xml"/><Relationship Id="rId21" Type="http://schemas.openxmlformats.org/officeDocument/2006/relationships/image" Target="../media/image24.svg"/><Relationship Id="rId7" Type="http://schemas.openxmlformats.org/officeDocument/2006/relationships/tags" Target="../tags/tag309.xml"/><Relationship Id="rId12" Type="http://schemas.openxmlformats.org/officeDocument/2006/relationships/tags" Target="../tags/tag314.xml"/><Relationship Id="rId17" Type="http://schemas.openxmlformats.org/officeDocument/2006/relationships/slideLayout" Target="../slideLayouts/slideLayout32.xml"/><Relationship Id="rId2" Type="http://schemas.openxmlformats.org/officeDocument/2006/relationships/tags" Target="../tags/tag304.xml"/><Relationship Id="rId16" Type="http://schemas.openxmlformats.org/officeDocument/2006/relationships/tags" Target="../tags/tag318.xml"/><Relationship Id="rId20" Type="http://schemas.openxmlformats.org/officeDocument/2006/relationships/image" Target="../media/image23.svg"/><Relationship Id="rId1" Type="http://schemas.openxmlformats.org/officeDocument/2006/relationships/tags" Target="../tags/tag303.xml"/><Relationship Id="rId6" Type="http://schemas.openxmlformats.org/officeDocument/2006/relationships/tags" Target="../tags/tag308.xml"/><Relationship Id="rId11" Type="http://schemas.openxmlformats.org/officeDocument/2006/relationships/tags" Target="../tags/tag313.xml"/><Relationship Id="rId24" Type="http://schemas.openxmlformats.org/officeDocument/2006/relationships/image" Target="../media/image27.svg"/><Relationship Id="rId5" Type="http://schemas.openxmlformats.org/officeDocument/2006/relationships/tags" Target="../tags/tag307.xml"/><Relationship Id="rId15" Type="http://schemas.openxmlformats.org/officeDocument/2006/relationships/tags" Target="../tags/tag317.xml"/><Relationship Id="rId23" Type="http://schemas.openxmlformats.org/officeDocument/2006/relationships/image" Target="../media/image26.svg"/><Relationship Id="rId10" Type="http://schemas.openxmlformats.org/officeDocument/2006/relationships/tags" Target="../tags/tag312.xml"/><Relationship Id="rId19" Type="http://schemas.openxmlformats.org/officeDocument/2006/relationships/image" Target="../media/image1.emf"/><Relationship Id="rId4" Type="http://schemas.openxmlformats.org/officeDocument/2006/relationships/tags" Target="../tags/tag306.xml"/><Relationship Id="rId9" Type="http://schemas.openxmlformats.org/officeDocument/2006/relationships/tags" Target="../tags/tag311.xml"/><Relationship Id="rId14" Type="http://schemas.openxmlformats.org/officeDocument/2006/relationships/tags" Target="../tags/tag316.xml"/><Relationship Id="rId22" Type="http://schemas.openxmlformats.org/officeDocument/2006/relationships/image" Target="../media/image2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19.xml"/><Relationship Id="rId5" Type="http://schemas.openxmlformats.org/officeDocument/2006/relationships/image" Target="../media/image29.png"/><Relationship Id="rId4" Type="http://schemas.openxmlformats.org/officeDocument/2006/relationships/image" Target="../media/image2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20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23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1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28.emf"/><Relationship Id="rId9" Type="http://schemas.microsoft.com/office/2007/relationships/diagramDrawing" Target="../diagrams/drawing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2.xml"/><Relationship Id="rId4" Type="http://schemas.openxmlformats.org/officeDocument/2006/relationships/image" Target="../media/image2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FCC0A1C5-3F99-4B20-F3FC-80E0E046C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863601"/>
            <a:ext cx="5364001" cy="3240088"/>
          </a:xfrm>
        </p:spPr>
        <p:txBody>
          <a:bodyPr/>
          <a:lstStyle/>
          <a:p>
            <a:r>
              <a:rPr lang="de-DE" dirty="0"/>
              <a:t>NIS-2 und die sichere Lieferkette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78E5CCB0-5F82-14D8-EC80-095286BC942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29.04.2026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51157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82A3C5E-5644-98AE-8E17-2606826AC2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071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084662-5C43-B882-D3A1-92A1C6D91ABF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727200" y="6120000"/>
            <a:ext cx="732439" cy="360001"/>
          </a:xfrm>
          <a:prstGeom prst="rect">
            <a:avLst/>
          </a:prstGeom>
        </p:spPr>
        <p:txBody>
          <a:bodyPr vert="horz" wrap="none" lIns="0" tIns="0" rIns="3600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lang="en-US"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948BA99-38F7-4CBE-8A5D-A754EEAEF3EC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C37ED6-ED50-A845-82B3-B987BD3CF08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459639" y="6120000"/>
            <a:ext cx="8484584" cy="360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171450" indent="-171450" algn="l" defTabSz="457200" rtl="0" eaLnBrk="1" latinLnBrk="0" hangingPunct="1">
              <a:buFont typeface="Axiforma for Sec" pitchFamily="2" charset="0"/>
              <a:buChar char="|"/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E84C0F0-BB48-E556-75E4-06EEF1818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576263" y="6119684"/>
            <a:ext cx="431736" cy="360001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lang="en-US" sz="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B7CF8D-B682-4A81-B147-3F908074421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37DCCD9-DC35-6D98-C693-149DC6A18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/>
          <a:lstStyle/>
          <a:p>
            <a:r>
              <a:rPr lang="de-DE" dirty="0"/>
              <a:t>IS-Anforderungen an Dienstleister</a:t>
            </a:r>
            <a:br>
              <a:rPr lang="de-DE" dirty="0">
                <a:solidFill>
                  <a:schemeClr val="accent1"/>
                </a:solidFill>
              </a:rPr>
            </a:br>
            <a:r>
              <a:rPr lang="de-DE" sz="2400" dirty="0">
                <a:latin typeface="Axiforma for Sec" pitchFamily="2" charset="0"/>
              </a:rPr>
              <a:t>Identifikation bedeutsamer und kritischer Dienstleister</a:t>
            </a:r>
            <a:endParaRPr lang="de-DE" dirty="0">
              <a:latin typeface="Axiforma for Sec" pitchFamily="2" charset="0"/>
            </a:endParaRP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F8A8134F-1EDC-1C9A-2ED4-2F11C40FFE20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76979" y="2328469"/>
            <a:ext cx="2166528" cy="2166528"/>
          </a:xfrm>
          <a:prstGeom prst="rect">
            <a:avLst/>
          </a:prstGeom>
        </p:spPr>
      </p:pic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2EBA5A1F-4C15-5424-BAB5-800D400036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26" y="2592841"/>
            <a:ext cx="3165826" cy="1637784"/>
          </a:xfrm>
          <a:prstGeom prst="round2SameRect">
            <a:avLst>
              <a:gd name="adj1" fmla="val 0"/>
              <a:gd name="adj2" fmla="val 0"/>
            </a:avLst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dirty="0">
                <a:solidFill>
                  <a:schemeClr val="tx1"/>
                </a:solidFill>
              </a:rPr>
              <a:t>Informations-sicherheits-verantwortlicher</a:t>
            </a:r>
          </a:p>
        </p:txBody>
      </p:sp>
      <p:sp>
        <p:nvSpPr>
          <p:cNvPr id="8" name="Rechteck: obere Ecken abgerundet 7">
            <a:extLst>
              <a:ext uri="{FF2B5EF4-FFF2-40B4-BE49-F238E27FC236}">
                <a16:creationId xmlns:a16="http://schemas.microsoft.com/office/drawing/2014/main" id="{5107B284-2A93-77B4-9A7D-6099E133EF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477936" y="2592841"/>
            <a:ext cx="3165826" cy="1637784"/>
          </a:xfrm>
          <a:prstGeom prst="round2SameRect">
            <a:avLst>
              <a:gd name="adj1" fmla="val 0"/>
              <a:gd name="adj2" fmla="val 0"/>
            </a:avLst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dirty="0">
                <a:solidFill>
                  <a:schemeClr val="tx1"/>
                </a:solidFill>
              </a:rPr>
              <a:t>Einkauf</a:t>
            </a:r>
          </a:p>
        </p:txBody>
      </p:sp>
    </p:spTree>
    <p:extLst>
      <p:ext uri="{BB962C8B-B14F-4D97-AF65-F5344CB8AC3E}">
        <p14:creationId xmlns:p14="http://schemas.microsoft.com/office/powerpoint/2010/main" val="20690388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70ED0BF-A3B0-8A7B-A56B-5954772302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1CB1DCB-693F-5CE7-581A-93A85424C9C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381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540DF9-5820-EDB9-A7D4-CC41026E3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289761E-CE9D-118B-A62E-4287B0A8D30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B5C14E98-F4C7-4605-B5F7-895BA4767297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B73D0F-C4A8-4FA3-3E66-6BFA91D20FB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22FEED0-B36D-F7F0-66A0-B4A9BEDF3E9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0EAAF8C-13D0-4D16-DD10-8C12E906E9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DE" dirty="0"/>
              <a:t>IS-Anforderungen an Dienstleister</a:t>
            </a:r>
            <a:br>
              <a:rPr lang="de-DE" dirty="0"/>
            </a:br>
            <a:r>
              <a:rPr lang="de-DE" sz="2400" dirty="0">
                <a:latin typeface="Axiforma for Sec" pitchFamily="2" charset="0"/>
              </a:rPr>
              <a:t>Identifikation bedeutsamer und kritischer Dienstleister</a:t>
            </a:r>
            <a:br>
              <a:rPr lang="de-DE" dirty="0"/>
            </a:br>
            <a:r>
              <a:rPr lang="de-DE" dirty="0"/>
              <a:t> </a:t>
            </a:r>
          </a:p>
        </p:txBody>
      </p:sp>
      <p:sp>
        <p:nvSpPr>
          <p:cNvPr id="24" name="Stern: 32 Zacken 23">
            <a:extLst>
              <a:ext uri="{FF2B5EF4-FFF2-40B4-BE49-F238E27FC236}">
                <a16:creationId xmlns:a16="http://schemas.microsoft.com/office/drawing/2014/main" id="{515C39EB-B48B-44D9-F232-D5F8EE28768B}"/>
              </a:ext>
            </a:extLst>
          </p:cNvPr>
          <p:cNvSpPr/>
          <p:nvPr/>
        </p:nvSpPr>
        <p:spPr>
          <a:xfrm rot="442498">
            <a:off x="9919994" y="625484"/>
            <a:ext cx="1041539" cy="1039889"/>
          </a:xfrm>
          <a:prstGeom prst="star32">
            <a:avLst>
              <a:gd name="adj" fmla="val 46166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10800" rtlCol="0" anchor="ctr"/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Individuelle</a:t>
            </a:r>
          </a:p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 Kriterien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E87D6DEB-AB37-373B-8DA8-82FD73BB29C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76259" y="1511301"/>
            <a:ext cx="9468461" cy="2052822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r>
              <a:rPr lang="de-DE" dirty="0">
                <a:solidFill>
                  <a:schemeClr val="accent1"/>
                </a:solidFill>
                <a:latin typeface="+mj-lt"/>
              </a:rPr>
              <a:t>Schritt 1: </a:t>
            </a:r>
            <a:r>
              <a:rPr lang="de-DE" b="1" dirty="0"/>
              <a:t>Identifikation bedeutsamer Dienstleister</a:t>
            </a:r>
          </a:p>
          <a:p>
            <a:pPr marL="285750" lvl="1" indent="-285750"/>
            <a:r>
              <a:rPr lang="de-DE" dirty="0"/>
              <a:t>Mindestens ein </a:t>
            </a:r>
            <a:r>
              <a:rPr lang="de-DE" b="1" dirty="0"/>
              <a:t>Bewertungskriterium</a:t>
            </a:r>
            <a:r>
              <a:rPr lang="de-DE" dirty="0"/>
              <a:t> festlegen (z. B. Einfluss auf Geschäftstätigkeit / Sicherheitsziele).</a:t>
            </a:r>
          </a:p>
          <a:p>
            <a:pPr marL="285750" lvl="1" indent="-285750"/>
            <a:r>
              <a:rPr lang="de-DE" dirty="0"/>
              <a:t>Unterscheidung zwischen unmittelbarer und maßgeblicher Bedeutung (</a:t>
            </a:r>
            <a:r>
              <a:rPr lang="de-DE" b="1" dirty="0"/>
              <a:t>Finanz‑Schwellenwerte: </a:t>
            </a:r>
            <a:r>
              <a:rPr lang="de-DE" dirty="0"/>
              <a:t>≥ 50.000 € vs. ≥ 500.000 €)</a:t>
            </a:r>
          </a:p>
          <a:p>
            <a:pPr marL="285750" lvl="1" indent="-285750"/>
            <a:r>
              <a:rPr lang="de-DE" dirty="0"/>
              <a:t>Alle als </a:t>
            </a:r>
            <a:r>
              <a:rPr lang="de-DE" b="1" dirty="0"/>
              <a:t>„bedeutsam“ eingestuften Dienstleister </a:t>
            </a:r>
            <a:r>
              <a:rPr lang="de-DE" dirty="0"/>
              <a:t>im Tool erfassen und mit Stammdaten pflegen </a:t>
            </a:r>
            <a:br>
              <a:rPr lang="de-DE" dirty="0"/>
            </a:br>
            <a:r>
              <a:rPr lang="de-DE" dirty="0"/>
              <a:t>(Name, Leistung, Adresse, Kontakt, SLA, NDA, Zertifikate …).</a:t>
            </a:r>
          </a:p>
          <a:p>
            <a:endParaRPr lang="de-DE" dirty="0"/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12F9A61B-530F-C7FE-083F-1DEA6C6C8F33}"/>
              </a:ext>
            </a:extLst>
          </p:cNvPr>
          <p:cNvSpPr/>
          <p:nvPr/>
        </p:nvSpPr>
        <p:spPr>
          <a:xfrm rot="5400000">
            <a:off x="4733830" y="4552664"/>
            <a:ext cx="2052824" cy="481361"/>
          </a:xfrm>
          <a:prstGeom prst="triangl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15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04F2EC4-8D5E-6C52-234C-14C48BE92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58230"/>
              </p:ext>
            </p:extLst>
          </p:nvPr>
        </p:nvGraphicFramePr>
        <p:xfrm>
          <a:off x="585646" y="3766932"/>
          <a:ext cx="4562530" cy="2052823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1797350">
                  <a:extLst>
                    <a:ext uri="{9D8B030D-6E8A-4147-A177-3AD203B41FA5}">
                      <a16:colId xmlns:a16="http://schemas.microsoft.com/office/drawing/2014/main" val="3758818017"/>
                    </a:ext>
                  </a:extLst>
                </a:gridCol>
                <a:gridCol w="2765180">
                  <a:extLst>
                    <a:ext uri="{9D8B030D-6E8A-4147-A177-3AD203B41FA5}">
                      <a16:colId xmlns:a16="http://schemas.microsoft.com/office/drawing/2014/main" val="3310301671"/>
                    </a:ext>
                  </a:extLst>
                </a:gridCol>
              </a:tblGrid>
              <a:tr h="351072">
                <a:tc>
                  <a:txBody>
                    <a:bodyPr/>
                    <a:lstStyle/>
                    <a:p>
                      <a:pPr algn="l" fontAlgn="ctr">
                        <a:lnSpc>
                          <a:spcPts val="1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de-DE" sz="1100" b="1" dirty="0">
                          <a:solidFill>
                            <a:srgbClr val="000000"/>
                          </a:solidFill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Kriterium</a:t>
                      </a:r>
                      <a:endParaRPr lang="de-DE" sz="11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4017" rtl="0" eaLnBrk="1" fontAlgn="ctr" latinLnBrk="0" hangingPunct="1">
                        <a:lnSpc>
                          <a:spcPts val="1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de-DE" sz="1100" b="1" dirty="0">
                          <a:solidFill>
                            <a:srgbClr val="000000"/>
                          </a:solidFill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Bedeutung</a:t>
                      </a:r>
                      <a:endParaRPr lang="de-DE" sz="11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062628"/>
                  </a:ext>
                </a:extLst>
              </a:tr>
              <a:tr h="878845">
                <a:tc>
                  <a:txBody>
                    <a:bodyPr/>
                    <a:lstStyle/>
                    <a:p>
                      <a:pPr algn="l"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000" b="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Unmittelbarer Einfluss auf den Unternehmenserfolg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9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xiforma for Sec" pitchFamily="2" charset="0"/>
                          <a:ea typeface="+mn-ea"/>
                          <a:cs typeface="+mn-cs"/>
                        </a:rPr>
                        <a:t>Finanzieller Schaden von mindestens 50.000 €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6704648"/>
                  </a:ext>
                </a:extLst>
              </a:tr>
              <a:tr h="822906">
                <a:tc>
                  <a:txBody>
                    <a:bodyPr/>
                    <a:lstStyle/>
                    <a:p>
                      <a:pPr algn="l"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000" b="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Maßgeblicher Einfluss auf den Unternehmenserfolg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9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xiforma for Sec" pitchFamily="2" charset="0"/>
                          <a:ea typeface="+mn-ea"/>
                          <a:cs typeface="+mn-cs"/>
                        </a:rPr>
                        <a:t>Finanzieller Schaden von mindestens 500.000 €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868310"/>
                  </a:ext>
                </a:extLst>
              </a:tr>
            </a:tbl>
          </a:graphicData>
        </a:graphic>
      </p:graphicFrame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A7F214C3-88DE-80A2-6778-DB6D527516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471640"/>
              </p:ext>
            </p:extLst>
          </p:nvPr>
        </p:nvGraphicFramePr>
        <p:xfrm>
          <a:off x="6381695" y="3762145"/>
          <a:ext cx="4562530" cy="2052823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1797350">
                  <a:extLst>
                    <a:ext uri="{9D8B030D-6E8A-4147-A177-3AD203B41FA5}">
                      <a16:colId xmlns:a16="http://schemas.microsoft.com/office/drawing/2014/main" val="3758818017"/>
                    </a:ext>
                  </a:extLst>
                </a:gridCol>
                <a:gridCol w="2765180">
                  <a:extLst>
                    <a:ext uri="{9D8B030D-6E8A-4147-A177-3AD203B41FA5}">
                      <a16:colId xmlns:a16="http://schemas.microsoft.com/office/drawing/2014/main" val="3310301671"/>
                    </a:ext>
                  </a:extLst>
                </a:gridCol>
              </a:tblGrid>
              <a:tr h="351072">
                <a:tc>
                  <a:txBody>
                    <a:bodyPr/>
                    <a:lstStyle/>
                    <a:p>
                      <a:pPr algn="l" fontAlgn="ctr">
                        <a:lnSpc>
                          <a:spcPts val="1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de-DE" sz="1100" b="1" dirty="0">
                          <a:solidFill>
                            <a:srgbClr val="000000"/>
                          </a:solidFill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Unterscheidung</a:t>
                      </a:r>
                      <a:endParaRPr lang="de-DE" sz="11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4017" rtl="0" eaLnBrk="1" fontAlgn="ctr" latinLnBrk="0" hangingPunct="1">
                        <a:lnSpc>
                          <a:spcPts val="1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de-DE" sz="1100" b="1" dirty="0">
                          <a:solidFill>
                            <a:srgbClr val="000000"/>
                          </a:solidFill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Beispiele Dienstleister</a:t>
                      </a:r>
                    </a:p>
                  </a:txBody>
                  <a:tcPr marL="108000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062628"/>
                  </a:ext>
                </a:extLst>
              </a:tr>
              <a:tr h="878845">
                <a:tc>
                  <a:txBody>
                    <a:bodyPr/>
                    <a:lstStyle/>
                    <a:p>
                      <a:pPr algn="l"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00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Nicht bedeutsame Dienstleister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9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xiforma for Sec" pitchFamily="2" charset="0"/>
                          <a:ea typeface="+mn-ea"/>
                          <a:cs typeface="+mn-cs"/>
                        </a:rPr>
                        <a:t>Bäckerei, Caterer, Vermittler …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6704648"/>
                  </a:ext>
                </a:extLst>
              </a:tr>
              <a:tr h="822906">
                <a:tc>
                  <a:txBody>
                    <a:bodyPr/>
                    <a:lstStyle/>
                    <a:p>
                      <a:pPr algn="l"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00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Bedeutsame Dienstleister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9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xiforma for Sec" pitchFamily="2" charset="0"/>
                          <a:ea typeface="+mn-ea"/>
                          <a:cs typeface="+mn-cs"/>
                        </a:rPr>
                        <a:t>Handwerker, Hardwarelieferanten, </a:t>
                      </a:r>
                      <a:r>
                        <a:rPr lang="de-DE" sz="95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xiforma for Sec" pitchFamily="2" charset="0"/>
                          <a:ea typeface="+mn-ea"/>
                          <a:cs typeface="+mn-cs"/>
                        </a:rPr>
                        <a:t>IT-Support</a:t>
                      </a:r>
                      <a:r>
                        <a:rPr lang="de-DE" sz="9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xiforma for Sec" pitchFamily="2" charset="0"/>
                          <a:ea typeface="+mn-ea"/>
                          <a:cs typeface="+mn-cs"/>
                        </a:rPr>
                        <a:t> …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8683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77004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3BCD85-925D-EC10-1402-826618753A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568AD54-3EEA-F49E-5130-F9D01CEA285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692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68AD54-3EEA-F49E-5130-F9D01CEA28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BA65A06-F15D-AAB6-0BB2-5D4533196AF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B2C05521-75D0-4800-BB1E-7B929474FC90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5B5BC4-ECB7-7A69-1D7A-E973D9B1DF7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A3F2891-3C6D-8754-093D-459EF795A9F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041696F-69E0-081D-66C3-6F25F46570AA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/>
              <a:t>Festlegung der </a:t>
            </a:r>
            <a:r>
              <a:rPr lang="de-DE" b="1" dirty="0"/>
              <a:t>Kriterien</a:t>
            </a:r>
            <a:r>
              <a:rPr lang="de-DE" dirty="0"/>
              <a:t> erfolgt individuell, beispielsweise können folgende </a:t>
            </a:r>
            <a:r>
              <a:rPr lang="de-DE" b="1" dirty="0"/>
              <a:t>Kriterien</a:t>
            </a:r>
            <a:r>
              <a:rPr lang="de-DE" dirty="0"/>
              <a:t> gewählt werden: </a:t>
            </a:r>
          </a:p>
          <a:p>
            <a:pPr marL="285750" lvl="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b="1" dirty="0"/>
              <a:t>Zugang und/oder Zugriff </a:t>
            </a:r>
            <a:r>
              <a:rPr lang="de-DE" dirty="0"/>
              <a:t>auf vertrauliche Systeme/Daten,</a:t>
            </a:r>
          </a:p>
          <a:p>
            <a:pPr marL="285750" lvl="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b="1" dirty="0"/>
              <a:t>Zutritt zu Räumlichkeiten, </a:t>
            </a:r>
            <a:r>
              <a:rPr lang="de-DE" dirty="0"/>
              <a:t>in denen sich besonders schützenswerte Assets der befinden,</a:t>
            </a:r>
          </a:p>
          <a:p>
            <a:pPr marL="285750" lvl="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Dienstleister, die einen </a:t>
            </a:r>
            <a:r>
              <a:rPr lang="de-DE" b="1" dirty="0"/>
              <a:t>maßgeblichen Einfluss auf den Erfolg </a:t>
            </a:r>
            <a:r>
              <a:rPr lang="de-DE" dirty="0"/>
              <a:t>der haben,</a:t>
            </a:r>
          </a:p>
          <a:p>
            <a:pPr marL="285750" lvl="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Bereitstellung von Dienstleistungen und Ressourcen, die im Falle eines z.B. Notfalls unverzichtbar für eine </a:t>
            </a:r>
            <a:r>
              <a:rPr lang="de-DE" b="1" dirty="0"/>
              <a:t>Aufrechterhaltung der Betriebsfähigkeit</a:t>
            </a:r>
            <a:r>
              <a:rPr lang="de-DE" dirty="0">
                <a:latin typeface="+mj-lt"/>
              </a:rPr>
              <a:t> </a:t>
            </a:r>
            <a:r>
              <a:rPr lang="de-DE" dirty="0"/>
              <a:t>sind, </a:t>
            </a:r>
          </a:p>
          <a:p>
            <a:pPr marL="285750" lvl="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Dienstleister, für die keine Alternativen bestehen und die einen </a:t>
            </a:r>
            <a:r>
              <a:rPr lang="de-DE" b="1" dirty="0"/>
              <a:t>maßgeblichen Einfluss auf die Leistungserbringung</a:t>
            </a:r>
            <a:r>
              <a:rPr lang="de-DE" dirty="0">
                <a:latin typeface="+mj-lt"/>
              </a:rPr>
              <a:t> </a:t>
            </a:r>
            <a:r>
              <a:rPr lang="de-DE" dirty="0"/>
              <a:t>haben.</a:t>
            </a:r>
            <a:r>
              <a:rPr lang="de-DE" b="1" dirty="0"/>
              <a:t> </a:t>
            </a:r>
            <a:endParaRPr lang="de-DE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 Die Kriterien können durch den ISB in </a:t>
            </a:r>
            <a:r>
              <a:rPr lang="de-DE" b="1" dirty="0"/>
              <a:t>Absprache mit der Geschäftsführung</a:t>
            </a:r>
            <a:r>
              <a:rPr lang="de-DE" dirty="0">
                <a:latin typeface="+mj-lt"/>
              </a:rPr>
              <a:t> </a:t>
            </a:r>
            <a:r>
              <a:rPr lang="de-DE" dirty="0"/>
              <a:t>angepasst werden.</a:t>
            </a:r>
          </a:p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2E5C222-234A-E335-3427-6CF760BDE4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DE" dirty="0"/>
              <a:t>IS-Anforderungen an Dienstleister</a:t>
            </a:r>
            <a:br>
              <a:rPr lang="de-DE" dirty="0"/>
            </a:br>
            <a:r>
              <a:rPr lang="de-DE" dirty="0">
                <a:latin typeface="+mn-lt"/>
              </a:rPr>
              <a:t>Ermittlung Kritikalität</a:t>
            </a:r>
            <a:br>
              <a:rPr lang="de-DE" dirty="0"/>
            </a:br>
            <a:r>
              <a:rPr lang="de-DE" dirty="0"/>
              <a:t> </a:t>
            </a:r>
          </a:p>
        </p:txBody>
      </p:sp>
      <p:sp>
        <p:nvSpPr>
          <p:cNvPr id="24" name="Stern: 32 Zacken 23">
            <a:extLst>
              <a:ext uri="{FF2B5EF4-FFF2-40B4-BE49-F238E27FC236}">
                <a16:creationId xmlns:a16="http://schemas.microsoft.com/office/drawing/2014/main" id="{44963879-DAB3-0616-7C5C-D3D21119D69E}"/>
              </a:ext>
            </a:extLst>
          </p:cNvPr>
          <p:cNvSpPr/>
          <p:nvPr/>
        </p:nvSpPr>
        <p:spPr>
          <a:xfrm rot="442498">
            <a:off x="10141647" y="311810"/>
            <a:ext cx="1041539" cy="1039889"/>
          </a:xfrm>
          <a:prstGeom prst="star32">
            <a:avLst>
              <a:gd name="adj" fmla="val 46166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10800" rtlCol="0" anchor="ctr"/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Individuelle</a:t>
            </a:r>
          </a:p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 Kriterien</a:t>
            </a:r>
          </a:p>
        </p:txBody>
      </p:sp>
    </p:spTree>
    <p:extLst>
      <p:ext uri="{BB962C8B-B14F-4D97-AF65-F5344CB8AC3E}">
        <p14:creationId xmlns:p14="http://schemas.microsoft.com/office/powerpoint/2010/main" val="2684622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B2CB1E-713D-5B6B-543C-3B58B82C38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063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A6E9D6D-420A-8CDA-BFCA-07D4D410213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B9603FE3-2950-4F86-A644-31CAA409B173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3B76F1-421A-3F9C-14F3-B874F616BAE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A9C27BB-5761-5D5C-180A-8D34C62CE1B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13</a:t>
            </a:fld>
            <a:endParaRPr lang="de-DE" dirty="0"/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B4DABAC0-5D45-F7A8-9F47-62D2F0700D67}"/>
              </a:ext>
            </a:extLst>
          </p:cNvPr>
          <p:cNvGraphicFramePr>
            <a:graphicFrameLocks noGrp="1"/>
          </p:cNvGraphicFramePr>
          <p:nvPr>
            <p:ph sz="quarter" idx="21"/>
          </p:nvPr>
        </p:nvGraphicFramePr>
        <p:xfrm>
          <a:off x="1449451" y="2664023"/>
          <a:ext cx="8640000" cy="2837202"/>
        </p:xfrm>
        <a:graphic>
          <a:graphicData uri="http://schemas.openxmlformats.org/drawingml/2006/table">
            <a:tbl>
              <a:tblPr firstRow="1" firstCol="1" bandRow="1"/>
              <a:tblGrid>
                <a:gridCol w="2880000">
                  <a:extLst>
                    <a:ext uri="{9D8B030D-6E8A-4147-A177-3AD203B41FA5}">
                      <a16:colId xmlns:a16="http://schemas.microsoft.com/office/drawing/2014/main" val="3332970271"/>
                    </a:ext>
                  </a:extLst>
                </a:gridCol>
                <a:gridCol w="2880000">
                  <a:extLst>
                    <a:ext uri="{9D8B030D-6E8A-4147-A177-3AD203B41FA5}">
                      <a16:colId xmlns:a16="http://schemas.microsoft.com/office/drawing/2014/main" val="1470344373"/>
                    </a:ext>
                  </a:extLst>
                </a:gridCol>
                <a:gridCol w="2880000">
                  <a:extLst>
                    <a:ext uri="{9D8B030D-6E8A-4147-A177-3AD203B41FA5}">
                      <a16:colId xmlns:a16="http://schemas.microsoft.com/office/drawing/2014/main" val="2891193047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Kritikalitätskategorie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Beschreibung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Beispiele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287423"/>
                  </a:ext>
                </a:extLst>
              </a:tr>
              <a:tr h="825734"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Kategorie A - Hoch</a:t>
                      </a:r>
                      <a:endParaRPr lang="de-DE" sz="14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Mindestens vier Kriterien treffen auf den Dienstleister zu.</a:t>
                      </a:r>
                      <a:endParaRPr lang="de-DE" sz="14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OT-Software-Entwickler</a:t>
                      </a:r>
                      <a:endParaRPr lang="de-DE" sz="14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51541"/>
                  </a:ext>
                </a:extLst>
              </a:tr>
              <a:tr h="825734"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Kategorie B - Mittel</a:t>
                      </a:r>
                      <a:endParaRPr lang="de-DE" sz="140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Mindestens zwei Kriterien treffen auf den Dienstleister zu.</a:t>
                      </a:r>
                      <a:endParaRPr lang="de-DE" sz="14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 err="1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IT-Support</a:t>
                      </a:r>
                      <a:r>
                        <a:rPr lang="de-DE" sz="14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, Cloud-Service-Provider</a:t>
                      </a:r>
                      <a:endParaRPr lang="de-DE" sz="14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3298756"/>
                  </a:ext>
                </a:extLst>
              </a:tr>
              <a:tr h="825734"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Kategorie C - Niedrig</a:t>
                      </a:r>
                      <a:endParaRPr lang="de-DE" sz="140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Mindestens ein Kriterium trifft auf den Dienstleister zu.</a:t>
                      </a:r>
                      <a:endParaRPr lang="de-DE" sz="140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Hardware-Lieferant, Hardware-Entsorger</a:t>
                      </a:r>
                      <a:endParaRPr lang="de-DE" sz="14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5552984"/>
                  </a:ext>
                </a:extLst>
              </a:tr>
            </a:tbl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7E021A9-24B2-521A-69EC-9BC23A258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S-Anforderungen an Dienstleister</a:t>
            </a:r>
            <a:br>
              <a:rPr lang="de-DE" dirty="0"/>
            </a:br>
            <a:r>
              <a:rPr lang="de-DE" dirty="0">
                <a:latin typeface="+mn-lt"/>
              </a:rPr>
              <a:t>Ermittlung Kritikalitä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28674C4-3255-371E-C070-CAAC2347B707}"/>
              </a:ext>
            </a:extLst>
          </p:cNvPr>
          <p:cNvSpPr txBox="1"/>
          <p:nvPr/>
        </p:nvSpPr>
        <p:spPr>
          <a:xfrm>
            <a:off x="579823" y="1511300"/>
            <a:ext cx="10364402" cy="679930"/>
          </a:xfrm>
          <a:prstGeom prst="rect">
            <a:avLst/>
          </a:prstGeom>
          <a:noFill/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txBody>
          <a:bodyPr wrap="square">
            <a:spAutoFit/>
          </a:bodyPr>
          <a:lstStyle/>
          <a:p>
            <a:pPr algn="just">
              <a:lnSpc>
                <a:spcPts val="1450"/>
              </a:lnSpc>
              <a:spcAft>
                <a:spcPts val="725"/>
              </a:spcAft>
              <a:buNone/>
            </a:pPr>
            <a:r>
              <a:rPr lang="de-DE" sz="1400" dirty="0">
                <a:effectLst/>
                <a:latin typeface="Axiforma for Sec" pitchFamily="2" charset="0"/>
                <a:ea typeface="Axiforma for Sec" pitchFamily="2" charset="0"/>
                <a:cs typeface="Times New Roman" panose="02020603050405020304" pitchFamily="18" charset="0"/>
              </a:rPr>
              <a:t>Dienstleister können manuell in ihrer Kritikalität hochgestuft werden, wenn eine niedrige Kritikalitätsbewertung durch das Tool erfolgt ist, er aber als höher-kritisch gehandhabt werden soll. Eine Herabstufung ist hingegen nicht zulässig.</a:t>
            </a:r>
          </a:p>
        </p:txBody>
      </p:sp>
    </p:spTree>
    <p:extLst>
      <p:ext uri="{BB962C8B-B14F-4D97-AF65-F5344CB8AC3E}">
        <p14:creationId xmlns:p14="http://schemas.microsoft.com/office/powerpoint/2010/main" val="30386961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F8B39F-4F5D-4720-2314-62D257F8B4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E653926-F675-99D3-7F7C-20DBF3F1E77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7819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653926-F675-99D3-7F7C-20DBF3F1E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A2B6B7E-E1F5-448F-87E9-7842F15413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EDCB67D-62EC-46FD-8FD4-41C13EA0DED2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93733D-68D6-D2C9-6AF4-BBB177F1F9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4F0634-2617-7EC6-66E7-381B17DBF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582962F-CA47-0D6B-EAD8-094DCF744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DE" dirty="0"/>
              <a:t>IS-Anforderungen an Dienstleister</a:t>
            </a:r>
            <a:br>
              <a:rPr lang="de-DE" dirty="0"/>
            </a:br>
            <a:r>
              <a:rPr lang="de-DE" dirty="0">
                <a:latin typeface="+mn-lt"/>
              </a:rPr>
              <a:t>Beauftragung des Dienstleisters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3F5072FF-BA85-717B-B1F5-9BBAEFC1F5A2}"/>
              </a:ext>
            </a:extLst>
          </p:cNvPr>
          <p:cNvGraphicFramePr>
            <a:graphicFrameLocks noGrp="1"/>
          </p:cNvGraphicFramePr>
          <p:nvPr/>
        </p:nvGraphicFramePr>
        <p:xfrm>
          <a:off x="576263" y="1518032"/>
          <a:ext cx="10359718" cy="217271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0359718">
                  <a:extLst>
                    <a:ext uri="{9D8B030D-6E8A-4147-A177-3AD203B41FA5}">
                      <a16:colId xmlns:a16="http://schemas.microsoft.com/office/drawing/2014/main" val="12463983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bg1"/>
                          </a:solidFill>
                        </a:rPr>
                        <a:t>Bedeutsame Dienstleister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7000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Sicherheitsbewusstsein: Schulungen, Zertifikate, Sicherheitsmaßnahmen dokumentier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Vertraulichkeit: Verpflichtung zur Wahrung von Vertraulichkeit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Überwachung &amp; Kündigung: Recht zur Überwachung und Vertragsbeendigung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Haftung: Verantwortung für Schäden aus Vertragsverletzung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Änderungen melden: Informationspflicht bei Änderungen der Sicherheitsmaßnahm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Vorfallmeldung: Einhaltung von Fristen bei Vorfäll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Vertragsbeendigung: Bedingungen für Verlängerung oder Beendigung definier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Externe Mitarbeitende: Teilnahme an Schulungen und Awareness-Maßnahmen erforderlich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Maßnahmen bei Vertragsende: Rückgabe, Vernichtung oder Löschung vertraulicher Daten..</a:t>
                      </a:r>
                      <a:endParaRPr lang="de-DE" sz="12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25829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50971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8A9535D-EC7B-B8DE-CAEB-47C921223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3587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68053-462A-F823-C57A-68A03FB4AB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F686CA9-6EA7-46FB-B62E-1B6ED7202513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857078-4DE0-80AF-5DBD-DA9597295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E19AC5-552B-F1C9-E0F7-50312FC7FD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FF0B55B-1BAB-32B5-57A4-7ACD3DA09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S-Anforderungen an Dienstleister</a:t>
            </a:r>
            <a:br>
              <a:rPr lang="de-DE" dirty="0"/>
            </a:br>
            <a:r>
              <a:rPr lang="de-DE" dirty="0">
                <a:latin typeface="+mn-lt"/>
              </a:rPr>
              <a:t>Beauftragung des Dienstleisters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79B0040-5665-A735-37BF-3F77F3CE8C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525491"/>
              </p:ext>
            </p:extLst>
          </p:nvPr>
        </p:nvGraphicFramePr>
        <p:xfrm>
          <a:off x="576263" y="1522750"/>
          <a:ext cx="10367961" cy="4309725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0367961">
                  <a:extLst>
                    <a:ext uri="{9D8B030D-6E8A-4147-A177-3AD203B41FA5}">
                      <a16:colId xmlns:a16="http://schemas.microsoft.com/office/drawing/2014/main" val="2987353573"/>
                    </a:ext>
                  </a:extLst>
                </a:gridCol>
              </a:tblGrid>
              <a:tr h="328506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bg1"/>
                          </a:solidFill>
                        </a:rPr>
                        <a:t>Dienstleister der Kritikalitätskategorie C - Niedrig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303051"/>
                  </a:ext>
                </a:extLst>
              </a:tr>
              <a:tr h="3981219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+mn-lt"/>
                        </a:rPr>
                        <a:t>Alle vorhergehenden Anforderungen</a:t>
                      </a:r>
                      <a:endParaRPr lang="de-DE" sz="1200" dirty="0">
                        <a:effectLst/>
                        <a:latin typeface="Axiforma for Sec" pitchFamily="2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Verantwortung für Daten: Dienstleister muss für korrekte Speicherung und Löschung von Daten sorg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Informationsklassifizierung: Definition und Schutz von Betriebsgeheimniss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Subunternehmen: Genehmigungspflicht für Subunternehmen und Weitergabe der Anforderung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Mitarbeiterschulungen: Verpflichtung zur Schulung der Mitarbeitenden zu relevanten Aktivität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Reaktionszeiten &amp; Eskalation: Festlegung von Reaktionszeiten und Eskalationsprozessen bei Vorfäll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Sicherheitsvorgaben: Auftraggeber muss über relevante Sicherheitsvorgaben des Unternehmens informiert werd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Zugangsberechtigungen: Unbefugte Zugänge sind verboten und müssen ausdrücklich genehmigt werd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Leistungsumfang: Definition des Leistungsumfangs und Klassifikation der zugänglichen Information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Schutzmaßnahmen: Identifikation und Einsatz technischer, physikalischer und organisatorischer Schutzmaßnahm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Vertraulichkeit nach Vertragsende: Stillschweigen über vertrauliche Informationen auch nach Vertragsende wahr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Axiforma for Sec" pitchFamily="2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Selbstauskunftsrecht: Das Recht, beim Dienstleister eine Selbstauskunft einzuholen.</a:t>
                      </a:r>
                      <a:endParaRPr lang="de-DE" sz="12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54386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98848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4202AFD-CA6E-EB62-FF9A-206AB94237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37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61B1EBA-1F68-AEAF-407A-72779C532BF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AB7CE56C-CA6E-4EA8-A017-251396BFE5ED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FDA9C7-A5EA-60A6-D2B2-A5F5E6F02E6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937419-D8F0-6D09-FDA3-65F46B1D708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52C8BD8-8D06-1C55-6687-B273A4555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S-Anforderungen an Dienstleister</a:t>
            </a:r>
            <a:br>
              <a:rPr lang="de-DE" dirty="0"/>
            </a:br>
            <a:r>
              <a:rPr lang="de-DE" dirty="0">
                <a:latin typeface="+mn-lt"/>
              </a:rPr>
              <a:t>Beauftragung des Dienstleisters</a:t>
            </a: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0A6E25F3-F3AD-CED0-D4FA-9EDDEC588645}"/>
              </a:ext>
            </a:extLst>
          </p:cNvPr>
          <p:cNvGraphicFramePr>
            <a:graphicFrameLocks noGrp="1"/>
          </p:cNvGraphicFramePr>
          <p:nvPr/>
        </p:nvGraphicFramePr>
        <p:xfrm>
          <a:off x="576263" y="1511300"/>
          <a:ext cx="10367961" cy="179171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0367961">
                  <a:extLst>
                    <a:ext uri="{9D8B030D-6E8A-4147-A177-3AD203B41FA5}">
                      <a16:colId xmlns:a16="http://schemas.microsoft.com/office/drawing/2014/main" val="28824521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bg1"/>
                          </a:solidFill>
                        </a:rPr>
                        <a:t>Dienstleister der Kritikalitätskategorie B - Mittel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414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marR="0" lvl="0" indent="-342900" algn="just" defTabSz="864017" rtl="0" eaLnBrk="1" fontAlgn="auto" latinLnBrk="0" hangingPunct="1">
                        <a:lnSpc>
                          <a:spcPts val="14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D70F37"/>
                        </a:buClr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DE" sz="1200" dirty="0">
                          <a:effectLst/>
                          <a:latin typeface="+mn-lt"/>
                        </a:rPr>
                        <a:t>Alle vorhergehenden Anforderungen</a:t>
                      </a:r>
                      <a:endParaRPr lang="de-DE" sz="1200" dirty="0">
                        <a:effectLst/>
                        <a:latin typeface="Axiforma for Sec" pitchFamily="2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+mn-lt"/>
                        </a:rPr>
                        <a:t>Wiederherstellung des Geschäftsbetriebs: Sicherstellung, dass gemäß den Prioritäten des Unternehmens bestimmte Services innerhalb definierter Fristen wiederhergestellt werd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+mn-lt"/>
                        </a:rPr>
                        <a:t>Überprüfungsrecht: Recht des Unternehmens, Überprüfungsmaßnahmen durchzuführen, die mit der Nutzung vertraulicher Informationen und der Einhaltung der Vereinbarung beim Dienstleister zusammenhängen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  <a:latin typeface="+mn-lt"/>
                        </a:rPr>
                        <a:t>Zugriffsrecht auf Daten: Recht des Unternehmens, auf beim Dienstleister gespeicherte oder verarbeitete Informationen zuzugreifen.</a:t>
                      </a:r>
                      <a:endParaRPr lang="de-DE" sz="1200" dirty="0">
                        <a:effectLst/>
                        <a:latin typeface="+mn-lt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8420758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5F887440-9993-6DFC-761B-D662B330C5F3}"/>
              </a:ext>
            </a:extLst>
          </p:cNvPr>
          <p:cNvGraphicFramePr>
            <a:graphicFrameLocks noGrp="1"/>
          </p:cNvGraphicFramePr>
          <p:nvPr/>
        </p:nvGraphicFramePr>
        <p:xfrm>
          <a:off x="576263" y="3590352"/>
          <a:ext cx="10367959" cy="141071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0367959">
                  <a:extLst>
                    <a:ext uri="{9D8B030D-6E8A-4147-A177-3AD203B41FA5}">
                      <a16:colId xmlns:a16="http://schemas.microsoft.com/office/drawing/2014/main" val="14641009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bg1"/>
                          </a:solidFill>
                        </a:rPr>
                        <a:t>Dienstleister der Kritikalitätskategorie A - Hoch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4171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marR="0" lvl="0" indent="-342900" algn="just" defTabSz="864017" rtl="0" eaLnBrk="1" fontAlgn="auto" latinLnBrk="0" hangingPunct="1">
                        <a:lnSpc>
                          <a:spcPts val="14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D70F37"/>
                        </a:buClr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DE" sz="1200" dirty="0">
                          <a:effectLst/>
                          <a:latin typeface="+mn-lt"/>
                        </a:rPr>
                        <a:t>Alle vorhergehenden Anforderungen</a:t>
                      </a:r>
                      <a:endParaRPr lang="de-DE" sz="1200" dirty="0">
                        <a:effectLst/>
                        <a:latin typeface="Axiforma for Sec" pitchFamily="2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</a:rPr>
                        <a:t>Alle vorhergehenden Anforderungen an bedeutsamen Dienstleister und Dienstleister der Kritikalitätskategorie C und B.</a:t>
                      </a: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</a:rPr>
                        <a:t>Das Recht, beim Dienstleister vor Ort Audits durchzuführen.</a:t>
                      </a:r>
                    </a:p>
                    <a:p>
                      <a:pPr marL="342900" marR="0" lvl="0" indent="-342900" algn="just" defTabSz="864017" rtl="0" eaLnBrk="1" fontAlgn="auto" latinLnBrk="0" hangingPunct="1">
                        <a:lnSpc>
                          <a:spcPts val="14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D70F37"/>
                        </a:buClr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DE" sz="1200" dirty="0">
                          <a:effectLst/>
                        </a:rPr>
                        <a:t>Definition des angestrebten Service-Levels sowie des inakzeptablen Service-Levels.</a:t>
                      </a:r>
                      <a:endParaRPr lang="de-DE" sz="12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ts val="1450"/>
                        </a:lnSpc>
                        <a:buClr>
                          <a:srgbClr val="D70F37"/>
                        </a:buClr>
                        <a:buFont typeface="Symbol" panose="05050102010706020507" pitchFamily="18" charset="2"/>
                        <a:buChar char="-"/>
                      </a:pPr>
                      <a:r>
                        <a:rPr lang="de-DE" sz="1200" dirty="0">
                          <a:effectLst/>
                        </a:rPr>
                        <a:t>Vertragsstrafen bei Nichteinhaltung der Service Level.</a:t>
                      </a:r>
                    </a:p>
                  </a:txBody>
                  <a:tcP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5582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7975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107985-3E9E-339E-9229-5A39303FB6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9C648B6-BB4D-B485-5CB9-10E468B3F21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0193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9C648B6-BB4D-B485-5CB9-10E468B3F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B9B47B3-7BDF-7AF1-FE6D-B07129DD0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2" y="1511069"/>
            <a:ext cx="8784381" cy="2592619"/>
          </a:xfrm>
        </p:spPr>
        <p:txBody>
          <a:bodyPr vert="horz"/>
          <a:lstStyle/>
          <a:p>
            <a:r>
              <a:rPr lang="de-DE" dirty="0"/>
              <a:t>Dienstleister- und Lieferantenmanagemen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C554D14-40A9-21A5-EDB7-E3D57B1D12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                        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DAD4EAD-E831-D734-ADE0-DD7D832979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e-DE" dirty="0"/>
              <a:t>03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5D5E617-3142-1844-3685-8BC5E868A1F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110BDE-6A69-4BDF-8495-5539E4005F2D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xiforma for Sec"/>
                <a:ea typeface="+mn-ea"/>
                <a:cs typeface="+mn-cs"/>
              </a:rPr>
              <a:t>17.04.202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48D553E-D0AE-90C9-A2A4-0730294E9D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108000" marR="0" lvl="0" indent="-108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30000"/>
              <a:buFont typeface="Axiforma for Sec"/>
              <a:buChar char="|"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xiforma for Sec"/>
                <a:ea typeface="+mn-ea"/>
                <a:cs typeface="+mn-cs"/>
              </a:rPr>
              <a:t>Cybersecurity Summit Hamburg | NIS-2 und die sichere Lieferkette</a:t>
            </a:r>
          </a:p>
        </p:txBody>
      </p:sp>
    </p:spTree>
    <p:extLst>
      <p:ext uri="{BB962C8B-B14F-4D97-AF65-F5344CB8AC3E}">
        <p14:creationId xmlns:p14="http://schemas.microsoft.com/office/powerpoint/2010/main" val="23555335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35B65C-8C82-2D79-6537-822D6A8090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6B745D-5E79-3802-8DA5-236E4E460B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056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63CA1E-0573-D781-34A1-B657DF2B64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A37EE8E-53A5-870A-C9C0-2FEC5511E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D456A535-026D-48DF-BE91-C0D2B4A532D2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FF7B19-64AE-7369-16BE-FFD98D723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76DA655-9388-F4EA-70B2-26E8F2F03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DA66DC-F443-1903-D65F-5881B5517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ienstleister- und Lieferantenmanagement</a:t>
            </a:r>
            <a:br>
              <a:rPr lang="de-DE" dirty="0"/>
            </a:br>
            <a:r>
              <a:rPr lang="de-DE" dirty="0">
                <a:latin typeface="Axiforma for Sec" pitchFamily="2" charset="0"/>
              </a:rPr>
              <a:t>Leistungsprozess Lieferantenbeziehung</a:t>
            </a:r>
            <a:endParaRPr lang="de-DE" dirty="0">
              <a:latin typeface="+mn-lt"/>
            </a:endParaRP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D3357770-93C0-3295-8BC8-D6E076FE60E2}"/>
              </a:ext>
            </a:extLst>
          </p:cNvPr>
          <p:cNvGraphicFramePr/>
          <p:nvPr/>
        </p:nvGraphicFramePr>
        <p:xfrm>
          <a:off x="583489" y="2309008"/>
          <a:ext cx="10360734" cy="15880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9" name="Eckige Klammer rechts 8">
            <a:extLst>
              <a:ext uri="{FF2B5EF4-FFF2-40B4-BE49-F238E27FC236}">
                <a16:creationId xmlns:a16="http://schemas.microsoft.com/office/drawing/2014/main" id="{E31223DE-D4E8-959A-DEFC-D73179DE0C08}"/>
              </a:ext>
            </a:extLst>
          </p:cNvPr>
          <p:cNvSpPr/>
          <p:nvPr/>
        </p:nvSpPr>
        <p:spPr>
          <a:xfrm rot="16200000">
            <a:off x="3850814" y="-861161"/>
            <a:ext cx="126836" cy="6707508"/>
          </a:xfrm>
          <a:prstGeom prst="rightBracket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6543DD8-EFF7-45F9-D77C-1008E4A3EC25}"/>
              </a:ext>
            </a:extLst>
          </p:cNvPr>
          <p:cNvSpPr txBox="1"/>
          <p:nvPr/>
        </p:nvSpPr>
        <p:spPr>
          <a:xfrm>
            <a:off x="2668538" y="1889977"/>
            <a:ext cx="24913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Phase 1:</a:t>
            </a:r>
          </a:p>
          <a:p>
            <a:pPr algn="ctr"/>
            <a:r>
              <a:rPr lang="de-DE" sz="1400" dirty="0">
                <a:solidFill>
                  <a:schemeClr val="accent1"/>
                </a:solidFill>
              </a:rPr>
              <a:t>Auswahl des Dienstleisters</a:t>
            </a:r>
          </a:p>
        </p:txBody>
      </p:sp>
      <p:sp>
        <p:nvSpPr>
          <p:cNvPr id="10" name="Eckige Klammer rechts 9">
            <a:extLst>
              <a:ext uri="{FF2B5EF4-FFF2-40B4-BE49-F238E27FC236}">
                <a16:creationId xmlns:a16="http://schemas.microsoft.com/office/drawing/2014/main" id="{C8EA2FDD-F4F4-C24E-2577-AE791E14D16A}"/>
              </a:ext>
            </a:extLst>
          </p:cNvPr>
          <p:cNvSpPr/>
          <p:nvPr/>
        </p:nvSpPr>
        <p:spPr>
          <a:xfrm rot="16200000">
            <a:off x="8088879" y="1718506"/>
            <a:ext cx="126837" cy="1548172"/>
          </a:xfrm>
          <a:prstGeom prst="rightBracket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ckige Klammer rechts 10">
            <a:extLst>
              <a:ext uri="{FF2B5EF4-FFF2-40B4-BE49-F238E27FC236}">
                <a16:creationId xmlns:a16="http://schemas.microsoft.com/office/drawing/2014/main" id="{A988BD62-9DBD-7018-CEBC-0699AF8056B8}"/>
              </a:ext>
            </a:extLst>
          </p:cNvPr>
          <p:cNvSpPr/>
          <p:nvPr/>
        </p:nvSpPr>
        <p:spPr>
          <a:xfrm rot="16200000">
            <a:off x="9783379" y="1682600"/>
            <a:ext cx="126640" cy="1620182"/>
          </a:xfrm>
          <a:prstGeom prst="rightBracket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A3575E3-994A-EE62-C54C-66A15DDAF8D2}"/>
              </a:ext>
            </a:extLst>
          </p:cNvPr>
          <p:cNvSpPr txBox="1"/>
          <p:nvPr/>
        </p:nvSpPr>
        <p:spPr>
          <a:xfrm>
            <a:off x="9091197" y="1889977"/>
            <a:ext cx="15110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Phase 3:</a:t>
            </a:r>
          </a:p>
          <a:p>
            <a:pPr algn="ctr"/>
            <a:r>
              <a:rPr lang="de-DE" sz="1400" dirty="0">
                <a:solidFill>
                  <a:schemeClr val="accent1"/>
                </a:solidFill>
              </a:rPr>
              <a:t>Beendigung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5A134DD-0A53-02E0-2ABC-1FB12C2B37EF}"/>
              </a:ext>
            </a:extLst>
          </p:cNvPr>
          <p:cNvSpPr txBox="1"/>
          <p:nvPr/>
        </p:nvSpPr>
        <p:spPr>
          <a:xfrm>
            <a:off x="7415381" y="1658916"/>
            <a:ext cx="1511003" cy="985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Phase 2:</a:t>
            </a:r>
          </a:p>
          <a:p>
            <a:pPr algn="ctr"/>
            <a:r>
              <a:rPr lang="de-DE" sz="1400" dirty="0">
                <a:solidFill>
                  <a:schemeClr val="accent1"/>
                </a:solidFill>
              </a:rPr>
              <a:t>Dienstleister-beschäftigung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37880F1-1EA7-9AE5-7C3A-8293D11E8AF8}"/>
              </a:ext>
            </a:extLst>
          </p:cNvPr>
          <p:cNvSpPr txBox="1"/>
          <p:nvPr/>
        </p:nvSpPr>
        <p:spPr>
          <a:xfrm>
            <a:off x="7396795" y="3545021"/>
            <a:ext cx="1589925" cy="14850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defRPr sz="1000">
                <a:latin typeface="+mj-lt"/>
              </a:defRPr>
            </a:lvl1pPr>
          </a:lstStyle>
          <a:p>
            <a:pPr marL="171450" indent="-171450" algn="l">
              <a:buClr>
                <a:schemeClr val="accent1"/>
              </a:buClr>
              <a:buFont typeface="Symbol" panose="05050102010706020507" pitchFamily="18" charset="2"/>
              <a:buChar char="-"/>
            </a:pPr>
            <a:r>
              <a:rPr lang="de-DE" sz="800" dirty="0">
                <a:latin typeface="+mn-lt"/>
              </a:rPr>
              <a:t>Ausgabe von Assets und Vergabe von Berechtigungen</a:t>
            </a:r>
          </a:p>
          <a:p>
            <a:pPr marL="171450" indent="-171450" algn="l">
              <a:buClr>
                <a:schemeClr val="accent1"/>
              </a:buClr>
              <a:buFont typeface="Symbol" panose="05050102010706020507" pitchFamily="18" charset="2"/>
              <a:buChar char="-"/>
            </a:pPr>
            <a:r>
              <a:rPr lang="de-DE" sz="800" dirty="0">
                <a:latin typeface="+mn-lt"/>
              </a:rPr>
              <a:t>Etablierung Meldeprozess für Informationssicherheits-vorfälle (Schnittstelle muss funktionieren)</a:t>
            </a:r>
          </a:p>
          <a:p>
            <a:pPr marL="171450" indent="-171450" algn="l">
              <a:buClr>
                <a:schemeClr val="accent1"/>
              </a:buClr>
              <a:buFont typeface="Symbol" panose="05050102010706020507" pitchFamily="18" charset="2"/>
              <a:buChar char="-"/>
            </a:pPr>
            <a:r>
              <a:rPr lang="de-DE" sz="800" dirty="0">
                <a:latin typeface="+mn-lt"/>
              </a:rPr>
              <a:t>Überwachung und Überprüfung der Umsetzung der Anforderunge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FD06650-3837-7AB6-65C0-04E269F6AE2F}"/>
              </a:ext>
            </a:extLst>
          </p:cNvPr>
          <p:cNvSpPr txBox="1"/>
          <p:nvPr/>
        </p:nvSpPr>
        <p:spPr>
          <a:xfrm>
            <a:off x="9089385" y="3550446"/>
            <a:ext cx="1434839" cy="4017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defRPr sz="1000">
                <a:latin typeface="+mj-lt"/>
              </a:defRPr>
            </a:lvl1pPr>
          </a:lstStyle>
          <a:p>
            <a:pPr marL="171450" indent="-171450" algn="l">
              <a:buClr>
                <a:schemeClr val="accent1"/>
              </a:buClr>
              <a:buFont typeface="Symbol" panose="05050102010706020507" pitchFamily="18" charset="2"/>
              <a:buChar char="-"/>
            </a:pPr>
            <a:r>
              <a:rPr lang="de-DE" sz="800" dirty="0">
                <a:latin typeface="+mn-lt"/>
              </a:rPr>
              <a:t>Rückgabe von Assets und Entzug Berechtigun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BAA4B1-ACBA-24B7-655E-3002B20C7B82}"/>
              </a:ext>
            </a:extLst>
          </p:cNvPr>
          <p:cNvSpPr txBox="1">
            <a:spLocks/>
          </p:cNvSpPr>
          <p:nvPr/>
        </p:nvSpPr>
        <p:spPr>
          <a:xfrm>
            <a:off x="1097147" y="4917859"/>
            <a:ext cx="6170840" cy="8240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FontTx/>
              <a:buNone/>
              <a:defRPr lang="de-DE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046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054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D70F37"/>
                </a:solidFill>
                <a:effectLst/>
                <a:uLnTx/>
                <a:uFillTx/>
                <a:latin typeface="Axiforma for Sec Black"/>
                <a:ea typeface="+mn-ea"/>
                <a:cs typeface="+mn-cs"/>
              </a:rPr>
              <a:t>Zur Aufrechterhaltung der Lieferkette ist eine angemessene Steuerung von Lieferanten und Dienstleistern notwendig, um Stabilität in der Leistungserbringung zu gewährleisten. </a:t>
            </a:r>
          </a:p>
        </p:txBody>
      </p:sp>
      <p:sp>
        <p:nvSpPr>
          <p:cNvPr id="13" name="Freeform 4">
            <a:extLst>
              <a:ext uri="{FF2B5EF4-FFF2-40B4-BE49-F238E27FC236}">
                <a16:creationId xmlns:a16="http://schemas.microsoft.com/office/drawing/2014/main" id="{0CD97129-F08E-EAE3-6776-17417F561D2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139" y="4912704"/>
            <a:ext cx="287064" cy="288000"/>
          </a:xfrm>
          <a:custGeom>
            <a:avLst/>
            <a:gdLst>
              <a:gd name="T0" fmla="*/ 3099 w 5411"/>
              <a:gd name="T1" fmla="*/ 2704 h 5427"/>
              <a:gd name="T2" fmla="*/ 1541 w 5411"/>
              <a:gd name="T3" fmla="*/ 5426 h 5427"/>
              <a:gd name="T4" fmla="*/ 0 w 5411"/>
              <a:gd name="T5" fmla="*/ 5426 h 5427"/>
              <a:gd name="T6" fmla="*/ 1558 w 5411"/>
              <a:gd name="T7" fmla="*/ 2704 h 5427"/>
              <a:gd name="T8" fmla="*/ 0 w 5411"/>
              <a:gd name="T9" fmla="*/ 0 h 5427"/>
              <a:gd name="T10" fmla="*/ 1541 w 5411"/>
              <a:gd name="T11" fmla="*/ 0 h 5427"/>
              <a:gd name="T12" fmla="*/ 3099 w 5411"/>
              <a:gd name="T13" fmla="*/ 2704 h 5427"/>
              <a:gd name="T14" fmla="*/ 3851 w 5411"/>
              <a:gd name="T15" fmla="*/ 0 h 5427"/>
              <a:gd name="T16" fmla="*/ 2311 w 5411"/>
              <a:gd name="T17" fmla="*/ 0 h 5427"/>
              <a:gd name="T18" fmla="*/ 3887 w 5411"/>
              <a:gd name="T19" fmla="*/ 2704 h 5427"/>
              <a:gd name="T20" fmla="*/ 2311 w 5411"/>
              <a:gd name="T21" fmla="*/ 5426 h 5427"/>
              <a:gd name="T22" fmla="*/ 3851 w 5411"/>
              <a:gd name="T23" fmla="*/ 5426 h 5427"/>
              <a:gd name="T24" fmla="*/ 5410 w 5411"/>
              <a:gd name="T25" fmla="*/ 2704 h 5427"/>
              <a:gd name="T26" fmla="*/ 3851 w 5411"/>
              <a:gd name="T27" fmla="*/ 0 h 5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11" h="5427">
                <a:moveTo>
                  <a:pt x="3099" y="2704"/>
                </a:moveTo>
                <a:lnTo>
                  <a:pt x="1541" y="5426"/>
                </a:lnTo>
                <a:lnTo>
                  <a:pt x="0" y="5426"/>
                </a:lnTo>
                <a:lnTo>
                  <a:pt x="1558" y="2704"/>
                </a:lnTo>
                <a:lnTo>
                  <a:pt x="0" y="0"/>
                </a:lnTo>
                <a:lnTo>
                  <a:pt x="1541" y="0"/>
                </a:lnTo>
                <a:lnTo>
                  <a:pt x="3099" y="2704"/>
                </a:lnTo>
                <a:close/>
                <a:moveTo>
                  <a:pt x="3851" y="0"/>
                </a:moveTo>
                <a:lnTo>
                  <a:pt x="2311" y="0"/>
                </a:lnTo>
                <a:lnTo>
                  <a:pt x="3887" y="2704"/>
                </a:lnTo>
                <a:lnTo>
                  <a:pt x="2311" y="5426"/>
                </a:lnTo>
                <a:lnTo>
                  <a:pt x="3851" y="5426"/>
                </a:lnTo>
                <a:lnTo>
                  <a:pt x="5410" y="2704"/>
                </a:lnTo>
                <a:lnTo>
                  <a:pt x="385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30357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90D0459-E3F6-50EA-14F5-706FBB8A82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35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F77948-2ADE-2507-E3A2-7E32857E968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459639" y="6120000"/>
            <a:ext cx="8484584" cy="360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171450" indent="-171450" algn="l" defTabSz="457200" rtl="0" eaLnBrk="1" latinLnBrk="0" hangingPunct="1">
              <a:buFont typeface="Axiforma for Sec" pitchFamily="2" charset="0"/>
              <a:buChar char="|"/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D7D559-4E6C-2FB7-7ABD-6EB2C1CBD3C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576263" y="6119684"/>
            <a:ext cx="431736" cy="360001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lang="en-US" sz="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B7CF8D-B682-4A81-B147-3F9080744213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576ED7D-DBA6-A5E2-5F4D-A92BD85DB3F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77108" y="1763923"/>
            <a:ext cx="5399160" cy="4068552"/>
          </a:xfrm>
        </p:spPr>
        <p:txBody>
          <a:bodyPr/>
          <a:lstStyle/>
          <a:p>
            <a:pPr lvl="1"/>
            <a:r>
              <a:rPr lang="de-DE" dirty="0"/>
              <a:t>Anforderungen entsprechend der Kritikalitätsklassen</a:t>
            </a:r>
          </a:p>
          <a:p>
            <a:pPr lvl="1"/>
            <a:r>
              <a:rPr lang="de-DE" dirty="0"/>
              <a:t>Anforderungen müssen individuell festgelegt oder ausgewählt werden</a:t>
            </a:r>
          </a:p>
          <a:p>
            <a:pPr lvl="1"/>
            <a:r>
              <a:rPr lang="de-DE" dirty="0"/>
              <a:t>Je kritischer der Dienstleister, desto strenger/umfangreicher die Anforderungen</a:t>
            </a:r>
          </a:p>
          <a:p>
            <a:pPr lvl="1"/>
            <a:r>
              <a:rPr lang="de-DE" dirty="0"/>
              <a:t>Informationssicherheitsanforderungen müssen vertraglich festgehalten werden</a:t>
            </a:r>
          </a:p>
          <a:p>
            <a:pPr marL="0" lvl="1" indent="0">
              <a:buNone/>
            </a:pPr>
            <a:endParaRPr lang="de-DE" sz="1200" dirty="0"/>
          </a:p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7DE0E35-EEDF-AC44-7A1D-B3D30FCE4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6120085" cy="1008064"/>
          </a:xfrm>
        </p:spPr>
        <p:txBody>
          <a:bodyPr vert="horz"/>
          <a:lstStyle/>
          <a:p>
            <a:r>
              <a:rPr lang="de-DE" dirty="0"/>
              <a:t>Dienstleister- und Lieferantenmanagement</a:t>
            </a:r>
            <a:br>
              <a:rPr lang="de-DE" dirty="0"/>
            </a:br>
            <a:r>
              <a:rPr lang="de-DE" sz="2400" dirty="0">
                <a:latin typeface="Axiforma for Sec" pitchFamily="2" charset="0"/>
              </a:rPr>
              <a:t>Anforderungen an Dienstleister</a:t>
            </a:r>
            <a:endParaRPr lang="de-DE" dirty="0">
              <a:latin typeface="Axiforma for Sec" pitchFamily="2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A2DE2CC-3570-433E-4B5F-CD84AEA7926B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727200" y="6120000"/>
            <a:ext cx="732439" cy="360001"/>
          </a:xfrm>
          <a:prstGeom prst="rect">
            <a:avLst/>
          </a:prstGeom>
        </p:spPr>
        <p:txBody>
          <a:bodyPr vert="horz" wrap="none" lIns="0" tIns="0" rIns="3600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lang="en-US"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4599FD9-C292-4123-9F7B-6A6E5A6013FC}" type="datetime1">
              <a:rPr lang="de-DE" smtClean="0"/>
              <a:t>17.04.2026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09B6AC2-16B6-169D-CF3E-A0F1129B9F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21" r="32180"/>
          <a:stretch>
            <a:fillRect/>
          </a:stretch>
        </p:blipFill>
        <p:spPr>
          <a:xfrm>
            <a:off x="6696348" y="0"/>
            <a:ext cx="5184576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6089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2238BF0-3557-75B3-9A75-7905483D285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2238BF0-3557-75B3-9A75-7905483D2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AAFD787-FF00-2171-91DC-AD298194E3F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E12C61-D156-4E7E-9926-C35493BF8FDC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xiforma for Sec"/>
                <a:ea typeface="+mn-ea"/>
                <a:cs typeface="+mn-cs"/>
              </a:rPr>
              <a:t>17.04.2026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1E767B8-0CD3-CFD9-AB94-908F638318F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xiforma for Sec" pitchFamily="2" charset="0"/>
              <a:buChar char="|"/>
              <a:tabLst/>
              <a:defRPr/>
            </a:pP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xiforma for Sec"/>
                <a:ea typeface="+mn-ea"/>
                <a:cs typeface="+mn-cs"/>
              </a:rPr>
              <a:t>Cybersecurity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xiforma for Sec"/>
                <a:ea typeface="+mn-ea"/>
                <a:cs typeface="+mn-cs"/>
              </a:rPr>
              <a:t> Summit Hamburg | NIS-2 und die sichere Lieferkett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5F676F5-86F5-43BD-F8AC-89470281A4E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B7CF8D-B682-4A81-B147-3F908074421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xiforma for Sec Black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xiforma for Sec Black"/>
              <a:ea typeface="+mn-ea"/>
              <a:cs typeface="+mn-cs"/>
            </a:endParaRP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D291666C-422C-964D-BDA4-EBE5276E1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DE" dirty="0"/>
              <a:t>Inhal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E945208A-B124-1D4A-B5BA-6C4C32AC81C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800225" y="1511300"/>
            <a:ext cx="9720263" cy="4321175"/>
          </a:xfrm>
        </p:spPr>
        <p:txBody>
          <a:bodyPr>
            <a:normAutofit/>
          </a:bodyPr>
          <a:lstStyle/>
          <a:p>
            <a:r>
              <a:rPr lang="de-DE" sz="2000" b="1" dirty="0"/>
              <a:t>NIS-2 Einstieg</a:t>
            </a:r>
          </a:p>
          <a:p>
            <a:r>
              <a:rPr lang="de-DE" sz="2000" b="1" dirty="0"/>
              <a:t>Informationssicherheitsanforderungen an Dienstleister</a:t>
            </a:r>
          </a:p>
          <a:p>
            <a:r>
              <a:rPr lang="de-DE" sz="2000" b="1" dirty="0"/>
              <a:t>Dienstleister- und Lieferantenmanagement</a:t>
            </a:r>
          </a:p>
          <a:p>
            <a:r>
              <a:rPr lang="de-DE" sz="2000" b="1" dirty="0"/>
              <a:t>Informationssicherheit in der Praxis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BF5431A-6F6C-5D40-89F9-118D3DFD50B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77808" y="1500582"/>
            <a:ext cx="647700" cy="4321175"/>
          </a:xfrm>
        </p:spPr>
        <p:txBody>
          <a:bodyPr>
            <a:normAutofit/>
          </a:bodyPr>
          <a:lstStyle/>
          <a:p>
            <a:r>
              <a:rPr lang="de-DE" sz="2000" b="1" dirty="0">
                <a:solidFill>
                  <a:schemeClr val="accent1"/>
                </a:solidFill>
              </a:rPr>
              <a:t>01</a:t>
            </a:r>
          </a:p>
          <a:p>
            <a:r>
              <a:rPr lang="de-DE" sz="2000" b="1" dirty="0">
                <a:solidFill>
                  <a:schemeClr val="accent1"/>
                </a:solidFill>
              </a:rPr>
              <a:t>02</a:t>
            </a:r>
          </a:p>
          <a:p>
            <a:r>
              <a:rPr lang="de-DE" sz="2000" b="1" dirty="0">
                <a:solidFill>
                  <a:schemeClr val="accent1"/>
                </a:solidFill>
              </a:rPr>
              <a:t>03</a:t>
            </a:r>
          </a:p>
          <a:p>
            <a:r>
              <a:rPr lang="de-DE" sz="2000" b="1" dirty="0">
                <a:solidFill>
                  <a:schemeClr val="accent1"/>
                </a:solidFill>
              </a:rPr>
              <a:t>04</a:t>
            </a:r>
          </a:p>
          <a:p>
            <a:endParaRPr lang="de-DE" sz="2000" b="1" dirty="0">
              <a:solidFill>
                <a:schemeClr val="accent1"/>
              </a:solidFill>
            </a:endParaRPr>
          </a:p>
          <a:p>
            <a:endParaRPr lang="de-DE" sz="2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0931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C6FC699-82E9-B5F4-9EA5-DCE6E13D7E1A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727200" y="6120000"/>
            <a:ext cx="732439" cy="360001"/>
          </a:xfrm>
          <a:prstGeom prst="rect">
            <a:avLst/>
          </a:prstGeom>
        </p:spPr>
        <p:txBody>
          <a:bodyPr vert="horz" wrap="none" lIns="0" tIns="0" rIns="3600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lang="en-US"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FE007E5-1E3D-4469-8FD6-B4E9267E0D92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0103E7-BCB3-F3EC-1842-0990BCEFA14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459639" y="6120000"/>
            <a:ext cx="8484584" cy="360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171450" indent="-171450" algn="l" defTabSz="457200" rtl="0" eaLnBrk="1" latinLnBrk="0" hangingPunct="1">
              <a:buFont typeface="Axiforma for Sec" pitchFamily="2" charset="0"/>
              <a:buChar char="|"/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D22FE81-FEA6-A3CA-B3F4-73B0F4E51EE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576263" y="6119684"/>
            <a:ext cx="431736" cy="360001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lang="en-US" sz="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B7CF8D-B682-4A81-B147-3F9080744213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23A7E6C-2DC3-414D-B10E-EEA6683B5664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lvl="1"/>
            <a:r>
              <a:rPr lang="de-DE" dirty="0"/>
              <a:t>Einhaltung der vertraglich vereinbarten Leistungen </a:t>
            </a:r>
          </a:p>
          <a:p>
            <a:pPr lvl="1"/>
            <a:r>
              <a:rPr lang="de-DE" dirty="0"/>
              <a:t>Hierbei Festlegen der Art der Überprüfungsmöglichkeiten</a:t>
            </a:r>
          </a:p>
          <a:p>
            <a:pPr lvl="1"/>
            <a:r>
              <a:rPr lang="de-DE" dirty="0"/>
              <a:t>Art der Überprüfungsmöglichkeiten sollte vertraglich festgehalten werd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B310BA9-4E83-6304-363D-7809939EA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/>
          <a:lstStyle/>
          <a:p>
            <a:r>
              <a:rPr lang="de-DE" dirty="0"/>
              <a:t>Dienstleister- und Lieferantenmanagement</a:t>
            </a:r>
            <a:br>
              <a:rPr lang="de-DE" dirty="0"/>
            </a:br>
            <a:r>
              <a:rPr lang="de-DE" sz="2400" dirty="0">
                <a:latin typeface="+mn-lt"/>
              </a:rPr>
              <a:t>Überwachung und Überprüfung</a:t>
            </a:r>
            <a:endParaRPr lang="de-DE" dirty="0">
              <a:latin typeface="+mn-lt"/>
            </a:endParaRPr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F5A81524-4DA5-0429-259A-D617B28696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0665146"/>
              </p:ext>
            </p:extLst>
          </p:nvPr>
        </p:nvGraphicFramePr>
        <p:xfrm>
          <a:off x="1187736" y="3006406"/>
          <a:ext cx="9145016" cy="2833200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2262486">
                  <a:extLst>
                    <a:ext uri="{9D8B030D-6E8A-4147-A177-3AD203B41FA5}">
                      <a16:colId xmlns:a16="http://schemas.microsoft.com/office/drawing/2014/main" val="2103497902"/>
                    </a:ext>
                  </a:extLst>
                </a:gridCol>
                <a:gridCol w="6882530">
                  <a:extLst>
                    <a:ext uri="{9D8B030D-6E8A-4147-A177-3AD203B41FA5}">
                      <a16:colId xmlns:a16="http://schemas.microsoft.com/office/drawing/2014/main" val="2945493326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Kritikalitätskategorie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Überprüfung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9362043"/>
                  </a:ext>
                </a:extLst>
              </a:tr>
              <a:tr h="824400"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>
                          <a:effectLst/>
                        </a:rPr>
                        <a:t>Kategorie A - Hoch</a:t>
                      </a:r>
                      <a:endParaRPr lang="de-DE" sz="14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>
                          <a:effectLst/>
                        </a:rPr>
                        <a:t>Lieferantenaudit Vor-Ort oder Übermittlung von Unternehmenszertifizierung nach ISO/IEC 27001, BSI IT-Grundschutz, TISAX oder vergleichbaren Zertifikaten</a:t>
                      </a:r>
                      <a:endParaRPr lang="de-DE" sz="14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1056143"/>
                  </a:ext>
                </a:extLst>
              </a:tr>
              <a:tr h="824400"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>
                          <a:effectLst/>
                        </a:rPr>
                        <a:t>Kategorie B - Mittel</a:t>
                      </a:r>
                      <a:endParaRPr lang="de-DE" sz="140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>
                          <a:effectLst/>
                        </a:rPr>
                        <a:t>Remote Interview</a:t>
                      </a:r>
                      <a:endParaRPr lang="de-DE" sz="14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8275341"/>
                  </a:ext>
                </a:extLst>
              </a:tr>
              <a:tr h="824400"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>
                          <a:effectLst/>
                        </a:rPr>
                        <a:t>Kategorie C - Niedrig</a:t>
                      </a:r>
                      <a:endParaRPr lang="de-DE" sz="140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725"/>
                        </a:spcAft>
                        <a:buNone/>
                      </a:pPr>
                      <a:r>
                        <a:rPr lang="de-DE" sz="1400" dirty="0">
                          <a:effectLst/>
                        </a:rPr>
                        <a:t>Selbsteinschätzung des Dienstleisters in Form einer Selbstauskunft</a:t>
                      </a:r>
                      <a:endParaRPr lang="de-DE" sz="1400" dirty="0">
                        <a:effectLst/>
                        <a:latin typeface="Axiforma for Sec" pitchFamily="2" charset="0"/>
                        <a:ea typeface="Axiforma for Sec" pitchFamily="2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1073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08729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C78853-C9EC-0142-3023-46AAA8E4E8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59B0251-39FA-1C9E-8944-8D42B1CE4A8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E85E2A-5F95-CA3D-C989-EBF95D3907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F8B871-A92C-41F7-7FB1-95F425DF0A6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BEFCCD7-6872-4E11-A7D6-435D8116A4AE}" type="datetime1">
              <a:rPr lang="de-DE" smtClean="0"/>
              <a:t>17.04.2026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59CB41-A00B-47A4-0EB1-E6F345B2964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405F89-80EA-9FC9-62E7-21DAEF2573A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048502" y="2159372"/>
            <a:ext cx="3167760" cy="1224731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+mj-lt"/>
              </a:rPr>
              <a:t>Lieferantenaudit (2nd </a:t>
            </a:r>
            <a:r>
              <a:rPr lang="de-DE" dirty="0" err="1">
                <a:solidFill>
                  <a:schemeClr val="accent1"/>
                </a:solidFill>
                <a:latin typeface="+mj-lt"/>
              </a:rPr>
              <a:t>party</a:t>
            </a:r>
            <a:r>
              <a:rPr lang="de-DE" dirty="0">
                <a:solidFill>
                  <a:schemeClr val="accent1"/>
                </a:solidFill>
                <a:latin typeface="+mj-lt"/>
              </a:rPr>
              <a:t>)</a:t>
            </a:r>
          </a:p>
          <a:p>
            <a:pPr lvl="1"/>
            <a:r>
              <a:rPr lang="de-DE" dirty="0"/>
              <a:t>Audit der Lieferkette</a:t>
            </a:r>
          </a:p>
          <a:p>
            <a:pPr lvl="1"/>
            <a:r>
              <a:rPr lang="de-DE" dirty="0"/>
              <a:t>Lieferanten/Kunden</a:t>
            </a:r>
          </a:p>
        </p:txBody>
      </p:sp>
      <p:sp>
        <p:nvSpPr>
          <p:cNvPr id="22" name="Titel 5">
            <a:extLst>
              <a:ext uri="{FF2B5EF4-FFF2-40B4-BE49-F238E27FC236}">
                <a16:creationId xmlns:a16="http://schemas.microsoft.com/office/drawing/2014/main" id="{14B80F28-FEE7-45B6-A915-BB7EE0600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ienstleister- und Lieferantenmanagement</a:t>
            </a:r>
            <a:br>
              <a:rPr lang="de-DE" dirty="0"/>
            </a:br>
            <a:r>
              <a:rPr lang="de-DE" sz="2400" dirty="0">
                <a:latin typeface="+mn-lt"/>
              </a:rPr>
              <a:t>Überwachung und Überprüfung</a:t>
            </a:r>
            <a:endParaRPr lang="de-DE" dirty="0">
              <a:latin typeface="+mn-lt"/>
            </a:endParaRP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53F433DD-2BD3-0274-2F25-40D6CA703560}"/>
              </a:ext>
            </a:extLst>
          </p:cNvPr>
          <p:cNvSpPr txBox="1">
            <a:spLocks/>
          </p:cNvSpPr>
          <p:nvPr/>
        </p:nvSpPr>
        <p:spPr>
          <a:xfrm>
            <a:off x="4572112" y="2088357"/>
            <a:ext cx="4895853" cy="1439862"/>
          </a:xfrm>
          <a:prstGeom prst="rect">
            <a:avLst/>
          </a:prstGeom>
        </p:spPr>
        <p:txBody>
          <a:bodyPr/>
          <a:lstStyle>
            <a:lvl1pPr marL="0" indent="0" algn="l" defTabSz="864017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4" algn="l" defTabSz="864017" rtl="0" eaLnBrk="1" latinLnBrk="0" hangingPunct="1"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44000" algn="l" defTabSz="864017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864017" rtl="0" eaLnBrk="1" latinLnBrk="0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44000" algn="l" defTabSz="864017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046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054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accent1"/>
                </a:solidFill>
                <a:latin typeface="+mj-lt"/>
              </a:rPr>
              <a:t>Ziele eines Lieferantenaudits (2nd </a:t>
            </a:r>
            <a:r>
              <a:rPr lang="de-DE" dirty="0" err="1">
                <a:solidFill>
                  <a:schemeClr val="accent1"/>
                </a:solidFill>
                <a:latin typeface="+mj-lt"/>
              </a:rPr>
              <a:t>party</a:t>
            </a:r>
            <a:r>
              <a:rPr lang="de-DE" dirty="0">
                <a:solidFill>
                  <a:schemeClr val="accent1"/>
                </a:solidFill>
                <a:latin typeface="+mj-lt"/>
              </a:rPr>
              <a:t>)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dirty="0"/>
              <a:t>Erfüllung der Anforderungen aus einem Standard (z.B. ISO 27001, Anhang A.15.2.1)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dirty="0"/>
              <a:t>Lerneffekt für interne Auditoren des Kunden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dirty="0"/>
              <a:t>Lerneffekt für Mitarbeiter des Lieferanten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dirty="0"/>
              <a:t>Aufdeckung von Schwachstellen beim Lieferanten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dirty="0"/>
              <a:t>Einstufung des Lieferanten / Vergleich mit ander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DE8F73-8410-378B-5257-08755042030D}"/>
              </a:ext>
            </a:extLst>
          </p:cNvPr>
          <p:cNvSpPr/>
          <p:nvPr/>
        </p:nvSpPr>
        <p:spPr>
          <a:xfrm>
            <a:off x="792131" y="1862240"/>
            <a:ext cx="3276364" cy="2755693"/>
          </a:xfrm>
          <a:prstGeom prst="rect">
            <a:avLst/>
          </a:prstGeom>
          <a:noFill/>
          <a:ln w="76200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t"/>
          <a:lstStyle/>
          <a:p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633F474-6B63-EDC8-79BF-F47003257C9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61608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25CFEC-5B6F-0F84-D8DD-F3777CB76E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DF150C9-17FA-B499-233F-DA1E1B3FD84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150C9-17FA-B499-233F-DA1E1B3FD8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5D48787-5977-FCCC-F59F-1DD00D797FDC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727200" y="6120000"/>
            <a:ext cx="732439" cy="360001"/>
          </a:xfrm>
          <a:prstGeom prst="rect">
            <a:avLst/>
          </a:prstGeom>
        </p:spPr>
        <p:txBody>
          <a:bodyPr vert="horz" wrap="none" lIns="0" tIns="0" rIns="3600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lang="en-US"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D4029EA-5452-4AA8-A5FC-A063F27123E4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FE3A7C-DCD8-D4F6-97D7-8B07A160EC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459639" y="6120000"/>
            <a:ext cx="8484584" cy="360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171450" indent="-171450" algn="l" defTabSz="457200" rtl="0" eaLnBrk="1" latinLnBrk="0" hangingPunct="1">
              <a:buFont typeface="Axiforma for Sec" pitchFamily="2" charset="0"/>
              <a:buChar char="|"/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9B853D-DD35-B509-0B3B-92E20CD3D5D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576263" y="6119684"/>
            <a:ext cx="431736" cy="360001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lang="en-US" sz="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B7CF8D-B682-4A81-B147-3F9080744213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7B375AB-346F-01A9-3EC7-2FC19BC01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 rIns="0"/>
          <a:lstStyle/>
          <a:p>
            <a:r>
              <a:rPr lang="de-DE" dirty="0"/>
              <a:t>Dienstleister- und Lieferantenmanagement</a:t>
            </a:r>
            <a:br>
              <a:rPr lang="de-DE" dirty="0"/>
            </a:br>
            <a:r>
              <a:rPr lang="de-DE" sz="2400" dirty="0">
                <a:latin typeface="+mn-lt"/>
              </a:rPr>
              <a:t>Beendigung des Vertragsverhältnisses</a:t>
            </a:r>
            <a:br>
              <a:rPr lang="de-DE" sz="2400" dirty="0"/>
            </a:br>
            <a:endParaRPr lang="de-DE" sz="2400" dirty="0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F78C894A-EC7C-6520-3C22-B898B164E32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0937" y="4824875"/>
            <a:ext cx="287064" cy="288000"/>
          </a:xfrm>
          <a:custGeom>
            <a:avLst/>
            <a:gdLst>
              <a:gd name="T0" fmla="*/ 3099 w 5411"/>
              <a:gd name="T1" fmla="*/ 2704 h 5427"/>
              <a:gd name="T2" fmla="*/ 1541 w 5411"/>
              <a:gd name="T3" fmla="*/ 5426 h 5427"/>
              <a:gd name="T4" fmla="*/ 0 w 5411"/>
              <a:gd name="T5" fmla="*/ 5426 h 5427"/>
              <a:gd name="T6" fmla="*/ 1558 w 5411"/>
              <a:gd name="T7" fmla="*/ 2704 h 5427"/>
              <a:gd name="T8" fmla="*/ 0 w 5411"/>
              <a:gd name="T9" fmla="*/ 0 h 5427"/>
              <a:gd name="T10" fmla="*/ 1541 w 5411"/>
              <a:gd name="T11" fmla="*/ 0 h 5427"/>
              <a:gd name="T12" fmla="*/ 3099 w 5411"/>
              <a:gd name="T13" fmla="*/ 2704 h 5427"/>
              <a:gd name="T14" fmla="*/ 3851 w 5411"/>
              <a:gd name="T15" fmla="*/ 0 h 5427"/>
              <a:gd name="T16" fmla="*/ 2311 w 5411"/>
              <a:gd name="T17" fmla="*/ 0 h 5427"/>
              <a:gd name="T18" fmla="*/ 3887 w 5411"/>
              <a:gd name="T19" fmla="*/ 2704 h 5427"/>
              <a:gd name="T20" fmla="*/ 2311 w 5411"/>
              <a:gd name="T21" fmla="*/ 5426 h 5427"/>
              <a:gd name="T22" fmla="*/ 3851 w 5411"/>
              <a:gd name="T23" fmla="*/ 5426 h 5427"/>
              <a:gd name="T24" fmla="*/ 5410 w 5411"/>
              <a:gd name="T25" fmla="*/ 2704 h 5427"/>
              <a:gd name="T26" fmla="*/ 3851 w 5411"/>
              <a:gd name="T27" fmla="*/ 0 h 5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11" h="5427">
                <a:moveTo>
                  <a:pt x="3099" y="2704"/>
                </a:moveTo>
                <a:lnTo>
                  <a:pt x="1541" y="5426"/>
                </a:lnTo>
                <a:lnTo>
                  <a:pt x="0" y="5426"/>
                </a:lnTo>
                <a:lnTo>
                  <a:pt x="1558" y="2704"/>
                </a:lnTo>
                <a:lnTo>
                  <a:pt x="0" y="0"/>
                </a:lnTo>
                <a:lnTo>
                  <a:pt x="1541" y="0"/>
                </a:lnTo>
                <a:lnTo>
                  <a:pt x="3099" y="2704"/>
                </a:lnTo>
                <a:close/>
                <a:moveTo>
                  <a:pt x="3851" y="0"/>
                </a:moveTo>
                <a:lnTo>
                  <a:pt x="2311" y="0"/>
                </a:lnTo>
                <a:lnTo>
                  <a:pt x="3887" y="2704"/>
                </a:lnTo>
                <a:lnTo>
                  <a:pt x="2311" y="5426"/>
                </a:lnTo>
                <a:lnTo>
                  <a:pt x="3851" y="5426"/>
                </a:lnTo>
                <a:lnTo>
                  <a:pt x="5410" y="2704"/>
                </a:lnTo>
                <a:lnTo>
                  <a:pt x="385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DEFC588A-E3A6-C46E-EC0A-E2B9FDBD05D5}"/>
              </a:ext>
            </a:extLst>
          </p:cNvPr>
          <p:cNvSpPr txBox="1">
            <a:spLocks/>
          </p:cNvSpPr>
          <p:nvPr/>
        </p:nvSpPr>
        <p:spPr>
          <a:xfrm>
            <a:off x="1079724" y="4824875"/>
            <a:ext cx="5256584" cy="8240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FontTx/>
              <a:buNone/>
              <a:defRPr lang="de-DE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046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054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D70F37"/>
                </a:solidFill>
                <a:effectLst/>
                <a:uLnTx/>
                <a:uFillTx/>
                <a:latin typeface="Axiforma for Sec Black"/>
                <a:ea typeface="+mn-ea"/>
                <a:cs typeface="+mn-cs"/>
              </a:rPr>
              <a:t>Auch zum Ende der Vertragsverhältnisse dürfen die Informationssicherheitsaspekte nicht vernachlässigt werden und ein Prozess dafür muss definiert sein.</a:t>
            </a:r>
          </a:p>
        </p:txBody>
      </p:sp>
      <p:sp>
        <p:nvSpPr>
          <p:cNvPr id="11" name="Inhaltsplatzhalter 6">
            <a:extLst>
              <a:ext uri="{FF2B5EF4-FFF2-40B4-BE49-F238E27FC236}">
                <a16:creationId xmlns:a16="http://schemas.microsoft.com/office/drawing/2014/main" id="{34F60B14-58AD-7F44-87AA-DE94224603F0}"/>
              </a:ext>
            </a:extLst>
          </p:cNvPr>
          <p:cNvSpPr txBox="1">
            <a:spLocks/>
          </p:cNvSpPr>
          <p:nvPr/>
        </p:nvSpPr>
        <p:spPr>
          <a:xfrm>
            <a:off x="576258" y="1511300"/>
            <a:ext cx="5184779" cy="4321175"/>
          </a:xfrm>
          <a:prstGeom prst="rect">
            <a:avLst/>
          </a:prstGeom>
        </p:spPr>
        <p:txBody>
          <a:bodyPr/>
          <a:lstStyle>
            <a:lvl1pPr marL="0" indent="0" algn="l" defTabSz="864017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4" algn="l" defTabSz="864017" rtl="0" eaLnBrk="1" latinLnBrk="0" hangingPunct="1"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44000" algn="l" defTabSz="864017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864017" rtl="0" eaLnBrk="1" latinLnBrk="0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44000" algn="l" defTabSz="864017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046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054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Symbol" panose="05050102010706020507" pitchFamily="18" charset="2"/>
              <a:buChar char="-"/>
            </a:pPr>
            <a:r>
              <a:rPr lang="de-DE" sz="1600" dirty="0"/>
              <a:t>Berücksichtigung der vertraglich festgehaltenen Maßnahmen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600" dirty="0"/>
              <a:t>Rückgabe von Assets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600" dirty="0"/>
              <a:t>Entziehen von Berechtigungen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600" dirty="0"/>
              <a:t>Einhaltung von Löschvorgab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16FBE9C-6AA9-C185-841B-187E58BE9D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460" y="2051955"/>
            <a:ext cx="2196143" cy="2196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0481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1AFA7FE-C793-8F42-714B-21E767DF4E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AFA7FE-C793-8F42-714B-21E767DF4E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878952A-DCA8-DB59-DE97-22BB558AE5A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8729239B-3FDB-4D1F-AEB3-0779A4AC2CED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58CFD6-560F-96D0-ECFD-F47DCA2741B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EF8B6E3-8B7A-282B-F544-F5F42CF5E6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772F8A-D2DB-064C-A2B9-55E0BA9A2058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de-DE" sz="1600" dirty="0">
                <a:solidFill>
                  <a:schemeClr val="accent1"/>
                </a:solidFill>
                <a:latin typeface="+mj-lt"/>
              </a:rPr>
              <a:t>Dienstleister-kategorisierungs-Tool</a:t>
            </a:r>
            <a:br>
              <a:rPr lang="de-DE" sz="1600" dirty="0"/>
            </a:br>
            <a:endParaRPr lang="de-DE" sz="1600" dirty="0"/>
          </a:p>
          <a:p>
            <a:pPr lvl="1"/>
            <a:r>
              <a:rPr lang="de-DE" dirty="0"/>
              <a:t>Übersicht über bedeutsame Dienstleister</a:t>
            </a:r>
          </a:p>
          <a:p>
            <a:pPr lvl="1"/>
            <a:r>
              <a:rPr lang="de-DE" dirty="0"/>
              <a:t>Klassifizierung der Kritikalität</a:t>
            </a:r>
          </a:p>
          <a:p>
            <a:pPr lvl="1"/>
            <a:r>
              <a:rPr lang="de-DE" dirty="0"/>
              <a:t>Übersicht über relevante Informationen und Kontakte zu Dienstleistern</a:t>
            </a:r>
          </a:p>
          <a:p>
            <a:endParaRPr lang="de-DE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BC28277-71A2-4BC0-F1A8-44E0923AFAEA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r>
              <a:rPr lang="de-DE" sz="1600" dirty="0">
                <a:solidFill>
                  <a:schemeClr val="accent1"/>
                </a:solidFill>
                <a:latin typeface="+mj-lt"/>
              </a:rPr>
              <a:t>Vertragsformulierung</a:t>
            </a:r>
            <a:br>
              <a:rPr lang="de-DE" sz="1600" dirty="0"/>
            </a:br>
            <a:br>
              <a:rPr lang="de-DE" sz="1600" dirty="0"/>
            </a:br>
            <a:endParaRPr lang="de-DE" sz="1600" dirty="0"/>
          </a:p>
          <a:p>
            <a:pPr lvl="1"/>
            <a:r>
              <a:rPr lang="de-DE" dirty="0"/>
              <a:t>Beispiele für Vertragsformulierungen zu Anforderungen an die Informationssicherheit</a:t>
            </a:r>
          </a:p>
          <a:p>
            <a:pPr lvl="1"/>
            <a:r>
              <a:rPr lang="de-DE" dirty="0"/>
              <a:t>Auswahl für das eigene Unternehmen treffen und in die Verträge mit Dienstleistern einbind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6B8BD68-2818-B460-E0E4-871691F45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ienstleister- und Lieferantenmanagement</a:t>
            </a:r>
            <a:br>
              <a:rPr lang="de-DE" dirty="0"/>
            </a:br>
            <a:r>
              <a:rPr lang="de-DE" sz="2400" dirty="0">
                <a:latin typeface="+mn-lt"/>
              </a:rPr>
              <a:t>potenzielle Hilfsmittel</a:t>
            </a:r>
            <a:endParaRPr lang="de-DE" dirty="0">
              <a:latin typeface="+mn-lt"/>
            </a:endParaRP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736ADA8A-77BC-28B0-A555-347C0DB7DC96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r>
              <a:rPr lang="de-DE" sz="1600" dirty="0">
                <a:solidFill>
                  <a:schemeClr val="accent1"/>
                </a:solidFill>
                <a:latin typeface="+mj-lt"/>
              </a:rPr>
              <a:t>Selbstauskunftsbogen für Dienstleister</a:t>
            </a:r>
            <a:br>
              <a:rPr lang="de-DE" sz="1600" dirty="0"/>
            </a:br>
            <a:endParaRPr lang="de-DE" sz="1600" dirty="0"/>
          </a:p>
          <a:p>
            <a:pPr lvl="1"/>
            <a:r>
              <a:rPr lang="de-DE" dirty="0"/>
              <a:t>Abfragen des Standes der Informationssicherheit bei Dienstleistern</a:t>
            </a:r>
          </a:p>
          <a:p>
            <a:pPr lvl="1"/>
            <a:r>
              <a:rPr lang="de-DE" dirty="0"/>
              <a:t>Identifizieren der für Sie wichtigen Informationen, Auskunftsbogen kann entsprechend an die Bedürfnisse angepasst werden</a:t>
            </a:r>
          </a:p>
        </p:txBody>
      </p:sp>
    </p:spTree>
    <p:extLst>
      <p:ext uri="{BB962C8B-B14F-4D97-AF65-F5344CB8AC3E}">
        <p14:creationId xmlns:p14="http://schemas.microsoft.com/office/powerpoint/2010/main" val="32100584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202ECC-20B1-710A-5F3B-D693CEAB9F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FDB36BF-BDD1-13DA-D9F1-DE82674D23E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FDB36BF-BDD1-13DA-D9F1-DE82674D23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989C13C-F20B-6603-4077-27131FE430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nformationssicherheit in der Praxi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F002D18-8D71-8886-AEC1-39A55811379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                                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F572EAA-92EA-7936-6072-18E1305733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e-DE" dirty="0"/>
              <a:t>04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2F7F5279-FCF6-9F8F-8508-EDC5E515930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A2C6A3-F388-4C99-9438-7660F7D337A6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xiforma for Sec"/>
                <a:ea typeface="+mn-ea"/>
                <a:cs typeface="+mn-cs"/>
              </a:rPr>
              <a:t>17.04.202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03CB758-E1AE-B0CE-C741-338C625C12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108000" marR="0" lvl="0" indent="-108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30000"/>
              <a:buFont typeface="Axiforma for Sec"/>
              <a:buChar char="|"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xiforma for Sec"/>
                <a:ea typeface="+mn-ea"/>
                <a:cs typeface="+mn-cs"/>
              </a:rPr>
              <a:t>Cybersecurity Summit Hamburg | NIS-2 und die sichere Lieferkette</a:t>
            </a:r>
          </a:p>
        </p:txBody>
      </p:sp>
    </p:spTree>
    <p:extLst>
      <p:ext uri="{BB962C8B-B14F-4D97-AF65-F5344CB8AC3E}">
        <p14:creationId xmlns:p14="http://schemas.microsoft.com/office/powerpoint/2010/main" val="344892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558ECA1-1535-5D6C-F06F-289015737E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3172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185FF85-6221-7A94-733C-4940E955A8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DAC7CC37-4614-4A23-80CC-314B44544106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61058B-B558-C972-F92A-985E78A6B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BD82B-9EBC-E38D-3D55-2F9A8D2EA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8248DB9-F0EB-5275-FFAA-A26FEFE7F2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nformationssicherheit in der Praxis</a:t>
            </a:r>
            <a:br>
              <a:rPr lang="de-DE" dirty="0"/>
            </a:br>
            <a:r>
              <a:rPr lang="de-DE" dirty="0">
                <a:latin typeface="+mn-lt"/>
              </a:rPr>
              <a:t>Was stellt Unternehmen vor Herausforderungen?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A426D0D0-6864-6593-B07D-26536E6E2C37}"/>
              </a:ext>
            </a:extLst>
          </p:cNvPr>
          <p:cNvGraphicFramePr>
            <a:graphicFrameLocks noGrp="1"/>
          </p:cNvGraphicFramePr>
          <p:nvPr/>
        </p:nvGraphicFramePr>
        <p:xfrm>
          <a:off x="576265" y="1511300"/>
          <a:ext cx="10367960" cy="432000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63601">
                  <a:extLst>
                    <a:ext uri="{9D8B030D-6E8A-4147-A177-3AD203B41FA5}">
                      <a16:colId xmlns:a16="http://schemas.microsoft.com/office/drawing/2014/main" val="1539088880"/>
                    </a:ext>
                  </a:extLst>
                </a:gridCol>
                <a:gridCol w="8604359">
                  <a:extLst>
                    <a:ext uri="{9D8B030D-6E8A-4147-A177-3AD203B41FA5}">
                      <a16:colId xmlns:a16="http://schemas.microsoft.com/office/drawing/2014/main" val="3207611228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DE" sz="1400" b="0" dirty="0">
                          <a:latin typeface="+mn-lt"/>
                        </a:rPr>
                        <a:t>Bestellungen bzw. Beauftragung erfolgt dezentra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522928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DE" sz="1400" dirty="0">
                          <a:latin typeface="+mn-lt"/>
                        </a:rPr>
                        <a:t>Es existiert keine Übersicht aller Lieferanten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3901593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DE" sz="1400" dirty="0">
                          <a:latin typeface="+mn-lt"/>
                        </a:rPr>
                        <a:t>Kein Einblick welche Lieferanten kritisch bzw. bedeutsam sind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19139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DE" sz="1400" dirty="0">
                          <a:latin typeface="+mn-lt"/>
                        </a:rPr>
                        <a:t>Der Informationssicherheitsbeauftragte wird nicht bei der Auswahl von bedeutsamen Dienstleistern bzw. Produkten einbezogen -&gt; Führte in einer Vielzahl schon zu Rückbauten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874529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DE" sz="1400" dirty="0">
                          <a:latin typeface="+mn-lt"/>
                        </a:rPr>
                        <a:t>Die Verantwortlichkeiten sind nicht klar geregel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511247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DE" sz="1400" dirty="0">
                          <a:latin typeface="+mn-lt"/>
                        </a:rPr>
                        <a:t>Die Änderungen von Verträgen gestaltet sich sehr aufwendig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2425445"/>
                  </a:ext>
                </a:extLst>
              </a:tr>
            </a:tbl>
          </a:graphicData>
        </a:graphic>
      </p:graphicFrame>
      <p:grpSp>
        <p:nvGrpSpPr>
          <p:cNvPr id="11" name="Grafik 4">
            <a:extLst>
              <a:ext uri="{FF2B5EF4-FFF2-40B4-BE49-F238E27FC236}">
                <a16:creationId xmlns:a16="http://schemas.microsoft.com/office/drawing/2014/main" id="{C389F1DD-714B-D286-F8D3-33BCEDC8E0B3}"/>
              </a:ext>
            </a:extLst>
          </p:cNvPr>
          <p:cNvGrpSpPr/>
          <p:nvPr/>
        </p:nvGrpSpPr>
        <p:grpSpPr>
          <a:xfrm>
            <a:off x="1187736" y="2339987"/>
            <a:ext cx="468052" cy="458302"/>
            <a:chOff x="10244010" y="989774"/>
            <a:chExt cx="292100" cy="292100"/>
          </a:xfrm>
          <a:noFill/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55CD63E-7C3B-B186-AF27-6698117664CF}"/>
                </a:ext>
              </a:extLst>
            </p:cNvPr>
            <p:cNvSpPr/>
            <p:nvPr/>
          </p:nvSpPr>
          <p:spPr>
            <a:xfrm>
              <a:off x="10320210" y="989774"/>
              <a:ext cx="215900" cy="292100"/>
            </a:xfrm>
            <a:custGeom>
              <a:avLst/>
              <a:gdLst>
                <a:gd name="csX0" fmla="*/ 0 w 215900"/>
                <a:gd name="csY0" fmla="*/ 76200 h 292100"/>
                <a:gd name="csX1" fmla="*/ 0 w 215900"/>
                <a:gd name="csY1" fmla="*/ 12700 h 292100"/>
                <a:gd name="csX2" fmla="*/ 12700 w 215900"/>
                <a:gd name="csY2" fmla="*/ 0 h 292100"/>
                <a:gd name="csX3" fmla="*/ 139700 w 215900"/>
                <a:gd name="csY3" fmla="*/ 0 h 292100"/>
                <a:gd name="csX4" fmla="*/ 215900 w 215900"/>
                <a:gd name="csY4" fmla="*/ 76200 h 292100"/>
                <a:gd name="csX5" fmla="*/ 215900 w 215900"/>
                <a:gd name="csY5" fmla="*/ 279400 h 292100"/>
                <a:gd name="csX6" fmla="*/ 203200 w 215900"/>
                <a:gd name="csY6" fmla="*/ 292100 h 292100"/>
                <a:gd name="csX7" fmla="*/ 114300 w 215900"/>
                <a:gd name="csY7" fmla="*/ 292100 h 2921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15900" h="292100">
                  <a:moveTo>
                    <a:pt x="0" y="76200"/>
                  </a:moveTo>
                  <a:lnTo>
                    <a:pt x="0" y="12700"/>
                  </a:lnTo>
                  <a:cubicBezTo>
                    <a:pt x="0" y="5715"/>
                    <a:pt x="5715" y="0"/>
                    <a:pt x="12700" y="0"/>
                  </a:cubicBezTo>
                  <a:lnTo>
                    <a:pt x="139700" y="0"/>
                  </a:lnTo>
                  <a:lnTo>
                    <a:pt x="215900" y="76200"/>
                  </a:lnTo>
                  <a:lnTo>
                    <a:pt x="215900" y="279400"/>
                  </a:lnTo>
                  <a:cubicBezTo>
                    <a:pt x="215900" y="286385"/>
                    <a:pt x="210185" y="292100"/>
                    <a:pt x="203200" y="292100"/>
                  </a:cubicBezTo>
                  <a:lnTo>
                    <a:pt x="114300" y="29210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825893B-F965-5553-3A74-F690522F692E}"/>
                </a:ext>
              </a:extLst>
            </p:cNvPr>
            <p:cNvSpPr/>
            <p:nvPr/>
          </p:nvSpPr>
          <p:spPr>
            <a:xfrm>
              <a:off x="10459910" y="989774"/>
              <a:ext cx="76200" cy="76200"/>
            </a:xfrm>
            <a:custGeom>
              <a:avLst/>
              <a:gdLst>
                <a:gd name="csX0" fmla="*/ 0 w 76200"/>
                <a:gd name="csY0" fmla="*/ 0 h 76200"/>
                <a:gd name="csX1" fmla="*/ 0 w 76200"/>
                <a:gd name="csY1" fmla="*/ 63500 h 76200"/>
                <a:gd name="csX2" fmla="*/ 12700 w 76200"/>
                <a:gd name="csY2" fmla="*/ 76200 h 76200"/>
                <a:gd name="csX3" fmla="*/ 76200 w 76200"/>
                <a:gd name="csY3" fmla="*/ 76200 h 762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76200" h="76200">
                  <a:moveTo>
                    <a:pt x="0" y="0"/>
                  </a:moveTo>
                  <a:lnTo>
                    <a:pt x="0" y="63500"/>
                  </a:lnTo>
                  <a:cubicBezTo>
                    <a:pt x="0" y="70485"/>
                    <a:pt x="5715" y="76200"/>
                    <a:pt x="12700" y="76200"/>
                  </a:cubicBezTo>
                  <a:lnTo>
                    <a:pt x="76200" y="7620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87D9188A-0CFB-2F43-E0E6-B5F41A3E4DF6}"/>
                </a:ext>
              </a:extLst>
            </p:cNvPr>
            <p:cNvSpPr/>
            <p:nvPr/>
          </p:nvSpPr>
          <p:spPr>
            <a:xfrm>
              <a:off x="10256710" y="1243774"/>
              <a:ext cx="152400" cy="38100"/>
            </a:xfrm>
            <a:custGeom>
              <a:avLst/>
              <a:gdLst>
                <a:gd name="csX0" fmla="*/ 0 w 152400"/>
                <a:gd name="csY0" fmla="*/ 0 h 38100"/>
                <a:gd name="csX1" fmla="*/ 152400 w 152400"/>
                <a:gd name="csY1" fmla="*/ 0 h 38100"/>
                <a:gd name="csX2" fmla="*/ 152400 w 152400"/>
                <a:gd name="csY2" fmla="*/ 25400 h 38100"/>
                <a:gd name="csX3" fmla="*/ 139700 w 152400"/>
                <a:gd name="csY3" fmla="*/ 38100 h 38100"/>
                <a:gd name="csX4" fmla="*/ 12700 w 152400"/>
                <a:gd name="csY4" fmla="*/ 38100 h 38100"/>
                <a:gd name="csX5" fmla="*/ 0 w 152400"/>
                <a:gd name="csY5" fmla="*/ 25400 h 38100"/>
                <a:gd name="csX6" fmla="*/ 0 w 152400"/>
                <a:gd name="csY6" fmla="*/ 0 h 381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152400" h="38100">
                  <a:moveTo>
                    <a:pt x="0" y="0"/>
                  </a:moveTo>
                  <a:lnTo>
                    <a:pt x="152400" y="0"/>
                  </a:lnTo>
                  <a:lnTo>
                    <a:pt x="152400" y="25400"/>
                  </a:lnTo>
                  <a:cubicBezTo>
                    <a:pt x="152400" y="32385"/>
                    <a:pt x="146685" y="38100"/>
                    <a:pt x="139700" y="38100"/>
                  </a:cubicBezTo>
                  <a:lnTo>
                    <a:pt x="12700" y="38100"/>
                  </a:lnTo>
                  <a:cubicBezTo>
                    <a:pt x="5715" y="38100"/>
                    <a:pt x="0" y="32385"/>
                    <a:pt x="0" y="2540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2F594E8A-22B9-C2EB-E2A3-90607FD92481}"/>
                </a:ext>
              </a:extLst>
            </p:cNvPr>
            <p:cNvSpPr/>
            <p:nvPr/>
          </p:nvSpPr>
          <p:spPr>
            <a:xfrm>
              <a:off x="10244010" y="1091374"/>
              <a:ext cx="177800" cy="152430"/>
            </a:xfrm>
            <a:custGeom>
              <a:avLst/>
              <a:gdLst>
                <a:gd name="csX0" fmla="*/ 127000 w 177800"/>
                <a:gd name="csY0" fmla="*/ 114300 h 152430"/>
                <a:gd name="csX1" fmla="*/ 101600 w 177800"/>
                <a:gd name="csY1" fmla="*/ 89535 h 152430"/>
                <a:gd name="csX2" fmla="*/ 101600 w 177800"/>
                <a:gd name="csY2" fmla="*/ 89535 h 152430"/>
                <a:gd name="csX3" fmla="*/ 111760 w 177800"/>
                <a:gd name="csY3" fmla="*/ 68580 h 152430"/>
                <a:gd name="csX4" fmla="*/ 125095 w 177800"/>
                <a:gd name="csY4" fmla="*/ 26035 h 152430"/>
                <a:gd name="csX5" fmla="*/ 88900 w 177800"/>
                <a:gd name="csY5" fmla="*/ 0 h 152430"/>
                <a:gd name="csX6" fmla="*/ 52705 w 177800"/>
                <a:gd name="csY6" fmla="*/ 26035 h 152430"/>
                <a:gd name="csX7" fmla="*/ 66040 w 177800"/>
                <a:gd name="csY7" fmla="*/ 68580 h 152430"/>
                <a:gd name="csX8" fmla="*/ 76200 w 177800"/>
                <a:gd name="csY8" fmla="*/ 89535 h 152430"/>
                <a:gd name="csX9" fmla="*/ 76200 w 177800"/>
                <a:gd name="csY9" fmla="*/ 89535 h 152430"/>
                <a:gd name="csX10" fmla="*/ 50800 w 177800"/>
                <a:gd name="csY10" fmla="*/ 114300 h 152430"/>
                <a:gd name="csX11" fmla="*/ 25400 w 177800"/>
                <a:gd name="csY11" fmla="*/ 114300 h 152430"/>
                <a:gd name="csX12" fmla="*/ 0 w 177800"/>
                <a:gd name="csY12" fmla="*/ 139700 h 152430"/>
                <a:gd name="csX13" fmla="*/ 12700 w 177800"/>
                <a:gd name="csY13" fmla="*/ 152400 h 152430"/>
                <a:gd name="csX14" fmla="*/ 165100 w 177800"/>
                <a:gd name="csY14" fmla="*/ 152400 h 152430"/>
                <a:gd name="csX15" fmla="*/ 177800 w 177800"/>
                <a:gd name="csY15" fmla="*/ 139700 h 152430"/>
                <a:gd name="csX16" fmla="*/ 152400 w 177800"/>
                <a:gd name="csY16" fmla="*/ 114300 h 152430"/>
                <a:gd name="csX17" fmla="*/ 127000 w 177800"/>
                <a:gd name="csY17" fmla="*/ 114300 h 15243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</a:cxnLst>
              <a:rect l="l" t="t" r="r" b="b"/>
              <a:pathLst>
                <a:path w="177800" h="152430">
                  <a:moveTo>
                    <a:pt x="127000" y="114300"/>
                  </a:moveTo>
                  <a:cubicBezTo>
                    <a:pt x="113030" y="114300"/>
                    <a:pt x="102235" y="103505"/>
                    <a:pt x="101600" y="89535"/>
                  </a:cubicBezTo>
                  <a:lnTo>
                    <a:pt x="101600" y="89535"/>
                  </a:lnTo>
                  <a:cubicBezTo>
                    <a:pt x="101600" y="81280"/>
                    <a:pt x="105410" y="73660"/>
                    <a:pt x="111760" y="68580"/>
                  </a:cubicBezTo>
                  <a:cubicBezTo>
                    <a:pt x="125095" y="59055"/>
                    <a:pt x="130175" y="41910"/>
                    <a:pt x="125095" y="26035"/>
                  </a:cubicBezTo>
                  <a:cubicBezTo>
                    <a:pt x="120015" y="10795"/>
                    <a:pt x="105410" y="0"/>
                    <a:pt x="88900" y="0"/>
                  </a:cubicBezTo>
                  <a:cubicBezTo>
                    <a:pt x="72390" y="0"/>
                    <a:pt x="57785" y="10795"/>
                    <a:pt x="52705" y="26035"/>
                  </a:cubicBezTo>
                  <a:cubicBezTo>
                    <a:pt x="47625" y="41275"/>
                    <a:pt x="52705" y="58420"/>
                    <a:pt x="66040" y="68580"/>
                  </a:cubicBezTo>
                  <a:cubicBezTo>
                    <a:pt x="72390" y="73660"/>
                    <a:pt x="76200" y="81280"/>
                    <a:pt x="76200" y="89535"/>
                  </a:cubicBezTo>
                  <a:lnTo>
                    <a:pt x="76200" y="89535"/>
                  </a:lnTo>
                  <a:cubicBezTo>
                    <a:pt x="76200" y="103505"/>
                    <a:pt x="64770" y="114300"/>
                    <a:pt x="50800" y="114300"/>
                  </a:cubicBezTo>
                  <a:lnTo>
                    <a:pt x="25400" y="114300"/>
                  </a:lnTo>
                  <a:cubicBezTo>
                    <a:pt x="11430" y="114300"/>
                    <a:pt x="0" y="125730"/>
                    <a:pt x="0" y="139700"/>
                  </a:cubicBezTo>
                  <a:cubicBezTo>
                    <a:pt x="0" y="153670"/>
                    <a:pt x="5715" y="152400"/>
                    <a:pt x="12700" y="152400"/>
                  </a:cubicBezTo>
                  <a:lnTo>
                    <a:pt x="165100" y="152400"/>
                  </a:lnTo>
                  <a:cubicBezTo>
                    <a:pt x="172085" y="152400"/>
                    <a:pt x="177800" y="146685"/>
                    <a:pt x="177800" y="139700"/>
                  </a:cubicBezTo>
                  <a:cubicBezTo>
                    <a:pt x="177800" y="125730"/>
                    <a:pt x="166370" y="114300"/>
                    <a:pt x="152400" y="114300"/>
                  </a:cubicBezTo>
                  <a:lnTo>
                    <a:pt x="127000" y="114300"/>
                  </a:ln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830A543E-8FDD-DC63-5D14-D0BCC6247E0F}"/>
                </a:ext>
              </a:extLst>
            </p:cNvPr>
            <p:cNvSpPr/>
            <p:nvPr/>
          </p:nvSpPr>
          <p:spPr>
            <a:xfrm>
              <a:off x="10402760" y="1116774"/>
              <a:ext cx="101600" cy="6350"/>
            </a:xfrm>
            <a:custGeom>
              <a:avLst/>
              <a:gdLst>
                <a:gd name="csX0" fmla="*/ 101600 w 101600"/>
                <a:gd name="csY0" fmla="*/ 0 h 6350"/>
                <a:gd name="csX1" fmla="*/ 0 w 10160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01600" h="6350">
                  <a:moveTo>
                    <a:pt x="101600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A5F00EEF-F90E-72C1-C5CF-0A73B249426B}"/>
                </a:ext>
              </a:extLst>
            </p:cNvPr>
            <p:cNvSpPr/>
            <p:nvPr/>
          </p:nvSpPr>
          <p:spPr>
            <a:xfrm>
              <a:off x="10453560" y="1218374"/>
              <a:ext cx="50800" cy="6350"/>
            </a:xfrm>
            <a:custGeom>
              <a:avLst/>
              <a:gdLst>
                <a:gd name="csX0" fmla="*/ 50800 w 50800"/>
                <a:gd name="csY0" fmla="*/ 0 h 6350"/>
                <a:gd name="csX1" fmla="*/ 0 w 5080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50800" h="6350">
                  <a:moveTo>
                    <a:pt x="50800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2D6DD318-CF16-B706-0D8A-E37110476387}"/>
                </a:ext>
              </a:extLst>
            </p:cNvPr>
            <p:cNvSpPr/>
            <p:nvPr/>
          </p:nvSpPr>
          <p:spPr>
            <a:xfrm>
              <a:off x="10421810" y="1167574"/>
              <a:ext cx="82550" cy="6350"/>
            </a:xfrm>
            <a:custGeom>
              <a:avLst/>
              <a:gdLst>
                <a:gd name="csX0" fmla="*/ 82550 w 82550"/>
                <a:gd name="csY0" fmla="*/ 0 h 6350"/>
                <a:gd name="csX1" fmla="*/ 0 w 8255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82550" h="6350">
                  <a:moveTo>
                    <a:pt x="82550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9" name="Grafik 4">
            <a:extLst>
              <a:ext uri="{FF2B5EF4-FFF2-40B4-BE49-F238E27FC236}">
                <a16:creationId xmlns:a16="http://schemas.microsoft.com/office/drawing/2014/main" id="{C5ABF63E-A20B-9143-A1F1-8FF667EF0872}"/>
              </a:ext>
            </a:extLst>
          </p:cNvPr>
          <p:cNvGrpSpPr/>
          <p:nvPr/>
        </p:nvGrpSpPr>
        <p:grpSpPr>
          <a:xfrm>
            <a:off x="1187736" y="3085625"/>
            <a:ext cx="462550" cy="458301"/>
            <a:chOff x="451040" y="989774"/>
            <a:chExt cx="279400" cy="292100"/>
          </a:xfrm>
          <a:noFill/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54B7DE1E-BFC7-DBCB-6716-97225811E961}"/>
                </a:ext>
              </a:extLst>
            </p:cNvPr>
            <p:cNvSpPr/>
            <p:nvPr/>
          </p:nvSpPr>
          <p:spPr>
            <a:xfrm>
              <a:off x="590740" y="1262824"/>
              <a:ext cx="6350" cy="19050"/>
            </a:xfrm>
            <a:custGeom>
              <a:avLst/>
              <a:gdLst>
                <a:gd name="csX0" fmla="*/ 0 w 6350"/>
                <a:gd name="csY0" fmla="*/ 0 h 19050"/>
                <a:gd name="csX1" fmla="*/ 0 w 6350"/>
                <a:gd name="csY1" fmla="*/ 19050 h 190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6350" h="19050">
                  <a:moveTo>
                    <a:pt x="0" y="0"/>
                  </a:moveTo>
                  <a:lnTo>
                    <a:pt x="0" y="1905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14C4E9F3-1129-072D-93BA-2AD153A39106}"/>
                </a:ext>
              </a:extLst>
            </p:cNvPr>
            <p:cNvSpPr/>
            <p:nvPr/>
          </p:nvSpPr>
          <p:spPr>
            <a:xfrm>
              <a:off x="552640" y="1203134"/>
              <a:ext cx="76200" cy="59689"/>
            </a:xfrm>
            <a:custGeom>
              <a:avLst/>
              <a:gdLst>
                <a:gd name="csX0" fmla="*/ 76200 w 76200"/>
                <a:gd name="csY0" fmla="*/ 0 h 59689"/>
                <a:gd name="csX1" fmla="*/ 76200 w 76200"/>
                <a:gd name="csY1" fmla="*/ 34290 h 59689"/>
                <a:gd name="csX2" fmla="*/ 38100 w 76200"/>
                <a:gd name="csY2" fmla="*/ 59690 h 59689"/>
                <a:gd name="csX3" fmla="*/ 0 w 76200"/>
                <a:gd name="csY3" fmla="*/ 34290 h 59689"/>
                <a:gd name="csX4" fmla="*/ 0 w 76200"/>
                <a:gd name="csY4" fmla="*/ 0 h 5968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76200" h="59689">
                  <a:moveTo>
                    <a:pt x="76200" y="0"/>
                  </a:moveTo>
                  <a:lnTo>
                    <a:pt x="76200" y="34290"/>
                  </a:lnTo>
                  <a:cubicBezTo>
                    <a:pt x="76200" y="52705"/>
                    <a:pt x="60960" y="59690"/>
                    <a:pt x="38100" y="59690"/>
                  </a:cubicBezTo>
                  <a:cubicBezTo>
                    <a:pt x="15240" y="59690"/>
                    <a:pt x="0" y="52705"/>
                    <a:pt x="0" y="34290"/>
                  </a:cubicBez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D37350F6-0882-0225-970A-F82410B69E7C}"/>
                </a:ext>
              </a:extLst>
            </p:cNvPr>
            <p:cNvSpPr/>
            <p:nvPr/>
          </p:nvSpPr>
          <p:spPr>
            <a:xfrm>
              <a:off x="565340" y="1123124"/>
              <a:ext cx="25400" cy="78740"/>
            </a:xfrm>
            <a:custGeom>
              <a:avLst/>
              <a:gdLst>
                <a:gd name="csX0" fmla="*/ 25400 w 25400"/>
                <a:gd name="csY0" fmla="*/ 78740 h 78740"/>
                <a:gd name="csX1" fmla="*/ 25400 w 25400"/>
                <a:gd name="csY1" fmla="*/ 25400 h 78740"/>
                <a:gd name="csX2" fmla="*/ 0 w 25400"/>
                <a:gd name="csY2" fmla="*/ 0 h 7874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25400" h="78740">
                  <a:moveTo>
                    <a:pt x="25400" y="78740"/>
                  </a:moveTo>
                  <a:lnTo>
                    <a:pt x="25400" y="25400"/>
                  </a:ln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E1BE0A0-97DB-CA1A-B68B-D3522EFB0FEC}"/>
                </a:ext>
              </a:extLst>
            </p:cNvPr>
            <p:cNvSpPr/>
            <p:nvPr/>
          </p:nvSpPr>
          <p:spPr>
            <a:xfrm>
              <a:off x="508190" y="1046924"/>
              <a:ext cx="165114" cy="158750"/>
            </a:xfrm>
            <a:custGeom>
              <a:avLst/>
              <a:gdLst>
                <a:gd name="csX0" fmla="*/ 114300 w 165114"/>
                <a:gd name="csY0" fmla="*/ 158750 h 158750"/>
                <a:gd name="csX1" fmla="*/ 165100 w 165114"/>
                <a:gd name="csY1" fmla="*/ 82550 h 158750"/>
                <a:gd name="csX2" fmla="*/ 82550 w 165114"/>
                <a:gd name="csY2" fmla="*/ 0 h 158750"/>
                <a:gd name="csX3" fmla="*/ 0 w 165114"/>
                <a:gd name="csY3" fmla="*/ 82550 h 158750"/>
                <a:gd name="csX4" fmla="*/ 50800 w 165114"/>
                <a:gd name="csY4" fmla="*/ 158750 h 158750"/>
                <a:gd name="csX5" fmla="*/ 114300 w 165114"/>
                <a:gd name="csY5" fmla="*/ 158750 h 1587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165114" h="158750">
                  <a:moveTo>
                    <a:pt x="114300" y="158750"/>
                  </a:moveTo>
                  <a:cubicBezTo>
                    <a:pt x="145415" y="146685"/>
                    <a:pt x="165735" y="116205"/>
                    <a:pt x="165100" y="82550"/>
                  </a:cubicBezTo>
                  <a:cubicBezTo>
                    <a:pt x="164465" y="37465"/>
                    <a:pt x="127635" y="635"/>
                    <a:pt x="82550" y="0"/>
                  </a:cubicBezTo>
                  <a:cubicBezTo>
                    <a:pt x="37465" y="635"/>
                    <a:pt x="635" y="37465"/>
                    <a:pt x="0" y="82550"/>
                  </a:cubicBezTo>
                  <a:cubicBezTo>
                    <a:pt x="0" y="116205"/>
                    <a:pt x="19685" y="146685"/>
                    <a:pt x="50800" y="158750"/>
                  </a:cubicBezTo>
                  <a:lnTo>
                    <a:pt x="114300" y="158750"/>
                  </a:ln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1EEDEDCA-17BA-AEC2-646C-D9CFC592A4A4}"/>
                </a:ext>
              </a:extLst>
            </p:cNvPr>
            <p:cNvSpPr/>
            <p:nvPr/>
          </p:nvSpPr>
          <p:spPr>
            <a:xfrm>
              <a:off x="552640" y="1231074"/>
              <a:ext cx="76200" cy="6350"/>
            </a:xfrm>
            <a:custGeom>
              <a:avLst/>
              <a:gdLst>
                <a:gd name="csX0" fmla="*/ 0 w 76200"/>
                <a:gd name="csY0" fmla="*/ 0 h 6350"/>
                <a:gd name="csX1" fmla="*/ 76200 w 7620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76200" h="6350">
                  <a:moveTo>
                    <a:pt x="0" y="0"/>
                  </a:moveTo>
                  <a:lnTo>
                    <a:pt x="7620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640CC68-D631-E84C-6962-9C89CBA23C21}"/>
                </a:ext>
              </a:extLst>
            </p:cNvPr>
            <p:cNvSpPr/>
            <p:nvPr/>
          </p:nvSpPr>
          <p:spPr>
            <a:xfrm>
              <a:off x="590740" y="989774"/>
              <a:ext cx="6350" cy="25400"/>
            </a:xfrm>
            <a:custGeom>
              <a:avLst/>
              <a:gdLst>
                <a:gd name="csX0" fmla="*/ 0 w 6350"/>
                <a:gd name="csY0" fmla="*/ 0 h 25400"/>
                <a:gd name="csX1" fmla="*/ 0 w 6350"/>
                <a:gd name="csY1" fmla="*/ 25400 h 254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6350" h="25400">
                  <a:moveTo>
                    <a:pt x="0" y="0"/>
                  </a:moveTo>
                  <a:lnTo>
                    <a:pt x="0" y="2540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00D7FCD9-F8C8-B4E4-42DE-144D18486C82}"/>
                </a:ext>
              </a:extLst>
            </p:cNvPr>
            <p:cNvSpPr/>
            <p:nvPr/>
          </p:nvSpPr>
          <p:spPr>
            <a:xfrm>
              <a:off x="451040" y="1116774"/>
              <a:ext cx="29209" cy="6350"/>
            </a:xfrm>
            <a:custGeom>
              <a:avLst/>
              <a:gdLst>
                <a:gd name="csX0" fmla="*/ 0 w 29209"/>
                <a:gd name="csY0" fmla="*/ 0 h 6350"/>
                <a:gd name="csX1" fmla="*/ 29210 w 29209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9209" h="6350">
                  <a:moveTo>
                    <a:pt x="0" y="0"/>
                  </a:moveTo>
                  <a:lnTo>
                    <a:pt x="2921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82E51EDC-27E5-6094-A5C9-B8DBC895C993}"/>
                </a:ext>
              </a:extLst>
            </p:cNvPr>
            <p:cNvSpPr/>
            <p:nvPr/>
          </p:nvSpPr>
          <p:spPr>
            <a:xfrm>
              <a:off x="482790" y="1021524"/>
              <a:ext cx="25400" cy="25400"/>
            </a:xfrm>
            <a:custGeom>
              <a:avLst/>
              <a:gdLst>
                <a:gd name="csX0" fmla="*/ 0 w 25400"/>
                <a:gd name="csY0" fmla="*/ 0 h 25400"/>
                <a:gd name="csX1" fmla="*/ 25400 w 25400"/>
                <a:gd name="csY1" fmla="*/ 25400 h 254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5400" h="25400">
                  <a:moveTo>
                    <a:pt x="0" y="0"/>
                  </a:moveTo>
                  <a:lnTo>
                    <a:pt x="25400" y="2540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5AD222BC-E731-6143-C5CD-81F11036ADD7}"/>
                </a:ext>
              </a:extLst>
            </p:cNvPr>
            <p:cNvSpPr/>
            <p:nvPr/>
          </p:nvSpPr>
          <p:spPr>
            <a:xfrm>
              <a:off x="701230" y="1116774"/>
              <a:ext cx="29209" cy="6350"/>
            </a:xfrm>
            <a:custGeom>
              <a:avLst/>
              <a:gdLst>
                <a:gd name="csX0" fmla="*/ 29210 w 29209"/>
                <a:gd name="csY0" fmla="*/ 0 h 6350"/>
                <a:gd name="csX1" fmla="*/ 0 w 29209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9209" h="6350">
                  <a:moveTo>
                    <a:pt x="29210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9E4A0AF9-813C-555D-3D9A-FA4E47EF92EE}"/>
                </a:ext>
              </a:extLst>
            </p:cNvPr>
            <p:cNvSpPr/>
            <p:nvPr/>
          </p:nvSpPr>
          <p:spPr>
            <a:xfrm>
              <a:off x="673290" y="1021524"/>
              <a:ext cx="25400" cy="25400"/>
            </a:xfrm>
            <a:custGeom>
              <a:avLst/>
              <a:gdLst>
                <a:gd name="csX0" fmla="*/ 25400 w 25400"/>
                <a:gd name="csY0" fmla="*/ 0 h 25400"/>
                <a:gd name="csX1" fmla="*/ 0 w 25400"/>
                <a:gd name="csY1" fmla="*/ 25400 h 254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5400" h="25400">
                  <a:moveTo>
                    <a:pt x="25400" y="0"/>
                  </a:moveTo>
                  <a:lnTo>
                    <a:pt x="0" y="2540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373DD59-7711-2F06-E2B1-BF5175C3962C}"/>
                </a:ext>
              </a:extLst>
            </p:cNvPr>
            <p:cNvSpPr/>
            <p:nvPr/>
          </p:nvSpPr>
          <p:spPr>
            <a:xfrm>
              <a:off x="590740" y="1123124"/>
              <a:ext cx="25400" cy="25400"/>
            </a:xfrm>
            <a:custGeom>
              <a:avLst/>
              <a:gdLst>
                <a:gd name="csX0" fmla="*/ 0 w 25400"/>
                <a:gd name="csY0" fmla="*/ 25400 h 25400"/>
                <a:gd name="csX1" fmla="*/ 25400 w 25400"/>
                <a:gd name="csY1" fmla="*/ 0 h 254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5400" h="25400">
                  <a:moveTo>
                    <a:pt x="0" y="25400"/>
                  </a:moveTo>
                  <a:lnTo>
                    <a:pt x="2540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31" name="Grafik 4">
            <a:extLst>
              <a:ext uri="{FF2B5EF4-FFF2-40B4-BE49-F238E27FC236}">
                <a16:creationId xmlns:a16="http://schemas.microsoft.com/office/drawing/2014/main" id="{D630C43F-9BF1-5106-6B41-4F9D069776CD}"/>
              </a:ext>
            </a:extLst>
          </p:cNvPr>
          <p:cNvGrpSpPr/>
          <p:nvPr/>
        </p:nvGrpSpPr>
        <p:grpSpPr>
          <a:xfrm>
            <a:off x="1175309" y="3803668"/>
            <a:ext cx="487404" cy="448339"/>
            <a:chOff x="5487225" y="5378386"/>
            <a:chExt cx="291465" cy="292735"/>
          </a:xfrm>
          <a:noFill/>
        </p:grpSpPr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592DDCA5-6875-F0D7-0FD1-00460D8C07C8}"/>
                </a:ext>
              </a:extLst>
            </p:cNvPr>
            <p:cNvSpPr/>
            <p:nvPr/>
          </p:nvSpPr>
          <p:spPr>
            <a:xfrm>
              <a:off x="5562155" y="5378386"/>
              <a:ext cx="165100" cy="148218"/>
            </a:xfrm>
            <a:custGeom>
              <a:avLst/>
              <a:gdLst>
                <a:gd name="csX0" fmla="*/ 635 w 165100"/>
                <a:gd name="csY0" fmla="*/ 102235 h 148218"/>
                <a:gd name="csX1" fmla="*/ 13335 w 165100"/>
                <a:gd name="csY1" fmla="*/ 114935 h 148218"/>
                <a:gd name="csX2" fmla="*/ 26035 w 165100"/>
                <a:gd name="csY2" fmla="*/ 114935 h 148218"/>
                <a:gd name="csX3" fmla="*/ 58420 w 165100"/>
                <a:gd name="csY3" fmla="*/ 147320 h 148218"/>
                <a:gd name="csX4" fmla="*/ 61595 w 165100"/>
                <a:gd name="csY4" fmla="*/ 147955 h 148218"/>
                <a:gd name="csX5" fmla="*/ 63500 w 165100"/>
                <a:gd name="csY5" fmla="*/ 144780 h 148218"/>
                <a:gd name="csX6" fmla="*/ 63500 w 165100"/>
                <a:gd name="csY6" fmla="*/ 114300 h 148218"/>
                <a:gd name="csX7" fmla="*/ 152400 w 165100"/>
                <a:gd name="csY7" fmla="*/ 114300 h 148218"/>
                <a:gd name="csX8" fmla="*/ 165100 w 165100"/>
                <a:gd name="csY8" fmla="*/ 101600 h 148218"/>
                <a:gd name="csX9" fmla="*/ 165100 w 165100"/>
                <a:gd name="csY9" fmla="*/ 12700 h 148218"/>
                <a:gd name="csX10" fmla="*/ 152400 w 165100"/>
                <a:gd name="csY10" fmla="*/ 0 h 148218"/>
                <a:gd name="csX11" fmla="*/ 12700 w 165100"/>
                <a:gd name="csY11" fmla="*/ 0 h 148218"/>
                <a:gd name="csX12" fmla="*/ 0 w 165100"/>
                <a:gd name="csY12" fmla="*/ 12700 h 148218"/>
                <a:gd name="csX13" fmla="*/ 0 w 165100"/>
                <a:gd name="csY13" fmla="*/ 101600 h 148218"/>
                <a:gd name="csX14" fmla="*/ 635 w 165100"/>
                <a:gd name="csY14" fmla="*/ 102235 h 14821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165100" h="148218">
                  <a:moveTo>
                    <a:pt x="635" y="102235"/>
                  </a:moveTo>
                  <a:cubicBezTo>
                    <a:pt x="635" y="109220"/>
                    <a:pt x="6350" y="114935"/>
                    <a:pt x="13335" y="114935"/>
                  </a:cubicBezTo>
                  <a:lnTo>
                    <a:pt x="26035" y="114935"/>
                  </a:lnTo>
                  <a:lnTo>
                    <a:pt x="58420" y="147320"/>
                  </a:lnTo>
                  <a:cubicBezTo>
                    <a:pt x="59055" y="147955"/>
                    <a:pt x="60960" y="148590"/>
                    <a:pt x="61595" y="147955"/>
                  </a:cubicBezTo>
                  <a:cubicBezTo>
                    <a:pt x="62865" y="147955"/>
                    <a:pt x="63500" y="146050"/>
                    <a:pt x="63500" y="144780"/>
                  </a:cubicBezTo>
                  <a:lnTo>
                    <a:pt x="63500" y="114300"/>
                  </a:lnTo>
                  <a:lnTo>
                    <a:pt x="152400" y="114300"/>
                  </a:lnTo>
                  <a:cubicBezTo>
                    <a:pt x="159385" y="114300"/>
                    <a:pt x="165100" y="108585"/>
                    <a:pt x="165100" y="101600"/>
                  </a:cubicBezTo>
                  <a:lnTo>
                    <a:pt x="165100" y="12700"/>
                  </a:lnTo>
                  <a:cubicBezTo>
                    <a:pt x="165100" y="5715"/>
                    <a:pt x="159385" y="0"/>
                    <a:pt x="152400" y="0"/>
                  </a:cubicBezTo>
                  <a:lnTo>
                    <a:pt x="12700" y="0"/>
                  </a:lnTo>
                  <a:cubicBezTo>
                    <a:pt x="5715" y="0"/>
                    <a:pt x="0" y="5715"/>
                    <a:pt x="0" y="12700"/>
                  </a:cubicBezTo>
                  <a:lnTo>
                    <a:pt x="0" y="101600"/>
                  </a:lnTo>
                  <a:lnTo>
                    <a:pt x="635" y="102235"/>
                  </a:ln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73938BCF-6856-504D-9A05-FD6A44FFE49C}"/>
                </a:ext>
              </a:extLst>
            </p:cNvPr>
            <p:cNvSpPr/>
            <p:nvPr/>
          </p:nvSpPr>
          <p:spPr>
            <a:xfrm>
              <a:off x="5600890" y="5417121"/>
              <a:ext cx="88264" cy="6350"/>
            </a:xfrm>
            <a:custGeom>
              <a:avLst/>
              <a:gdLst>
                <a:gd name="csX0" fmla="*/ 0 w 88264"/>
                <a:gd name="csY0" fmla="*/ 0 h 6350"/>
                <a:gd name="csX1" fmla="*/ 88265 w 88264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88264" h="6350">
                  <a:moveTo>
                    <a:pt x="0" y="0"/>
                  </a:moveTo>
                  <a:lnTo>
                    <a:pt x="88265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A0862170-2BD3-BD8E-E40F-16B8B96A5BEB}"/>
                </a:ext>
              </a:extLst>
            </p:cNvPr>
            <p:cNvSpPr/>
            <p:nvPr/>
          </p:nvSpPr>
          <p:spPr>
            <a:xfrm>
              <a:off x="5600890" y="5455221"/>
              <a:ext cx="88264" cy="6350"/>
            </a:xfrm>
            <a:custGeom>
              <a:avLst/>
              <a:gdLst>
                <a:gd name="csX0" fmla="*/ 0 w 88264"/>
                <a:gd name="csY0" fmla="*/ 0 h 6350"/>
                <a:gd name="csX1" fmla="*/ 88265 w 88264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88264" h="6350">
                  <a:moveTo>
                    <a:pt x="0" y="0"/>
                  </a:moveTo>
                  <a:lnTo>
                    <a:pt x="88265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29F3EC3E-43FA-9A5F-EC9A-8345E8DA0CAE}"/>
                </a:ext>
              </a:extLst>
            </p:cNvPr>
            <p:cNvSpPr/>
            <p:nvPr/>
          </p:nvSpPr>
          <p:spPr>
            <a:xfrm>
              <a:off x="5515165" y="5518721"/>
              <a:ext cx="57150" cy="57150"/>
            </a:xfrm>
            <a:custGeom>
              <a:avLst/>
              <a:gdLst>
                <a:gd name="csX0" fmla="*/ 28575 w 57150"/>
                <a:gd name="csY0" fmla="*/ 57150 h 57150"/>
                <a:gd name="csX1" fmla="*/ 57150 w 57150"/>
                <a:gd name="csY1" fmla="*/ 28575 h 57150"/>
                <a:gd name="csX2" fmla="*/ 28575 w 57150"/>
                <a:gd name="csY2" fmla="*/ 0 h 57150"/>
                <a:gd name="csX3" fmla="*/ 0 w 57150"/>
                <a:gd name="csY3" fmla="*/ 28575 h 57150"/>
                <a:gd name="csX4" fmla="*/ 28575 w 57150"/>
                <a:gd name="csY4" fmla="*/ 57150 h 571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57150" h="57150">
                  <a:moveTo>
                    <a:pt x="28575" y="57150"/>
                  </a:moveTo>
                  <a:cubicBezTo>
                    <a:pt x="44450" y="57150"/>
                    <a:pt x="57150" y="44450"/>
                    <a:pt x="57150" y="28575"/>
                  </a:cubicBezTo>
                  <a:cubicBezTo>
                    <a:pt x="57150" y="12700"/>
                    <a:pt x="44450" y="0"/>
                    <a:pt x="28575" y="0"/>
                  </a:cubicBezTo>
                  <a:cubicBezTo>
                    <a:pt x="12700" y="0"/>
                    <a:pt x="0" y="12700"/>
                    <a:pt x="0" y="28575"/>
                  </a:cubicBezTo>
                  <a:cubicBezTo>
                    <a:pt x="0" y="44450"/>
                    <a:pt x="12700" y="57150"/>
                    <a:pt x="28575" y="57150"/>
                  </a:cubicBez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2C266714-7AD8-9AAA-B735-C6A2B4D5E99A}"/>
                </a:ext>
              </a:extLst>
            </p:cNvPr>
            <p:cNvSpPr/>
            <p:nvPr/>
          </p:nvSpPr>
          <p:spPr>
            <a:xfrm>
              <a:off x="5487225" y="5588818"/>
              <a:ext cx="97154" cy="44203"/>
            </a:xfrm>
            <a:custGeom>
              <a:avLst/>
              <a:gdLst>
                <a:gd name="csX0" fmla="*/ 97155 w 97154"/>
                <a:gd name="csY0" fmla="*/ 16263 h 44203"/>
                <a:gd name="csX1" fmla="*/ 40640 w 97154"/>
                <a:gd name="csY1" fmla="*/ 2293 h 44203"/>
                <a:gd name="csX2" fmla="*/ 0 w 97154"/>
                <a:gd name="csY2" fmla="*/ 44203 h 44203"/>
                <a:gd name="csX3" fmla="*/ 76200 w 97154"/>
                <a:gd name="csY3" fmla="*/ 44203 h 4420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97154" h="44203">
                  <a:moveTo>
                    <a:pt x="97155" y="16263"/>
                  </a:moveTo>
                  <a:cubicBezTo>
                    <a:pt x="81915" y="1658"/>
                    <a:pt x="60325" y="-3422"/>
                    <a:pt x="40640" y="2293"/>
                  </a:cubicBezTo>
                  <a:cubicBezTo>
                    <a:pt x="20320" y="8008"/>
                    <a:pt x="5080" y="23883"/>
                    <a:pt x="0" y="44203"/>
                  </a:cubicBezTo>
                  <a:lnTo>
                    <a:pt x="76200" y="44203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4830716C-02D6-50B4-B7B7-7236AC2ADE29}"/>
                </a:ext>
              </a:extLst>
            </p:cNvPr>
            <p:cNvSpPr/>
            <p:nvPr/>
          </p:nvSpPr>
          <p:spPr>
            <a:xfrm>
              <a:off x="5692965" y="5518721"/>
              <a:ext cx="57150" cy="57150"/>
            </a:xfrm>
            <a:custGeom>
              <a:avLst/>
              <a:gdLst>
                <a:gd name="csX0" fmla="*/ 28575 w 57150"/>
                <a:gd name="csY0" fmla="*/ 57150 h 57150"/>
                <a:gd name="csX1" fmla="*/ 57150 w 57150"/>
                <a:gd name="csY1" fmla="*/ 28575 h 57150"/>
                <a:gd name="csX2" fmla="*/ 28575 w 57150"/>
                <a:gd name="csY2" fmla="*/ 0 h 57150"/>
                <a:gd name="csX3" fmla="*/ 0 w 57150"/>
                <a:gd name="csY3" fmla="*/ 28575 h 57150"/>
                <a:gd name="csX4" fmla="*/ 28575 w 57150"/>
                <a:gd name="csY4" fmla="*/ 57150 h 571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57150" h="57150">
                  <a:moveTo>
                    <a:pt x="28575" y="57150"/>
                  </a:moveTo>
                  <a:cubicBezTo>
                    <a:pt x="44450" y="57150"/>
                    <a:pt x="57150" y="44450"/>
                    <a:pt x="57150" y="28575"/>
                  </a:cubicBezTo>
                  <a:cubicBezTo>
                    <a:pt x="57150" y="12700"/>
                    <a:pt x="44450" y="0"/>
                    <a:pt x="28575" y="0"/>
                  </a:cubicBezTo>
                  <a:cubicBezTo>
                    <a:pt x="12700" y="0"/>
                    <a:pt x="0" y="12700"/>
                    <a:pt x="0" y="28575"/>
                  </a:cubicBezTo>
                  <a:cubicBezTo>
                    <a:pt x="0" y="44450"/>
                    <a:pt x="12700" y="57150"/>
                    <a:pt x="28575" y="57150"/>
                  </a:cubicBez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D82E6CA2-20F9-C003-7506-AFC5B6A0D335}"/>
                </a:ext>
              </a:extLst>
            </p:cNvPr>
            <p:cNvSpPr/>
            <p:nvPr/>
          </p:nvSpPr>
          <p:spPr>
            <a:xfrm>
              <a:off x="5681535" y="5588818"/>
              <a:ext cx="97155" cy="44203"/>
            </a:xfrm>
            <a:custGeom>
              <a:avLst/>
              <a:gdLst>
                <a:gd name="csX0" fmla="*/ 0 w 97155"/>
                <a:gd name="csY0" fmla="*/ 16263 h 44203"/>
                <a:gd name="csX1" fmla="*/ 56515 w 97155"/>
                <a:gd name="csY1" fmla="*/ 2293 h 44203"/>
                <a:gd name="csX2" fmla="*/ 97155 w 97155"/>
                <a:gd name="csY2" fmla="*/ 44203 h 44203"/>
                <a:gd name="csX3" fmla="*/ 20955 w 97155"/>
                <a:gd name="csY3" fmla="*/ 44203 h 4420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97155" h="44203">
                  <a:moveTo>
                    <a:pt x="0" y="16263"/>
                  </a:moveTo>
                  <a:cubicBezTo>
                    <a:pt x="15240" y="1658"/>
                    <a:pt x="36830" y="-3422"/>
                    <a:pt x="56515" y="2293"/>
                  </a:cubicBezTo>
                  <a:cubicBezTo>
                    <a:pt x="76835" y="8008"/>
                    <a:pt x="92075" y="23883"/>
                    <a:pt x="97155" y="44203"/>
                  </a:cubicBezTo>
                  <a:lnTo>
                    <a:pt x="20955" y="44203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0508303C-5F01-88AD-CCEE-0561244D0CBD}"/>
                </a:ext>
              </a:extLst>
            </p:cNvPr>
            <p:cNvSpPr/>
            <p:nvPr/>
          </p:nvSpPr>
          <p:spPr>
            <a:xfrm>
              <a:off x="5604065" y="5556821"/>
              <a:ext cx="57150" cy="57150"/>
            </a:xfrm>
            <a:custGeom>
              <a:avLst/>
              <a:gdLst>
                <a:gd name="csX0" fmla="*/ 28575 w 57150"/>
                <a:gd name="csY0" fmla="*/ 57150 h 57150"/>
                <a:gd name="csX1" fmla="*/ 57150 w 57150"/>
                <a:gd name="csY1" fmla="*/ 28575 h 57150"/>
                <a:gd name="csX2" fmla="*/ 28575 w 57150"/>
                <a:gd name="csY2" fmla="*/ 0 h 57150"/>
                <a:gd name="csX3" fmla="*/ 0 w 57150"/>
                <a:gd name="csY3" fmla="*/ 28575 h 57150"/>
                <a:gd name="csX4" fmla="*/ 28575 w 57150"/>
                <a:gd name="csY4" fmla="*/ 57150 h 571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57150" h="57150">
                  <a:moveTo>
                    <a:pt x="28575" y="57150"/>
                  </a:moveTo>
                  <a:cubicBezTo>
                    <a:pt x="44450" y="57150"/>
                    <a:pt x="57150" y="44450"/>
                    <a:pt x="57150" y="28575"/>
                  </a:cubicBezTo>
                  <a:cubicBezTo>
                    <a:pt x="57150" y="12700"/>
                    <a:pt x="44450" y="0"/>
                    <a:pt x="28575" y="0"/>
                  </a:cubicBezTo>
                  <a:cubicBezTo>
                    <a:pt x="12700" y="0"/>
                    <a:pt x="0" y="12700"/>
                    <a:pt x="0" y="28575"/>
                  </a:cubicBezTo>
                  <a:cubicBezTo>
                    <a:pt x="0" y="44450"/>
                    <a:pt x="12700" y="57150"/>
                    <a:pt x="28575" y="57150"/>
                  </a:cubicBez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F4BCC2CE-10E6-D49C-5C1D-22917FC624EE}"/>
                </a:ext>
              </a:extLst>
            </p:cNvPr>
            <p:cNvSpPr/>
            <p:nvPr/>
          </p:nvSpPr>
          <p:spPr>
            <a:xfrm>
              <a:off x="5575490" y="5626671"/>
              <a:ext cx="114300" cy="44450"/>
            </a:xfrm>
            <a:custGeom>
              <a:avLst/>
              <a:gdLst>
                <a:gd name="csX0" fmla="*/ 114300 w 114300"/>
                <a:gd name="csY0" fmla="*/ 44450 h 44450"/>
                <a:gd name="csX1" fmla="*/ 57150 w 114300"/>
                <a:gd name="csY1" fmla="*/ 0 h 44450"/>
                <a:gd name="csX2" fmla="*/ 0 w 114300"/>
                <a:gd name="csY2" fmla="*/ 44450 h 44450"/>
                <a:gd name="csX3" fmla="*/ 114300 w 114300"/>
                <a:gd name="csY3" fmla="*/ 44450 h 444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114300" h="44450">
                  <a:moveTo>
                    <a:pt x="114300" y="44450"/>
                  </a:moveTo>
                  <a:cubicBezTo>
                    <a:pt x="107950" y="18415"/>
                    <a:pt x="83820" y="0"/>
                    <a:pt x="57150" y="0"/>
                  </a:cubicBezTo>
                  <a:cubicBezTo>
                    <a:pt x="30480" y="0"/>
                    <a:pt x="6350" y="18415"/>
                    <a:pt x="0" y="44450"/>
                  </a:cubicBezTo>
                  <a:lnTo>
                    <a:pt x="114300" y="44450"/>
                  </a:ln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41" name="Grafik 4">
            <a:extLst>
              <a:ext uri="{FF2B5EF4-FFF2-40B4-BE49-F238E27FC236}">
                <a16:creationId xmlns:a16="http://schemas.microsoft.com/office/drawing/2014/main" id="{A7478B8E-DA0B-5DCE-4E25-90B6640FE2BF}"/>
              </a:ext>
            </a:extLst>
          </p:cNvPr>
          <p:cNvGrpSpPr/>
          <p:nvPr/>
        </p:nvGrpSpPr>
        <p:grpSpPr>
          <a:xfrm>
            <a:off x="1202945" y="1637777"/>
            <a:ext cx="453157" cy="431609"/>
            <a:chOff x="7905305" y="4117847"/>
            <a:chExt cx="292100" cy="289877"/>
          </a:xfrm>
          <a:noFill/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92FEE080-3725-8C33-587C-49C0B5240ACA}"/>
                </a:ext>
              </a:extLst>
            </p:cNvPr>
            <p:cNvSpPr/>
            <p:nvPr/>
          </p:nvSpPr>
          <p:spPr>
            <a:xfrm>
              <a:off x="7905305" y="4117847"/>
              <a:ext cx="292100" cy="289560"/>
            </a:xfrm>
            <a:custGeom>
              <a:avLst/>
              <a:gdLst>
                <a:gd name="csX0" fmla="*/ 292100 w 292100"/>
                <a:gd name="csY0" fmla="*/ 70168 h 289560"/>
                <a:gd name="csX1" fmla="*/ 284480 w 292100"/>
                <a:gd name="csY1" fmla="*/ 58737 h 289560"/>
                <a:gd name="csX2" fmla="*/ 151130 w 292100"/>
                <a:gd name="csY2" fmla="*/ 953 h 289560"/>
                <a:gd name="csX3" fmla="*/ 140970 w 292100"/>
                <a:gd name="csY3" fmla="*/ 953 h 289560"/>
                <a:gd name="csX4" fmla="*/ 7620 w 292100"/>
                <a:gd name="csY4" fmla="*/ 58737 h 289560"/>
                <a:gd name="csX5" fmla="*/ 0 w 292100"/>
                <a:gd name="csY5" fmla="*/ 70168 h 289560"/>
                <a:gd name="csX6" fmla="*/ 0 w 292100"/>
                <a:gd name="csY6" fmla="*/ 218757 h 289560"/>
                <a:gd name="csX7" fmla="*/ 7620 w 292100"/>
                <a:gd name="csY7" fmla="*/ 230187 h 289560"/>
                <a:gd name="csX8" fmla="*/ 147320 w 292100"/>
                <a:gd name="csY8" fmla="*/ 288607 h 289560"/>
                <a:gd name="csX9" fmla="*/ 157480 w 292100"/>
                <a:gd name="csY9" fmla="*/ 288607 h 289560"/>
                <a:gd name="csX10" fmla="*/ 284480 w 292100"/>
                <a:gd name="csY10" fmla="*/ 230823 h 289560"/>
                <a:gd name="csX11" fmla="*/ 292100 w 292100"/>
                <a:gd name="csY11" fmla="*/ 219393 h 289560"/>
                <a:gd name="csX12" fmla="*/ 292100 w 292100"/>
                <a:gd name="csY12" fmla="*/ 70168 h 2895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92100" h="289560">
                  <a:moveTo>
                    <a:pt x="292100" y="70168"/>
                  </a:moveTo>
                  <a:cubicBezTo>
                    <a:pt x="292100" y="65087"/>
                    <a:pt x="288925" y="60643"/>
                    <a:pt x="284480" y="58737"/>
                  </a:cubicBezTo>
                  <a:lnTo>
                    <a:pt x="151130" y="953"/>
                  </a:lnTo>
                  <a:cubicBezTo>
                    <a:pt x="147955" y="-318"/>
                    <a:pt x="144145" y="-318"/>
                    <a:pt x="140970" y="953"/>
                  </a:cubicBezTo>
                  <a:lnTo>
                    <a:pt x="7620" y="58737"/>
                  </a:lnTo>
                  <a:cubicBezTo>
                    <a:pt x="3175" y="60643"/>
                    <a:pt x="0" y="65087"/>
                    <a:pt x="0" y="70168"/>
                  </a:cubicBezTo>
                  <a:lnTo>
                    <a:pt x="0" y="218757"/>
                  </a:lnTo>
                  <a:cubicBezTo>
                    <a:pt x="0" y="223837"/>
                    <a:pt x="3175" y="228282"/>
                    <a:pt x="7620" y="230187"/>
                  </a:cubicBezTo>
                  <a:lnTo>
                    <a:pt x="147320" y="288607"/>
                  </a:lnTo>
                  <a:cubicBezTo>
                    <a:pt x="150495" y="289878"/>
                    <a:pt x="154305" y="289878"/>
                    <a:pt x="157480" y="288607"/>
                  </a:cubicBezTo>
                  <a:lnTo>
                    <a:pt x="284480" y="230823"/>
                  </a:lnTo>
                  <a:cubicBezTo>
                    <a:pt x="288925" y="228918"/>
                    <a:pt x="292100" y="224473"/>
                    <a:pt x="292100" y="219393"/>
                  </a:cubicBezTo>
                  <a:lnTo>
                    <a:pt x="292100" y="70168"/>
                  </a:ln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93176246-D54A-4C26-D940-2E90AFB6D3C7}"/>
                </a:ext>
              </a:extLst>
            </p:cNvPr>
            <p:cNvSpPr/>
            <p:nvPr/>
          </p:nvSpPr>
          <p:spPr>
            <a:xfrm>
              <a:off x="7907845" y="4181030"/>
              <a:ext cx="149860" cy="62229"/>
            </a:xfrm>
            <a:custGeom>
              <a:avLst/>
              <a:gdLst>
                <a:gd name="csX0" fmla="*/ 149861 w 149860"/>
                <a:gd name="csY0" fmla="*/ 62230 h 62229"/>
                <a:gd name="csX1" fmla="*/ 0 w 149860"/>
                <a:gd name="csY1" fmla="*/ 0 h 62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49860" h="62229">
                  <a:moveTo>
                    <a:pt x="149861" y="6223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F62E9924-EC0F-F743-7236-905B9C16C163}"/>
                </a:ext>
              </a:extLst>
            </p:cNvPr>
            <p:cNvSpPr/>
            <p:nvPr/>
          </p:nvSpPr>
          <p:spPr>
            <a:xfrm>
              <a:off x="8057705" y="4181030"/>
              <a:ext cx="137159" cy="62229"/>
            </a:xfrm>
            <a:custGeom>
              <a:avLst/>
              <a:gdLst>
                <a:gd name="csX0" fmla="*/ 0 w 137159"/>
                <a:gd name="csY0" fmla="*/ 62230 h 62229"/>
                <a:gd name="csX1" fmla="*/ 137160 w 137159"/>
                <a:gd name="csY1" fmla="*/ 0 h 62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37159" h="62229">
                  <a:moveTo>
                    <a:pt x="0" y="62230"/>
                  </a:moveTo>
                  <a:lnTo>
                    <a:pt x="13716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D5BE09E-570F-354D-EE4F-ECA1475E2579}"/>
                </a:ext>
              </a:extLst>
            </p:cNvPr>
            <p:cNvSpPr/>
            <p:nvPr/>
          </p:nvSpPr>
          <p:spPr>
            <a:xfrm>
              <a:off x="7990395" y="4142930"/>
              <a:ext cx="140970" cy="67310"/>
            </a:xfrm>
            <a:custGeom>
              <a:avLst/>
              <a:gdLst>
                <a:gd name="csX0" fmla="*/ 0 w 140970"/>
                <a:gd name="csY0" fmla="*/ 0 h 67310"/>
                <a:gd name="csX1" fmla="*/ 140970 w 140970"/>
                <a:gd name="csY1" fmla="*/ 67310 h 6731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40970" h="67310">
                  <a:moveTo>
                    <a:pt x="0" y="0"/>
                  </a:moveTo>
                  <a:lnTo>
                    <a:pt x="140970" y="6731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F8E70E9C-2CD9-5060-B72A-9094AC3FD659}"/>
                </a:ext>
              </a:extLst>
            </p:cNvPr>
            <p:cNvSpPr/>
            <p:nvPr/>
          </p:nvSpPr>
          <p:spPr>
            <a:xfrm>
              <a:off x="7943405" y="4240244"/>
              <a:ext cx="76200" cy="89217"/>
            </a:xfrm>
            <a:custGeom>
              <a:avLst/>
              <a:gdLst>
                <a:gd name="csX0" fmla="*/ 76200 w 76200"/>
                <a:gd name="csY0" fmla="*/ 34131 h 89217"/>
                <a:gd name="csX1" fmla="*/ 72389 w 76200"/>
                <a:gd name="csY1" fmla="*/ 28416 h 89217"/>
                <a:gd name="csX2" fmla="*/ 8889 w 76200"/>
                <a:gd name="csY2" fmla="*/ 476 h 89217"/>
                <a:gd name="csX3" fmla="*/ 3175 w 76200"/>
                <a:gd name="csY3" fmla="*/ 476 h 89217"/>
                <a:gd name="csX4" fmla="*/ 0 w 76200"/>
                <a:gd name="csY4" fmla="*/ 5556 h 89217"/>
                <a:gd name="csX5" fmla="*/ 0 w 76200"/>
                <a:gd name="csY5" fmla="*/ 55086 h 89217"/>
                <a:gd name="csX6" fmla="*/ 3810 w 76200"/>
                <a:gd name="csY6" fmla="*/ 60801 h 89217"/>
                <a:gd name="csX7" fmla="*/ 67310 w 76200"/>
                <a:gd name="csY7" fmla="*/ 88741 h 89217"/>
                <a:gd name="csX8" fmla="*/ 73025 w 76200"/>
                <a:gd name="csY8" fmla="*/ 88741 h 89217"/>
                <a:gd name="csX9" fmla="*/ 76200 w 76200"/>
                <a:gd name="csY9" fmla="*/ 83661 h 89217"/>
                <a:gd name="csX10" fmla="*/ 76200 w 76200"/>
                <a:gd name="csY10" fmla="*/ 34131 h 8921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76200" h="89217">
                  <a:moveTo>
                    <a:pt x="76200" y="34131"/>
                  </a:moveTo>
                  <a:cubicBezTo>
                    <a:pt x="76200" y="31591"/>
                    <a:pt x="74930" y="29051"/>
                    <a:pt x="72389" y="28416"/>
                  </a:cubicBezTo>
                  <a:lnTo>
                    <a:pt x="8889" y="476"/>
                  </a:lnTo>
                  <a:cubicBezTo>
                    <a:pt x="6985" y="-159"/>
                    <a:pt x="4445" y="-159"/>
                    <a:pt x="3175" y="476"/>
                  </a:cubicBezTo>
                  <a:cubicBezTo>
                    <a:pt x="1270" y="1747"/>
                    <a:pt x="0" y="3651"/>
                    <a:pt x="0" y="5556"/>
                  </a:cubicBezTo>
                  <a:lnTo>
                    <a:pt x="0" y="55086"/>
                  </a:lnTo>
                  <a:cubicBezTo>
                    <a:pt x="0" y="57626"/>
                    <a:pt x="1270" y="60166"/>
                    <a:pt x="3810" y="60801"/>
                  </a:cubicBezTo>
                  <a:lnTo>
                    <a:pt x="67310" y="88741"/>
                  </a:lnTo>
                  <a:cubicBezTo>
                    <a:pt x="69214" y="89376"/>
                    <a:pt x="71755" y="89376"/>
                    <a:pt x="73025" y="88741"/>
                  </a:cubicBezTo>
                  <a:cubicBezTo>
                    <a:pt x="74930" y="87472"/>
                    <a:pt x="76200" y="85566"/>
                    <a:pt x="76200" y="83661"/>
                  </a:cubicBezTo>
                  <a:lnTo>
                    <a:pt x="76200" y="34131"/>
                  </a:ln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F3DD6597-26F6-E05B-5F4B-AE595A085D2B}"/>
                </a:ext>
              </a:extLst>
            </p:cNvPr>
            <p:cNvSpPr/>
            <p:nvPr/>
          </p:nvSpPr>
          <p:spPr>
            <a:xfrm>
              <a:off x="8057705" y="4243260"/>
              <a:ext cx="6350" cy="164465"/>
            </a:xfrm>
            <a:custGeom>
              <a:avLst/>
              <a:gdLst>
                <a:gd name="csX0" fmla="*/ 0 w 6350"/>
                <a:gd name="csY0" fmla="*/ 164465 h 164465"/>
                <a:gd name="csX1" fmla="*/ 0 w 6350"/>
                <a:gd name="csY1" fmla="*/ 0 h 16446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6350" h="164465">
                  <a:moveTo>
                    <a:pt x="0" y="164465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48" name="Grafik 4">
            <a:extLst>
              <a:ext uri="{FF2B5EF4-FFF2-40B4-BE49-F238E27FC236}">
                <a16:creationId xmlns:a16="http://schemas.microsoft.com/office/drawing/2014/main" id="{72DBCB79-CB67-1949-8CDF-FC9B6CBAF232}"/>
              </a:ext>
            </a:extLst>
          </p:cNvPr>
          <p:cNvGrpSpPr/>
          <p:nvPr/>
        </p:nvGrpSpPr>
        <p:grpSpPr>
          <a:xfrm>
            <a:off x="1229581" y="4545520"/>
            <a:ext cx="445850" cy="401075"/>
            <a:chOff x="5729160" y="1002474"/>
            <a:chExt cx="279400" cy="279400"/>
          </a:xfrm>
          <a:noFill/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BEBB3E63-C630-60FA-50E5-9762D4ED19BE}"/>
                </a:ext>
              </a:extLst>
            </p:cNvPr>
            <p:cNvSpPr/>
            <p:nvPr/>
          </p:nvSpPr>
          <p:spPr>
            <a:xfrm>
              <a:off x="5764491" y="1180274"/>
              <a:ext cx="209373" cy="101600"/>
            </a:xfrm>
            <a:custGeom>
              <a:avLst/>
              <a:gdLst>
                <a:gd name="csX0" fmla="*/ 186919 w 209373"/>
                <a:gd name="csY0" fmla="*/ 101600 h 101600"/>
                <a:gd name="csX1" fmla="*/ 21819 w 209373"/>
                <a:gd name="csY1" fmla="*/ 101600 h 101600"/>
                <a:gd name="csX2" fmla="*/ 229 w 209373"/>
                <a:gd name="csY2" fmla="*/ 15875 h 101600"/>
                <a:gd name="csX3" fmla="*/ 2769 w 209373"/>
                <a:gd name="csY3" fmla="*/ 5080 h 101600"/>
                <a:gd name="csX4" fmla="*/ 12929 w 209373"/>
                <a:gd name="csY4" fmla="*/ 0 h 101600"/>
                <a:gd name="csX5" fmla="*/ 196444 w 209373"/>
                <a:gd name="csY5" fmla="*/ 0 h 101600"/>
                <a:gd name="csX6" fmla="*/ 206604 w 209373"/>
                <a:gd name="csY6" fmla="*/ 5080 h 101600"/>
                <a:gd name="csX7" fmla="*/ 209144 w 209373"/>
                <a:gd name="csY7" fmla="*/ 15875 h 101600"/>
                <a:gd name="csX8" fmla="*/ 187554 w 209373"/>
                <a:gd name="csY8" fmla="*/ 101600 h 101600"/>
                <a:gd name="csX9" fmla="*/ 186919 w 209373"/>
                <a:gd name="csY9" fmla="*/ 101600 h 1016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209373" h="101600">
                  <a:moveTo>
                    <a:pt x="186919" y="101600"/>
                  </a:moveTo>
                  <a:lnTo>
                    <a:pt x="21819" y="101600"/>
                  </a:lnTo>
                  <a:lnTo>
                    <a:pt x="229" y="15875"/>
                  </a:lnTo>
                  <a:cubicBezTo>
                    <a:pt x="-406" y="12065"/>
                    <a:pt x="229" y="8255"/>
                    <a:pt x="2769" y="5080"/>
                  </a:cubicBezTo>
                  <a:cubicBezTo>
                    <a:pt x="5309" y="1905"/>
                    <a:pt x="9119" y="0"/>
                    <a:pt x="12929" y="0"/>
                  </a:cubicBezTo>
                  <a:lnTo>
                    <a:pt x="196444" y="0"/>
                  </a:lnTo>
                  <a:cubicBezTo>
                    <a:pt x="200254" y="0"/>
                    <a:pt x="204064" y="1905"/>
                    <a:pt x="206604" y="5080"/>
                  </a:cubicBezTo>
                  <a:cubicBezTo>
                    <a:pt x="209144" y="8255"/>
                    <a:pt x="209779" y="12065"/>
                    <a:pt x="209144" y="15875"/>
                  </a:cubicBezTo>
                  <a:lnTo>
                    <a:pt x="187554" y="101600"/>
                  </a:lnTo>
                  <a:lnTo>
                    <a:pt x="186919" y="101600"/>
                  </a:ln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05184966-97EB-733E-C7A7-07D0624333D7}"/>
                </a:ext>
              </a:extLst>
            </p:cNvPr>
            <p:cNvSpPr/>
            <p:nvPr/>
          </p:nvSpPr>
          <p:spPr>
            <a:xfrm>
              <a:off x="5729160" y="1281874"/>
              <a:ext cx="279400" cy="6350"/>
            </a:xfrm>
            <a:custGeom>
              <a:avLst/>
              <a:gdLst>
                <a:gd name="csX0" fmla="*/ 0 w 279400"/>
                <a:gd name="csY0" fmla="*/ 0 h 6350"/>
                <a:gd name="csX1" fmla="*/ 279400 w 27940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279400" h="6350">
                  <a:moveTo>
                    <a:pt x="0" y="0"/>
                  </a:moveTo>
                  <a:lnTo>
                    <a:pt x="27940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EA162912-D21C-9958-AAFC-E2C2B90047CC}"/>
                </a:ext>
              </a:extLst>
            </p:cNvPr>
            <p:cNvSpPr/>
            <p:nvPr/>
          </p:nvSpPr>
          <p:spPr>
            <a:xfrm>
              <a:off x="5868860" y="1142174"/>
              <a:ext cx="6350" cy="19050"/>
            </a:xfrm>
            <a:custGeom>
              <a:avLst/>
              <a:gdLst>
                <a:gd name="csX0" fmla="*/ 0 w 6350"/>
                <a:gd name="csY0" fmla="*/ 0 h 19050"/>
                <a:gd name="csX1" fmla="*/ 0 w 6350"/>
                <a:gd name="csY1" fmla="*/ 19050 h 190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6350" h="19050">
                  <a:moveTo>
                    <a:pt x="0" y="0"/>
                  </a:moveTo>
                  <a:lnTo>
                    <a:pt x="0" y="1905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D85BD4D6-3E10-C587-9F76-68EA42CF3916}"/>
                </a:ext>
              </a:extLst>
            </p:cNvPr>
            <p:cNvSpPr/>
            <p:nvPr/>
          </p:nvSpPr>
          <p:spPr>
            <a:xfrm>
              <a:off x="5830760" y="1002866"/>
              <a:ext cx="81915" cy="44057"/>
            </a:xfrm>
            <a:custGeom>
              <a:avLst/>
              <a:gdLst>
                <a:gd name="csX0" fmla="*/ 52705 w 81915"/>
                <a:gd name="csY0" fmla="*/ 44058 h 44057"/>
                <a:gd name="csX1" fmla="*/ 81915 w 81915"/>
                <a:gd name="csY1" fmla="*/ 38343 h 44057"/>
                <a:gd name="csX2" fmla="*/ 46990 w 81915"/>
                <a:gd name="csY2" fmla="*/ 878 h 44057"/>
                <a:gd name="csX3" fmla="*/ 0 w 81915"/>
                <a:gd name="csY3" fmla="*/ 21833 h 44057"/>
                <a:gd name="csX4" fmla="*/ 52705 w 81915"/>
                <a:gd name="csY4" fmla="*/ 44058 h 44057"/>
                <a:gd name="csX5" fmla="*/ 52705 w 81915"/>
                <a:gd name="csY5" fmla="*/ 44058 h 4405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81915" h="44057">
                  <a:moveTo>
                    <a:pt x="52705" y="44058"/>
                  </a:moveTo>
                  <a:cubicBezTo>
                    <a:pt x="62865" y="44058"/>
                    <a:pt x="72390" y="42153"/>
                    <a:pt x="81915" y="38343"/>
                  </a:cubicBezTo>
                  <a:cubicBezTo>
                    <a:pt x="79375" y="19293"/>
                    <a:pt x="65405" y="4688"/>
                    <a:pt x="46990" y="878"/>
                  </a:cubicBezTo>
                  <a:cubicBezTo>
                    <a:pt x="28575" y="-2932"/>
                    <a:pt x="9525" y="5958"/>
                    <a:pt x="0" y="21833"/>
                  </a:cubicBezTo>
                  <a:cubicBezTo>
                    <a:pt x="13970" y="36438"/>
                    <a:pt x="33020" y="44058"/>
                    <a:pt x="52705" y="44058"/>
                  </a:cubicBezTo>
                  <a:lnTo>
                    <a:pt x="52705" y="44058"/>
                  </a:ln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1E381B99-37A7-800A-A8DD-6636CF258A0A}"/>
                </a:ext>
              </a:extLst>
            </p:cNvPr>
            <p:cNvSpPr/>
            <p:nvPr/>
          </p:nvSpPr>
          <p:spPr>
            <a:xfrm>
              <a:off x="5824410" y="1002474"/>
              <a:ext cx="88900" cy="88900"/>
            </a:xfrm>
            <a:custGeom>
              <a:avLst/>
              <a:gdLst>
                <a:gd name="csX0" fmla="*/ 44450 w 88900"/>
                <a:gd name="csY0" fmla="*/ 88900 h 88900"/>
                <a:gd name="csX1" fmla="*/ 88900 w 88900"/>
                <a:gd name="csY1" fmla="*/ 44450 h 88900"/>
                <a:gd name="csX2" fmla="*/ 44450 w 88900"/>
                <a:gd name="csY2" fmla="*/ 0 h 88900"/>
                <a:gd name="csX3" fmla="*/ 0 w 88900"/>
                <a:gd name="csY3" fmla="*/ 44450 h 88900"/>
                <a:gd name="csX4" fmla="*/ 44450 w 88900"/>
                <a:gd name="csY4" fmla="*/ 88900 h 889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88900" h="88900">
                  <a:moveTo>
                    <a:pt x="44450" y="88900"/>
                  </a:moveTo>
                  <a:cubicBezTo>
                    <a:pt x="69215" y="88900"/>
                    <a:pt x="88900" y="69215"/>
                    <a:pt x="88900" y="44450"/>
                  </a:cubicBezTo>
                  <a:cubicBezTo>
                    <a:pt x="88900" y="19685"/>
                    <a:pt x="69215" y="0"/>
                    <a:pt x="44450" y="0"/>
                  </a:cubicBezTo>
                  <a:cubicBezTo>
                    <a:pt x="19685" y="0"/>
                    <a:pt x="0" y="19685"/>
                    <a:pt x="0" y="44450"/>
                  </a:cubicBezTo>
                  <a:cubicBezTo>
                    <a:pt x="0" y="69215"/>
                    <a:pt x="19685" y="88900"/>
                    <a:pt x="44450" y="88900"/>
                  </a:cubicBez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0FEB389B-7088-FBD0-BB96-51D7FFE48C60}"/>
                </a:ext>
              </a:extLst>
            </p:cNvPr>
            <p:cNvSpPr/>
            <p:nvPr/>
          </p:nvSpPr>
          <p:spPr>
            <a:xfrm>
              <a:off x="5852985" y="1212024"/>
              <a:ext cx="31750" cy="31750"/>
            </a:xfrm>
            <a:custGeom>
              <a:avLst/>
              <a:gdLst>
                <a:gd name="csX0" fmla="*/ 15875 w 31750"/>
                <a:gd name="csY0" fmla="*/ 31750 h 31750"/>
                <a:gd name="csX1" fmla="*/ 31750 w 31750"/>
                <a:gd name="csY1" fmla="*/ 15875 h 31750"/>
                <a:gd name="csX2" fmla="*/ 15875 w 31750"/>
                <a:gd name="csY2" fmla="*/ 0 h 31750"/>
                <a:gd name="csX3" fmla="*/ 0 w 31750"/>
                <a:gd name="csY3" fmla="*/ 15875 h 31750"/>
                <a:gd name="csX4" fmla="*/ 15875 w 31750"/>
                <a:gd name="csY4" fmla="*/ 31750 h 317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31750" h="31750">
                  <a:moveTo>
                    <a:pt x="15875" y="31750"/>
                  </a:moveTo>
                  <a:cubicBezTo>
                    <a:pt x="24765" y="31750"/>
                    <a:pt x="31750" y="24765"/>
                    <a:pt x="31750" y="15875"/>
                  </a:cubicBezTo>
                  <a:cubicBezTo>
                    <a:pt x="31750" y="6985"/>
                    <a:pt x="24765" y="0"/>
                    <a:pt x="15875" y="0"/>
                  </a:cubicBezTo>
                  <a:cubicBezTo>
                    <a:pt x="6985" y="0"/>
                    <a:pt x="0" y="6985"/>
                    <a:pt x="0" y="15875"/>
                  </a:cubicBezTo>
                  <a:cubicBezTo>
                    <a:pt x="0" y="24765"/>
                    <a:pt x="6985" y="31750"/>
                    <a:pt x="15875" y="31750"/>
                  </a:cubicBez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091FE9A7-8079-E7D4-90B5-EFEF7697F1A9}"/>
                </a:ext>
              </a:extLst>
            </p:cNvPr>
            <p:cNvSpPr/>
            <p:nvPr/>
          </p:nvSpPr>
          <p:spPr>
            <a:xfrm>
              <a:off x="5808535" y="1110424"/>
              <a:ext cx="120650" cy="44450"/>
            </a:xfrm>
            <a:custGeom>
              <a:avLst/>
              <a:gdLst>
                <a:gd name="csX0" fmla="*/ 120650 w 120650"/>
                <a:gd name="csY0" fmla="*/ 44450 h 44450"/>
                <a:gd name="csX1" fmla="*/ 60325 w 120650"/>
                <a:gd name="csY1" fmla="*/ 0 h 44450"/>
                <a:gd name="csX2" fmla="*/ 0 w 120650"/>
                <a:gd name="csY2" fmla="*/ 44450 h 444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</a:cxnLst>
              <a:rect l="l" t="t" r="r" b="b"/>
              <a:pathLst>
                <a:path w="120650" h="44450">
                  <a:moveTo>
                    <a:pt x="120650" y="44450"/>
                  </a:moveTo>
                  <a:cubicBezTo>
                    <a:pt x="112395" y="17780"/>
                    <a:pt x="88265" y="0"/>
                    <a:pt x="60325" y="0"/>
                  </a:cubicBezTo>
                  <a:cubicBezTo>
                    <a:pt x="32385" y="0"/>
                    <a:pt x="8255" y="17780"/>
                    <a:pt x="0" y="4445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56" name="Grafik 4">
            <a:extLst>
              <a:ext uri="{FF2B5EF4-FFF2-40B4-BE49-F238E27FC236}">
                <a16:creationId xmlns:a16="http://schemas.microsoft.com/office/drawing/2014/main" id="{CC47493E-93A4-0598-81DC-73E6AC64397D}"/>
              </a:ext>
            </a:extLst>
          </p:cNvPr>
          <p:cNvGrpSpPr/>
          <p:nvPr/>
        </p:nvGrpSpPr>
        <p:grpSpPr>
          <a:xfrm>
            <a:off x="1276343" y="5244893"/>
            <a:ext cx="324623" cy="432639"/>
            <a:chOff x="10905680" y="989774"/>
            <a:chExt cx="241300" cy="292100"/>
          </a:xfrm>
          <a:noFill/>
        </p:grpSpPr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27BA2A69-5621-6CBD-98F4-F3FEF00C3B60}"/>
                </a:ext>
              </a:extLst>
            </p:cNvPr>
            <p:cNvSpPr/>
            <p:nvPr/>
          </p:nvSpPr>
          <p:spPr>
            <a:xfrm>
              <a:off x="10905680" y="989774"/>
              <a:ext cx="241300" cy="292100"/>
            </a:xfrm>
            <a:custGeom>
              <a:avLst/>
              <a:gdLst>
                <a:gd name="csX0" fmla="*/ 237489 w 241300"/>
                <a:gd name="csY0" fmla="*/ 50800 h 292100"/>
                <a:gd name="csX1" fmla="*/ 241300 w 241300"/>
                <a:gd name="csY1" fmla="*/ 59690 h 292100"/>
                <a:gd name="csX2" fmla="*/ 241300 w 241300"/>
                <a:gd name="csY2" fmla="*/ 279400 h 292100"/>
                <a:gd name="csX3" fmla="*/ 228600 w 241300"/>
                <a:gd name="csY3" fmla="*/ 292100 h 292100"/>
                <a:gd name="csX4" fmla="*/ 12700 w 241300"/>
                <a:gd name="csY4" fmla="*/ 292100 h 292100"/>
                <a:gd name="csX5" fmla="*/ 0 w 241300"/>
                <a:gd name="csY5" fmla="*/ 279400 h 292100"/>
                <a:gd name="csX6" fmla="*/ 0 w 241300"/>
                <a:gd name="csY6" fmla="*/ 12700 h 292100"/>
                <a:gd name="csX7" fmla="*/ 12700 w 241300"/>
                <a:gd name="csY7" fmla="*/ 0 h 292100"/>
                <a:gd name="csX8" fmla="*/ 181610 w 241300"/>
                <a:gd name="csY8" fmla="*/ 0 h 292100"/>
                <a:gd name="csX9" fmla="*/ 190500 w 241300"/>
                <a:gd name="csY9" fmla="*/ 3810 h 292100"/>
                <a:gd name="csX10" fmla="*/ 237489 w 241300"/>
                <a:gd name="csY10" fmla="*/ 50800 h 2921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41300" h="292100">
                  <a:moveTo>
                    <a:pt x="237489" y="50800"/>
                  </a:moveTo>
                  <a:cubicBezTo>
                    <a:pt x="240030" y="53340"/>
                    <a:pt x="241300" y="56515"/>
                    <a:pt x="241300" y="59690"/>
                  </a:cubicBezTo>
                  <a:lnTo>
                    <a:pt x="241300" y="279400"/>
                  </a:lnTo>
                  <a:cubicBezTo>
                    <a:pt x="241300" y="286385"/>
                    <a:pt x="235585" y="292100"/>
                    <a:pt x="228600" y="292100"/>
                  </a:cubicBezTo>
                  <a:lnTo>
                    <a:pt x="12700" y="292100"/>
                  </a:lnTo>
                  <a:cubicBezTo>
                    <a:pt x="5714" y="292100"/>
                    <a:pt x="0" y="286385"/>
                    <a:pt x="0" y="279400"/>
                  </a:cubicBezTo>
                  <a:lnTo>
                    <a:pt x="0" y="12700"/>
                  </a:lnTo>
                  <a:cubicBezTo>
                    <a:pt x="0" y="5715"/>
                    <a:pt x="5714" y="0"/>
                    <a:pt x="12700" y="0"/>
                  </a:cubicBezTo>
                  <a:lnTo>
                    <a:pt x="181610" y="0"/>
                  </a:lnTo>
                  <a:cubicBezTo>
                    <a:pt x="184785" y="0"/>
                    <a:pt x="187960" y="1270"/>
                    <a:pt x="190500" y="3810"/>
                  </a:cubicBezTo>
                  <a:lnTo>
                    <a:pt x="237489" y="50800"/>
                  </a:ln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CF118064-2A00-4F38-CC16-F9D3B4FA6ED5}"/>
                </a:ext>
              </a:extLst>
            </p:cNvPr>
            <p:cNvSpPr/>
            <p:nvPr/>
          </p:nvSpPr>
          <p:spPr>
            <a:xfrm>
              <a:off x="11058080" y="1053274"/>
              <a:ext cx="50800" cy="6350"/>
            </a:xfrm>
            <a:custGeom>
              <a:avLst/>
              <a:gdLst>
                <a:gd name="csX0" fmla="*/ 0 w 50800"/>
                <a:gd name="csY0" fmla="*/ 0 h 6350"/>
                <a:gd name="csX1" fmla="*/ 50800 w 5080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50800" h="6350">
                  <a:moveTo>
                    <a:pt x="0" y="0"/>
                  </a:moveTo>
                  <a:lnTo>
                    <a:pt x="5080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9EF97A91-73CF-F0B7-7C2A-27C3C2A4777C}"/>
                </a:ext>
              </a:extLst>
            </p:cNvPr>
            <p:cNvSpPr/>
            <p:nvPr/>
          </p:nvSpPr>
          <p:spPr>
            <a:xfrm>
              <a:off x="10943780" y="1167574"/>
              <a:ext cx="165100" cy="6350"/>
            </a:xfrm>
            <a:custGeom>
              <a:avLst/>
              <a:gdLst>
                <a:gd name="csX0" fmla="*/ 0 w 165100"/>
                <a:gd name="csY0" fmla="*/ 0 h 6350"/>
                <a:gd name="csX1" fmla="*/ 165100 w 16510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65100" h="6350">
                  <a:moveTo>
                    <a:pt x="0" y="0"/>
                  </a:moveTo>
                  <a:lnTo>
                    <a:pt x="16510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B9B60E6C-9357-96C8-7D7F-1CDA398D8938}"/>
                </a:ext>
              </a:extLst>
            </p:cNvPr>
            <p:cNvSpPr/>
            <p:nvPr/>
          </p:nvSpPr>
          <p:spPr>
            <a:xfrm>
              <a:off x="10943780" y="1205674"/>
              <a:ext cx="165100" cy="6350"/>
            </a:xfrm>
            <a:custGeom>
              <a:avLst/>
              <a:gdLst>
                <a:gd name="csX0" fmla="*/ 0 w 165100"/>
                <a:gd name="csY0" fmla="*/ 0 h 6350"/>
                <a:gd name="csX1" fmla="*/ 165100 w 16510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65100" h="6350">
                  <a:moveTo>
                    <a:pt x="0" y="0"/>
                  </a:moveTo>
                  <a:lnTo>
                    <a:pt x="16510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491DB83D-F06E-6975-2D49-2E38ACFCA1C2}"/>
                </a:ext>
              </a:extLst>
            </p:cNvPr>
            <p:cNvSpPr/>
            <p:nvPr/>
          </p:nvSpPr>
          <p:spPr>
            <a:xfrm>
              <a:off x="10943780" y="1243774"/>
              <a:ext cx="165100" cy="6350"/>
            </a:xfrm>
            <a:custGeom>
              <a:avLst/>
              <a:gdLst>
                <a:gd name="csX0" fmla="*/ 0 w 165100"/>
                <a:gd name="csY0" fmla="*/ 0 h 6350"/>
                <a:gd name="csX1" fmla="*/ 165100 w 16510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165100" h="6350">
                  <a:moveTo>
                    <a:pt x="0" y="0"/>
                  </a:moveTo>
                  <a:lnTo>
                    <a:pt x="16510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B0E6765F-1A89-4158-0E92-F503BC33D68E}"/>
                </a:ext>
              </a:extLst>
            </p:cNvPr>
            <p:cNvSpPr/>
            <p:nvPr/>
          </p:nvSpPr>
          <p:spPr>
            <a:xfrm>
              <a:off x="11058080" y="1091374"/>
              <a:ext cx="50800" cy="6350"/>
            </a:xfrm>
            <a:custGeom>
              <a:avLst/>
              <a:gdLst>
                <a:gd name="csX0" fmla="*/ 0 w 50800"/>
                <a:gd name="csY0" fmla="*/ 0 h 6350"/>
                <a:gd name="csX1" fmla="*/ 50800 w 5080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50800" h="6350">
                  <a:moveTo>
                    <a:pt x="0" y="0"/>
                  </a:moveTo>
                  <a:lnTo>
                    <a:pt x="5080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5524F353-4FD0-E5C3-95AF-5622EE8ED441}"/>
                </a:ext>
              </a:extLst>
            </p:cNvPr>
            <p:cNvSpPr/>
            <p:nvPr/>
          </p:nvSpPr>
          <p:spPr>
            <a:xfrm>
              <a:off x="11058080" y="1129474"/>
              <a:ext cx="50800" cy="6350"/>
            </a:xfrm>
            <a:custGeom>
              <a:avLst/>
              <a:gdLst>
                <a:gd name="csX0" fmla="*/ 0 w 50800"/>
                <a:gd name="csY0" fmla="*/ 0 h 6350"/>
                <a:gd name="csX1" fmla="*/ 50800 w 5080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50800" h="6350">
                  <a:moveTo>
                    <a:pt x="0" y="0"/>
                  </a:moveTo>
                  <a:lnTo>
                    <a:pt x="5080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24C06BE6-E928-67CC-B468-880792B061C3}"/>
                </a:ext>
              </a:extLst>
            </p:cNvPr>
            <p:cNvSpPr/>
            <p:nvPr/>
          </p:nvSpPr>
          <p:spPr>
            <a:xfrm>
              <a:off x="10943780" y="1040574"/>
              <a:ext cx="76200" cy="12700"/>
            </a:xfrm>
            <a:custGeom>
              <a:avLst/>
              <a:gdLst>
                <a:gd name="csX0" fmla="*/ 0 w 76200"/>
                <a:gd name="csY0" fmla="*/ 12700 h 12700"/>
                <a:gd name="csX1" fmla="*/ 0 w 76200"/>
                <a:gd name="csY1" fmla="*/ 0 h 12700"/>
                <a:gd name="csX2" fmla="*/ 76200 w 76200"/>
                <a:gd name="csY2" fmla="*/ 0 h 12700"/>
                <a:gd name="csX3" fmla="*/ 76200 w 76200"/>
                <a:gd name="csY3" fmla="*/ 12700 h 127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</a:cxnLst>
              <a:rect l="l" t="t" r="r" b="b"/>
              <a:pathLst>
                <a:path w="76200" h="12700">
                  <a:moveTo>
                    <a:pt x="0" y="12700"/>
                  </a:moveTo>
                  <a:lnTo>
                    <a:pt x="0" y="0"/>
                  </a:lnTo>
                  <a:lnTo>
                    <a:pt x="76200" y="0"/>
                  </a:lnTo>
                  <a:lnTo>
                    <a:pt x="76200" y="1270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DBCFB21A-74A1-6113-94CE-A851C11B7AB3}"/>
                </a:ext>
              </a:extLst>
            </p:cNvPr>
            <p:cNvSpPr/>
            <p:nvPr/>
          </p:nvSpPr>
          <p:spPr>
            <a:xfrm>
              <a:off x="10981880" y="1040574"/>
              <a:ext cx="6350" cy="88900"/>
            </a:xfrm>
            <a:custGeom>
              <a:avLst/>
              <a:gdLst>
                <a:gd name="csX0" fmla="*/ 0 w 6350"/>
                <a:gd name="csY0" fmla="*/ 0 h 88900"/>
                <a:gd name="csX1" fmla="*/ 0 w 6350"/>
                <a:gd name="csY1" fmla="*/ 88900 h 889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6350" h="88900">
                  <a:moveTo>
                    <a:pt x="0" y="0"/>
                  </a:moveTo>
                  <a:lnTo>
                    <a:pt x="0" y="8890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52312BAF-8940-8939-0E9C-A4FB2BF43D01}"/>
                </a:ext>
              </a:extLst>
            </p:cNvPr>
            <p:cNvSpPr/>
            <p:nvPr/>
          </p:nvSpPr>
          <p:spPr>
            <a:xfrm>
              <a:off x="10956480" y="1129474"/>
              <a:ext cx="50800" cy="6350"/>
            </a:xfrm>
            <a:custGeom>
              <a:avLst/>
              <a:gdLst>
                <a:gd name="csX0" fmla="*/ 0 w 50800"/>
                <a:gd name="csY0" fmla="*/ 0 h 6350"/>
                <a:gd name="csX1" fmla="*/ 50800 w 50800"/>
                <a:gd name="csY1" fmla="*/ 0 h 635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</a:cxnLst>
              <a:rect l="l" t="t" r="r" b="b"/>
              <a:pathLst>
                <a:path w="50800" h="6350">
                  <a:moveTo>
                    <a:pt x="0" y="0"/>
                  </a:moveTo>
                  <a:lnTo>
                    <a:pt x="50800" y="0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7442900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8F0D00-D117-5BCD-9F94-2B82784475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B2E08FF-C4CE-4F93-F2C4-C5FA65AC2A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B2E08FF-C4CE-4F93-F2C4-C5FA65AC2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27014B3-FACF-FE3A-D135-B2474C5E22F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76262" y="1514979"/>
            <a:ext cx="10367964" cy="4321175"/>
          </a:xfrm>
        </p:spPr>
        <p:txBody>
          <a:bodyPr/>
          <a:lstStyle/>
          <a:p>
            <a:pPr marL="342896" lvl="1" indent="-342900">
              <a:buFont typeface="+mj-lt"/>
              <a:buAutoNum type="arabicPeriod"/>
            </a:pPr>
            <a:r>
              <a:rPr lang="de-DE" dirty="0"/>
              <a:t>Identifizieren Sie Ihre Dienstleister.</a:t>
            </a:r>
          </a:p>
          <a:p>
            <a:pPr marL="342896" lvl="1" indent="-342900">
              <a:buFont typeface="+mj-lt"/>
              <a:buAutoNum type="arabicPeriod"/>
            </a:pPr>
            <a:r>
              <a:rPr lang="de-DE" dirty="0"/>
              <a:t>Legen Sie ein für Sie passendes Bewertungsschema fest.</a:t>
            </a:r>
          </a:p>
          <a:p>
            <a:pPr marL="342896" lvl="1" indent="-342900">
              <a:buFont typeface="+mj-lt"/>
              <a:buAutoNum type="arabicPeriod"/>
            </a:pPr>
            <a:r>
              <a:rPr lang="de-DE" dirty="0"/>
              <a:t>Legen Sie entsprechende Klassifizierungskriterien fest.</a:t>
            </a:r>
          </a:p>
          <a:p>
            <a:pPr marL="342896" lvl="1" indent="-342900">
              <a:buFont typeface="+mj-lt"/>
              <a:buAutoNum type="arabicPeriod"/>
            </a:pPr>
            <a:r>
              <a:rPr lang="de-DE" dirty="0"/>
              <a:t>Legen Sie entsprechende Anforderungen und Maßnahmen für die einzelnen Klassen fest.</a:t>
            </a:r>
          </a:p>
          <a:p>
            <a:pPr marL="342896" lvl="1" indent="-342900">
              <a:buFont typeface="+mj-lt"/>
              <a:buAutoNum type="arabicPeriod"/>
            </a:pPr>
            <a:r>
              <a:rPr lang="de-DE" dirty="0"/>
              <a:t>Nehmen Sie die Zuordnung der Dienstleister vor indem Sie z. B. eine Risikoanalyse durchführen.</a:t>
            </a:r>
          </a:p>
          <a:p>
            <a:pPr marL="342896" lvl="1" indent="-342900">
              <a:buFont typeface="+mj-lt"/>
              <a:buAutoNum type="arabicPeriod"/>
            </a:pPr>
            <a:r>
              <a:rPr lang="de-DE" dirty="0"/>
              <a:t>Berücksichtigen Sie die Ergebnisse bei der Beauftragung oder passen Sie den SLS an.</a:t>
            </a:r>
          </a:p>
          <a:p>
            <a:pPr marL="342896" lvl="1" indent="-342900">
              <a:buFont typeface="+mj-lt"/>
              <a:buAutoNum type="arabicPeriod"/>
            </a:pPr>
            <a:r>
              <a:rPr lang="de-DE" dirty="0"/>
              <a:t>Führen Sie Überprüfungen der Dienstleister gem. ihrer Kritikalitätskategorie durch. </a:t>
            </a:r>
          </a:p>
          <a:p>
            <a:pPr marL="342896" lvl="1" indent="-342900">
              <a:buFont typeface="+mj-lt"/>
              <a:buAutoNum type="arabicPeriod"/>
            </a:pPr>
            <a:r>
              <a:rPr lang="de-DE" dirty="0"/>
              <a:t>Überprüfen Sie regelmäßig, z. B. jährlich, den Status Ihrer bedeutsamen Dienstleister.</a:t>
            </a:r>
          </a:p>
          <a:p>
            <a:pPr marL="342896" lvl="1" indent="-342900">
              <a:buFont typeface="+mj-lt"/>
              <a:buAutoNum type="arabicPeriod"/>
            </a:pPr>
            <a:endParaRPr lang="de-DE" dirty="0"/>
          </a:p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24D1A26-01D0-9888-B57A-E16D87983F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/>
          <a:lstStyle/>
          <a:p>
            <a:r>
              <a:rPr lang="de-DE" dirty="0"/>
              <a:t>Informationssicherheit in der Praxis</a:t>
            </a:r>
            <a:br>
              <a:rPr lang="de-DE" dirty="0"/>
            </a:br>
            <a:r>
              <a:rPr lang="de-DE" sz="2400" dirty="0">
                <a:latin typeface="Axiforma for Sec" pitchFamily="2" charset="0"/>
              </a:rPr>
              <a:t>Checkliste Lieferanten und Dienstleister</a:t>
            </a:r>
            <a:endParaRPr lang="de-DE" dirty="0">
              <a:latin typeface="Axiforma for Sec" pitchFamily="2" charset="0"/>
            </a:endParaRPr>
          </a:p>
        </p:txBody>
      </p:sp>
      <p:sp>
        <p:nvSpPr>
          <p:cNvPr id="10" name="Freeform 4">
            <a:extLst>
              <a:ext uri="{FF2B5EF4-FFF2-40B4-BE49-F238E27FC236}">
                <a16:creationId xmlns:a16="http://schemas.microsoft.com/office/drawing/2014/main" id="{00330995-131A-FA12-D093-F3606F49618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6259" y="4685595"/>
            <a:ext cx="287064" cy="288000"/>
          </a:xfrm>
          <a:custGeom>
            <a:avLst/>
            <a:gdLst>
              <a:gd name="T0" fmla="*/ 3099 w 5411"/>
              <a:gd name="T1" fmla="*/ 2704 h 5427"/>
              <a:gd name="T2" fmla="*/ 1541 w 5411"/>
              <a:gd name="T3" fmla="*/ 5426 h 5427"/>
              <a:gd name="T4" fmla="*/ 0 w 5411"/>
              <a:gd name="T5" fmla="*/ 5426 h 5427"/>
              <a:gd name="T6" fmla="*/ 1558 w 5411"/>
              <a:gd name="T7" fmla="*/ 2704 h 5427"/>
              <a:gd name="T8" fmla="*/ 0 w 5411"/>
              <a:gd name="T9" fmla="*/ 0 h 5427"/>
              <a:gd name="T10" fmla="*/ 1541 w 5411"/>
              <a:gd name="T11" fmla="*/ 0 h 5427"/>
              <a:gd name="T12" fmla="*/ 3099 w 5411"/>
              <a:gd name="T13" fmla="*/ 2704 h 5427"/>
              <a:gd name="T14" fmla="*/ 3851 w 5411"/>
              <a:gd name="T15" fmla="*/ 0 h 5427"/>
              <a:gd name="T16" fmla="*/ 2311 w 5411"/>
              <a:gd name="T17" fmla="*/ 0 h 5427"/>
              <a:gd name="T18" fmla="*/ 3887 w 5411"/>
              <a:gd name="T19" fmla="*/ 2704 h 5427"/>
              <a:gd name="T20" fmla="*/ 2311 w 5411"/>
              <a:gd name="T21" fmla="*/ 5426 h 5427"/>
              <a:gd name="T22" fmla="*/ 3851 w 5411"/>
              <a:gd name="T23" fmla="*/ 5426 h 5427"/>
              <a:gd name="T24" fmla="*/ 5410 w 5411"/>
              <a:gd name="T25" fmla="*/ 2704 h 5427"/>
              <a:gd name="T26" fmla="*/ 3851 w 5411"/>
              <a:gd name="T27" fmla="*/ 0 h 5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11" h="5427">
                <a:moveTo>
                  <a:pt x="3099" y="2704"/>
                </a:moveTo>
                <a:lnTo>
                  <a:pt x="1541" y="5426"/>
                </a:lnTo>
                <a:lnTo>
                  <a:pt x="0" y="5426"/>
                </a:lnTo>
                <a:lnTo>
                  <a:pt x="1558" y="2704"/>
                </a:lnTo>
                <a:lnTo>
                  <a:pt x="0" y="0"/>
                </a:lnTo>
                <a:lnTo>
                  <a:pt x="1541" y="0"/>
                </a:lnTo>
                <a:lnTo>
                  <a:pt x="3099" y="2704"/>
                </a:lnTo>
                <a:close/>
                <a:moveTo>
                  <a:pt x="3851" y="0"/>
                </a:moveTo>
                <a:lnTo>
                  <a:pt x="2311" y="0"/>
                </a:lnTo>
                <a:lnTo>
                  <a:pt x="3887" y="2704"/>
                </a:lnTo>
                <a:lnTo>
                  <a:pt x="2311" y="5426"/>
                </a:lnTo>
                <a:lnTo>
                  <a:pt x="3851" y="5426"/>
                </a:lnTo>
                <a:lnTo>
                  <a:pt x="5410" y="2704"/>
                </a:lnTo>
                <a:lnTo>
                  <a:pt x="385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070BF9C3-604D-4B38-3729-F912D0C43D50}"/>
              </a:ext>
            </a:extLst>
          </p:cNvPr>
          <p:cNvSpPr txBox="1">
            <a:spLocks/>
          </p:cNvSpPr>
          <p:nvPr/>
        </p:nvSpPr>
        <p:spPr>
          <a:xfrm>
            <a:off x="1007266" y="4690750"/>
            <a:ext cx="9936957" cy="2639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FontTx/>
              <a:buNone/>
              <a:defRPr lang="de-DE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046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054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D70F37"/>
                </a:solidFill>
                <a:effectLst/>
                <a:uLnTx/>
                <a:uFillTx/>
                <a:latin typeface="Axiforma for Sec Black"/>
                <a:ea typeface="+mn-ea"/>
                <a:cs typeface="+mn-cs"/>
              </a:rPr>
              <a:t>Nutzen Sie einen realistischen Ansatz.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306DE7D7-49FD-47B2-4F42-4BE30F467EF0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727200" y="6120000"/>
            <a:ext cx="732439" cy="360001"/>
          </a:xfrm>
          <a:prstGeom prst="rect">
            <a:avLst/>
          </a:prstGeom>
        </p:spPr>
        <p:txBody>
          <a:bodyPr vert="horz" wrap="none" lIns="0" tIns="0" rIns="3600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lang="en-US"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D887AC-0F93-45EA-AF47-E8E16AE76167}" type="datetime1">
              <a:rPr lang="de-DE" smtClean="0"/>
              <a:t>17.04.2026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DDA76E2F-7514-6D4F-5032-103044AE6DC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459639" y="6120000"/>
            <a:ext cx="8484584" cy="360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171450" indent="-171450" algn="l" defTabSz="457200" rtl="0" eaLnBrk="1" latinLnBrk="0" hangingPunct="1">
              <a:buFont typeface="Axiforma for Sec" pitchFamily="2" charset="0"/>
              <a:buChar char="|"/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xiforma for Sec" pitchFamily="2" charset="0"/>
              <a:buChar char="|"/>
              <a:tabLst/>
              <a:defRPr/>
            </a:pPr>
            <a:r>
              <a:rPr lang="de-DE"/>
              <a:t>Cybersecurity Summit Hamburg | NIS-2 und die sichere Lieferkett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269F974E-54DC-81A7-E80B-046C3FEFCEC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576263" y="6119684"/>
            <a:ext cx="431736" cy="360001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457200" rtl="0" eaLnBrk="1" latinLnBrk="0" hangingPunct="1">
              <a:defRPr lang="en-US" sz="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B7CF8D-B682-4A81-B147-3F9080744213}" type="slidenum">
              <a:rPr lang="de-DE" smtClean="0"/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xiforma for Sec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12548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ACA5FB9-EDF4-4AD6-89D3-580ABFBD607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9" imgW="360" imgH="360" progId="TCLayout.ActiveDocument.1">
                  <p:embed/>
                </p:oleObj>
              </mc:Choice>
              <mc:Fallback>
                <p:oleObj name="think-cell Folie" r:id="rId39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CA5FB9-EDF4-4AD6-89D3-580ABFBD60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hteck 148">
            <a:extLst>
              <a:ext uri="{FF2B5EF4-FFF2-40B4-BE49-F238E27FC236}">
                <a16:creationId xmlns:a16="http://schemas.microsoft.com/office/drawing/2014/main" id="{7074EE18-11B3-4A25-D23C-E7748B2C2A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43803" y="2867965"/>
            <a:ext cx="1097835" cy="2726913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Erstellung von Umsetzungs-konzepten / Initiierung von Projekten </a:t>
            </a: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…..</a:t>
            </a: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 </a:t>
            </a:r>
          </a:p>
          <a:p>
            <a:pPr algn="ctr"/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1D3B3541-5DB3-D388-0BE3-C80E6BEFA7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80732" y="1522462"/>
            <a:ext cx="3991380" cy="4320412"/>
          </a:xfrm>
          <a:prstGeom prst="rect">
            <a:avLst/>
          </a:prstGeom>
          <a:noFill/>
          <a:ln w="25400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A1A651B4-C47D-9B8E-0900-7C537845C18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88812" y="1853598"/>
            <a:ext cx="3467288" cy="844249"/>
          </a:xfrm>
          <a:prstGeom prst="rect">
            <a:avLst/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A37442-7171-4966-9188-8FC26425E8FD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727200" y="6120000"/>
            <a:ext cx="732439" cy="360001"/>
          </a:xfrm>
        </p:spPr>
        <p:txBody>
          <a:bodyPr/>
          <a:lstStyle/>
          <a:p>
            <a:fld id="{4053496F-3EBB-49A7-BE57-A8258E8A96A7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36F476-FF09-475F-B724-7E92DE22BB3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2459639" y="6120000"/>
            <a:ext cx="8484584" cy="360001"/>
          </a:xfrm>
        </p:spPr>
        <p:txBody>
          <a:bodyPr/>
          <a:lstStyle/>
          <a:p>
            <a:r>
              <a:rPr lang="de-DE" dirty="0" err="1"/>
              <a:t>Cybersecurity</a:t>
            </a:r>
            <a:r>
              <a:rPr lang="de-DE" dirty="0"/>
              <a:t>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3F5771-7E3C-4CE4-971B-B55585EE5A5B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>
          <a:xfrm>
            <a:off x="576263" y="6119684"/>
            <a:ext cx="431736" cy="360001"/>
          </a:xfrm>
        </p:spPr>
        <p:txBody>
          <a:bodyPr/>
          <a:lstStyle/>
          <a:p>
            <a:fld id="{31B7CF8D-B682-4A81-B147-3F9080744213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159A7C-5797-440E-B84E-8CAE277C026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76263" y="215900"/>
            <a:ext cx="10367962" cy="1008063"/>
          </a:xfrm>
        </p:spPr>
        <p:txBody>
          <a:bodyPr vert="horz"/>
          <a:lstStyle/>
          <a:p>
            <a:r>
              <a:rPr lang="de-DE" dirty="0"/>
              <a:t>Informationssicherheit in der Praxis</a:t>
            </a:r>
            <a:br>
              <a:rPr lang="de-DE" dirty="0"/>
            </a:br>
            <a:r>
              <a:rPr lang="de-DE" dirty="0">
                <a:latin typeface="+mn-lt"/>
              </a:rPr>
              <a:t>Die richtigen Maßnahmen müssen umgesetzt werden</a:t>
            </a:r>
          </a:p>
        </p:txBody>
      </p:sp>
      <p:pic>
        <p:nvPicPr>
          <p:cNvPr id="65" name="Grafik 64" descr="Fabrik Silhouette">
            <a:extLst>
              <a:ext uri="{FF2B5EF4-FFF2-40B4-BE49-F238E27FC236}">
                <a16:creationId xmlns:a16="http://schemas.microsoft.com/office/drawing/2014/main" id="{0396A803-8797-73FA-787C-2DC25FE9169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177628" y="3203015"/>
            <a:ext cx="937172" cy="937172"/>
          </a:xfrm>
          <a:prstGeom prst="rect">
            <a:avLst/>
          </a:prstGeom>
        </p:spPr>
      </p:pic>
      <p:sp>
        <p:nvSpPr>
          <p:cNvPr id="78" name="Textfeld 77">
            <a:extLst>
              <a:ext uri="{FF2B5EF4-FFF2-40B4-BE49-F238E27FC236}">
                <a16:creationId xmlns:a16="http://schemas.microsoft.com/office/drawing/2014/main" id="{F981D869-65FB-D6DE-E5F7-EA14EC7261E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10373" y="1462356"/>
            <a:ext cx="2376000" cy="1692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36000" tIns="0" rIns="0" bIns="0" rtlCol="0" anchor="ctr">
            <a:no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rganisation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1F69D21-F610-41FF-ADB0-D561EF9D4F4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075508" y="1522462"/>
            <a:ext cx="5901425" cy="4320412"/>
          </a:xfrm>
          <a:prstGeom prst="rect">
            <a:avLst/>
          </a:prstGeom>
          <a:noFill/>
          <a:ln w="25400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0654BDF4-EC03-1272-6F86-FA8A894DC99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205150" y="1462356"/>
            <a:ext cx="2376000" cy="1692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36000" tIns="0" rIns="0" bIns="0" rtlCol="0" anchor="ctr">
            <a:no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nagementsysteme</a:t>
            </a:r>
          </a:p>
        </p:txBody>
      </p: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79385885-0589-907B-9A2F-6329CDDFAD01}"/>
              </a:ext>
            </a:extLst>
          </p:cNvPr>
          <p:cNvGrpSpPr/>
          <p:nvPr/>
        </p:nvGrpSpPr>
        <p:grpSpPr>
          <a:xfrm>
            <a:off x="1079905" y="1723861"/>
            <a:ext cx="3085102" cy="1187102"/>
            <a:chOff x="797394" y="1856273"/>
            <a:chExt cx="2396862" cy="922277"/>
          </a:xfrm>
        </p:grpSpPr>
        <p:pic>
          <p:nvPicPr>
            <p:cNvPr id="82" name="Grafik 81" descr="Stadt Silhouette">
              <a:extLst>
                <a:ext uri="{FF2B5EF4-FFF2-40B4-BE49-F238E27FC236}">
                  <a16:creationId xmlns:a16="http://schemas.microsoft.com/office/drawing/2014/main" id="{7061408A-4F00-1BDD-EE7D-4A378C58F60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797394" y="1863206"/>
              <a:ext cx="914400" cy="914400"/>
            </a:xfrm>
            <a:prstGeom prst="rect">
              <a:avLst/>
            </a:prstGeom>
          </p:spPr>
        </p:pic>
        <p:pic>
          <p:nvPicPr>
            <p:cNvPr id="83" name="Grafik 82" descr="Stadt Silhouette">
              <a:extLst>
                <a:ext uri="{FF2B5EF4-FFF2-40B4-BE49-F238E27FC236}">
                  <a16:creationId xmlns:a16="http://schemas.microsoft.com/office/drawing/2014/main" id="{C863A124-11AF-1D18-A2B8-31AE5EF0C79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1553629" y="1864150"/>
              <a:ext cx="914400" cy="914400"/>
            </a:xfrm>
            <a:prstGeom prst="rect">
              <a:avLst/>
            </a:prstGeom>
          </p:spPr>
        </p:pic>
        <p:pic>
          <p:nvPicPr>
            <p:cNvPr id="86" name="Grafik 85" descr="Stadt Silhouette">
              <a:extLst>
                <a:ext uri="{FF2B5EF4-FFF2-40B4-BE49-F238E27FC236}">
                  <a16:creationId xmlns:a16="http://schemas.microsoft.com/office/drawing/2014/main" id="{4DF90201-8395-7DF1-D712-8CCEB6057C5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2279856" y="1856273"/>
              <a:ext cx="914400" cy="914400"/>
            </a:xfrm>
            <a:prstGeom prst="rect">
              <a:avLst/>
            </a:prstGeom>
          </p:spPr>
        </p:pic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D23C3207-0F36-F980-104A-28A4B45E4A81}"/>
              </a:ext>
            </a:extLst>
          </p:cNvPr>
          <p:cNvGrpSpPr/>
          <p:nvPr/>
        </p:nvGrpSpPr>
        <p:grpSpPr>
          <a:xfrm>
            <a:off x="1792386" y="4776996"/>
            <a:ext cx="1763614" cy="889452"/>
            <a:chOff x="1560784" y="4346243"/>
            <a:chExt cx="1330254" cy="670894"/>
          </a:xfrm>
        </p:grpSpPr>
        <p:pic>
          <p:nvPicPr>
            <p:cNvPr id="87" name="Grafik 86">
              <a:extLst>
                <a:ext uri="{FF2B5EF4-FFF2-40B4-BE49-F238E27FC236}">
                  <a16:creationId xmlns:a16="http://schemas.microsoft.com/office/drawing/2014/main" id="{5BC7BF5F-7E67-9526-DA49-9B20E12F9B56}"/>
                </a:ext>
              </a:extLst>
            </p:cNvPr>
            <p:cNvPicPr>
              <a:picLocks noChangeAspect="1"/>
            </p:cNvPicPr>
            <p:nvPr/>
          </p:nvPicPr>
          <p:blipFill>
            <a:blip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2015369" y="4346243"/>
              <a:ext cx="432000" cy="432000"/>
            </a:xfrm>
            <a:prstGeom prst="rect">
              <a:avLst/>
            </a:prstGeom>
          </p:spPr>
        </p:pic>
        <p:pic>
          <p:nvPicPr>
            <p:cNvPr id="88" name="Grafik 87">
              <a:extLst>
                <a:ext uri="{FF2B5EF4-FFF2-40B4-BE49-F238E27FC236}">
                  <a16:creationId xmlns:a16="http://schemas.microsoft.com/office/drawing/2014/main" id="{09A4D9AE-E5BE-951E-9A91-6F6D0DE2F120}"/>
                </a:ext>
              </a:extLst>
            </p:cNvPr>
            <p:cNvPicPr>
              <a:picLocks noChangeAspect="1"/>
            </p:cNvPicPr>
            <p:nvPr/>
          </p:nvPicPr>
          <p:blipFill>
            <a:blip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1560784" y="4522217"/>
              <a:ext cx="432000" cy="432000"/>
            </a:xfrm>
            <a:prstGeom prst="rect">
              <a:avLst/>
            </a:prstGeom>
          </p:spPr>
        </p:pic>
        <p:pic>
          <p:nvPicPr>
            <p:cNvPr id="91" name="Grafik 90">
              <a:extLst>
                <a:ext uri="{FF2B5EF4-FFF2-40B4-BE49-F238E27FC236}">
                  <a16:creationId xmlns:a16="http://schemas.microsoft.com/office/drawing/2014/main" id="{2C860D98-11D2-311C-19A1-88365CF377F5}"/>
                </a:ext>
              </a:extLst>
            </p:cNvPr>
            <p:cNvPicPr>
              <a:picLocks noChangeAspect="1"/>
            </p:cNvPicPr>
            <p:nvPr/>
          </p:nvPicPr>
          <p:blipFill>
            <a:blip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2459038" y="4585137"/>
              <a:ext cx="432000" cy="432000"/>
            </a:xfrm>
            <a:prstGeom prst="rect">
              <a:avLst/>
            </a:prstGeom>
          </p:spPr>
        </p:pic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9CD25C02-D944-BFCF-F97A-FB25F2E6C75D}"/>
              </a:ext>
            </a:extLst>
          </p:cNvPr>
          <p:cNvGrpSpPr/>
          <p:nvPr/>
        </p:nvGrpSpPr>
        <p:grpSpPr>
          <a:xfrm>
            <a:off x="888812" y="3246450"/>
            <a:ext cx="1522801" cy="811572"/>
            <a:chOff x="747710" y="3185084"/>
            <a:chExt cx="1434557" cy="764543"/>
          </a:xfrm>
        </p:grpSpPr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08787FCB-814F-C6C7-2258-47A22F198357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1408121" y="3681012"/>
              <a:ext cx="171707" cy="171707"/>
            </a:xfrm>
            <a:custGeom>
              <a:avLst/>
              <a:gdLst>
                <a:gd name="csX0" fmla="*/ 85854 w 171707"/>
                <a:gd name="csY0" fmla="*/ 0 h 171707"/>
                <a:gd name="csX1" fmla="*/ 0 w 171707"/>
                <a:gd name="csY1" fmla="*/ 85854 h 171707"/>
                <a:gd name="csX2" fmla="*/ 85854 w 171707"/>
                <a:gd name="csY2" fmla="*/ 171707 h 171707"/>
                <a:gd name="csX3" fmla="*/ 171707 w 171707"/>
                <a:gd name="csY3" fmla="*/ 85854 h 171707"/>
                <a:gd name="csX4" fmla="*/ 85854 w 171707"/>
                <a:gd name="csY4" fmla="*/ 0 h 171707"/>
                <a:gd name="csX5" fmla="*/ 91986 w 171707"/>
                <a:gd name="csY5" fmla="*/ 91986 h 171707"/>
                <a:gd name="csX6" fmla="*/ 120134 w 171707"/>
                <a:gd name="csY6" fmla="*/ 91986 h 171707"/>
                <a:gd name="csX7" fmla="*/ 91986 w 171707"/>
                <a:gd name="csY7" fmla="*/ 147852 h 171707"/>
                <a:gd name="csX8" fmla="*/ 91986 w 171707"/>
                <a:gd name="csY8" fmla="*/ 79721 h 171707"/>
                <a:gd name="csX9" fmla="*/ 91986 w 171707"/>
                <a:gd name="csY9" fmla="*/ 23794 h 171707"/>
                <a:gd name="csX10" fmla="*/ 120134 w 171707"/>
                <a:gd name="csY10" fmla="*/ 79721 h 171707"/>
                <a:gd name="csX11" fmla="*/ 79721 w 171707"/>
                <a:gd name="csY11" fmla="*/ 79721 h 171707"/>
                <a:gd name="csX12" fmla="*/ 52493 w 171707"/>
                <a:gd name="csY12" fmla="*/ 79721 h 171707"/>
                <a:gd name="csX13" fmla="*/ 79721 w 171707"/>
                <a:gd name="csY13" fmla="*/ 24530 h 171707"/>
                <a:gd name="csX14" fmla="*/ 79721 w 171707"/>
                <a:gd name="csY14" fmla="*/ 91986 h 171707"/>
                <a:gd name="csX15" fmla="*/ 79721 w 171707"/>
                <a:gd name="csY15" fmla="*/ 147178 h 171707"/>
                <a:gd name="csX16" fmla="*/ 52493 w 171707"/>
                <a:gd name="csY16" fmla="*/ 91986 h 171707"/>
                <a:gd name="csX17" fmla="*/ 40167 w 171707"/>
                <a:gd name="csY17" fmla="*/ 79721 h 171707"/>
                <a:gd name="csX18" fmla="*/ 13921 w 171707"/>
                <a:gd name="csY18" fmla="*/ 79721 h 171707"/>
                <a:gd name="csX19" fmla="*/ 71994 w 171707"/>
                <a:gd name="csY19" fmla="*/ 15024 h 171707"/>
                <a:gd name="csX20" fmla="*/ 40167 w 171707"/>
                <a:gd name="csY20" fmla="*/ 79721 h 171707"/>
                <a:gd name="csX21" fmla="*/ 40167 w 171707"/>
                <a:gd name="csY21" fmla="*/ 91986 h 171707"/>
                <a:gd name="csX22" fmla="*/ 72117 w 171707"/>
                <a:gd name="csY22" fmla="*/ 156744 h 171707"/>
                <a:gd name="csX23" fmla="*/ 13921 w 171707"/>
                <a:gd name="csY23" fmla="*/ 91986 h 171707"/>
                <a:gd name="csX24" fmla="*/ 132460 w 171707"/>
                <a:gd name="csY24" fmla="*/ 91986 h 171707"/>
                <a:gd name="csX25" fmla="*/ 157787 w 171707"/>
                <a:gd name="csY25" fmla="*/ 91986 h 171707"/>
                <a:gd name="csX26" fmla="*/ 100694 w 171707"/>
                <a:gd name="csY26" fmla="*/ 156499 h 171707"/>
                <a:gd name="csX27" fmla="*/ 132460 w 171707"/>
                <a:gd name="csY27" fmla="*/ 91986 h 171707"/>
                <a:gd name="csX28" fmla="*/ 132460 w 171707"/>
                <a:gd name="csY28" fmla="*/ 79721 h 171707"/>
                <a:gd name="csX29" fmla="*/ 100878 w 171707"/>
                <a:gd name="csY29" fmla="*/ 15270 h 171707"/>
                <a:gd name="csX30" fmla="*/ 157787 w 171707"/>
                <a:gd name="csY30" fmla="*/ 79721 h 17170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</a:cxnLst>
              <a:rect l="l" t="t" r="r" b="b"/>
              <a:pathLst>
                <a:path w="171707" h="171707">
                  <a:moveTo>
                    <a:pt x="85854" y="0"/>
                  </a:moveTo>
                  <a:cubicBezTo>
                    <a:pt x="38438" y="0"/>
                    <a:pt x="0" y="38438"/>
                    <a:pt x="0" y="85854"/>
                  </a:cubicBezTo>
                  <a:cubicBezTo>
                    <a:pt x="0" y="133269"/>
                    <a:pt x="38438" y="171707"/>
                    <a:pt x="85854" y="171707"/>
                  </a:cubicBezTo>
                  <a:cubicBezTo>
                    <a:pt x="133269" y="171707"/>
                    <a:pt x="171707" y="133269"/>
                    <a:pt x="171707" y="85854"/>
                  </a:cubicBezTo>
                  <a:cubicBezTo>
                    <a:pt x="171707" y="38438"/>
                    <a:pt x="133269" y="0"/>
                    <a:pt x="85854" y="0"/>
                  </a:cubicBezTo>
                  <a:close/>
                  <a:moveTo>
                    <a:pt x="91986" y="91986"/>
                  </a:moveTo>
                  <a:lnTo>
                    <a:pt x="120134" y="91986"/>
                  </a:lnTo>
                  <a:cubicBezTo>
                    <a:pt x="116928" y="113127"/>
                    <a:pt x="107069" y="132696"/>
                    <a:pt x="91986" y="147852"/>
                  </a:cubicBezTo>
                  <a:close/>
                  <a:moveTo>
                    <a:pt x="91986" y="79721"/>
                  </a:moveTo>
                  <a:lnTo>
                    <a:pt x="91986" y="23794"/>
                  </a:lnTo>
                  <a:cubicBezTo>
                    <a:pt x="107084" y="38964"/>
                    <a:pt x="116945" y="58557"/>
                    <a:pt x="120134" y="79721"/>
                  </a:cubicBezTo>
                  <a:close/>
                  <a:moveTo>
                    <a:pt x="79721" y="79721"/>
                  </a:moveTo>
                  <a:lnTo>
                    <a:pt x="52493" y="79721"/>
                  </a:lnTo>
                  <a:cubicBezTo>
                    <a:pt x="55543" y="58919"/>
                    <a:pt x="65070" y="39608"/>
                    <a:pt x="79721" y="24530"/>
                  </a:cubicBezTo>
                  <a:close/>
                  <a:moveTo>
                    <a:pt x="79721" y="91986"/>
                  </a:moveTo>
                  <a:lnTo>
                    <a:pt x="79721" y="147178"/>
                  </a:lnTo>
                  <a:cubicBezTo>
                    <a:pt x="65098" y="132080"/>
                    <a:pt x="55575" y="112778"/>
                    <a:pt x="52493" y="91986"/>
                  </a:cubicBezTo>
                  <a:close/>
                  <a:moveTo>
                    <a:pt x="40167" y="79721"/>
                  </a:moveTo>
                  <a:lnTo>
                    <a:pt x="13921" y="79721"/>
                  </a:lnTo>
                  <a:cubicBezTo>
                    <a:pt x="16643" y="47600"/>
                    <a:pt x="40352" y="21187"/>
                    <a:pt x="71994" y="15024"/>
                  </a:cubicBezTo>
                  <a:cubicBezTo>
                    <a:pt x="54512" y="32469"/>
                    <a:pt x="43317" y="55225"/>
                    <a:pt x="40167" y="79721"/>
                  </a:cubicBezTo>
                  <a:close/>
                  <a:moveTo>
                    <a:pt x="40167" y="91986"/>
                  </a:moveTo>
                  <a:cubicBezTo>
                    <a:pt x="43320" y="116524"/>
                    <a:pt x="54562" y="139311"/>
                    <a:pt x="72117" y="156744"/>
                  </a:cubicBezTo>
                  <a:cubicBezTo>
                    <a:pt x="40428" y="150586"/>
                    <a:pt x="16671" y="124150"/>
                    <a:pt x="13921" y="91986"/>
                  </a:cubicBezTo>
                  <a:close/>
                  <a:moveTo>
                    <a:pt x="132460" y="91986"/>
                  </a:moveTo>
                  <a:lnTo>
                    <a:pt x="157787" y="91986"/>
                  </a:lnTo>
                  <a:cubicBezTo>
                    <a:pt x="155101" y="123743"/>
                    <a:pt x="131889" y="149972"/>
                    <a:pt x="100694" y="156499"/>
                  </a:cubicBezTo>
                  <a:cubicBezTo>
                    <a:pt x="118167" y="139129"/>
                    <a:pt x="129346" y="116426"/>
                    <a:pt x="132460" y="91986"/>
                  </a:cubicBezTo>
                  <a:close/>
                  <a:moveTo>
                    <a:pt x="132460" y="79721"/>
                  </a:moveTo>
                  <a:cubicBezTo>
                    <a:pt x="129321" y="55345"/>
                    <a:pt x="118218" y="32688"/>
                    <a:pt x="100878" y="15270"/>
                  </a:cubicBezTo>
                  <a:cubicBezTo>
                    <a:pt x="131981" y="21861"/>
                    <a:pt x="155097" y="48042"/>
                    <a:pt x="157787" y="79721"/>
                  </a:cubicBezTo>
                  <a:close/>
                </a:path>
              </a:pathLst>
            </a:custGeom>
            <a:solidFill>
              <a:schemeClr val="accent1"/>
            </a:solidFill>
            <a:ln w="14795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27267274-B5E3-4AE6-186E-AC8EF7609211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1293410" y="3625627"/>
              <a:ext cx="431991" cy="324000"/>
            </a:xfrm>
            <a:custGeom>
              <a:avLst/>
              <a:gdLst>
                <a:gd name="csX0" fmla="*/ 48482 w 431991"/>
                <a:gd name="csY0" fmla="*/ 323994 h 324000"/>
                <a:gd name="csX1" fmla="*/ 4094 w 431991"/>
                <a:gd name="csY1" fmla="*/ 286482 h 324000"/>
                <a:gd name="csX2" fmla="*/ 116 w 431991"/>
                <a:gd name="csY2" fmla="*/ 262452 h 324000"/>
                <a:gd name="csX3" fmla="*/ 2132 w 431991"/>
                <a:gd name="csY3" fmla="*/ 255162 h 324000"/>
                <a:gd name="csX4" fmla="*/ 8990 w 431991"/>
                <a:gd name="csY4" fmla="*/ 251994 h 324000"/>
                <a:gd name="csX5" fmla="*/ 17990 w 431991"/>
                <a:gd name="csY5" fmla="*/ 251994 h 324000"/>
                <a:gd name="csX6" fmla="*/ 17990 w 431991"/>
                <a:gd name="csY6" fmla="*/ 26994 h 324000"/>
                <a:gd name="csX7" fmla="*/ 44990 w 431991"/>
                <a:gd name="csY7" fmla="*/ -6 h 324000"/>
                <a:gd name="csX8" fmla="*/ 386990 w 431991"/>
                <a:gd name="csY8" fmla="*/ -6 h 324000"/>
                <a:gd name="csX9" fmla="*/ 413990 w 431991"/>
                <a:gd name="csY9" fmla="*/ 26994 h 324000"/>
                <a:gd name="csX10" fmla="*/ 413990 w 431991"/>
                <a:gd name="csY10" fmla="*/ 251994 h 324000"/>
                <a:gd name="csX11" fmla="*/ 422990 w 431991"/>
                <a:gd name="csY11" fmla="*/ 251994 h 324000"/>
                <a:gd name="csX12" fmla="*/ 429866 w 431991"/>
                <a:gd name="csY12" fmla="*/ 255180 h 324000"/>
                <a:gd name="csX13" fmla="*/ 431864 w 431991"/>
                <a:gd name="csY13" fmla="*/ 262470 h 324000"/>
                <a:gd name="csX14" fmla="*/ 427886 w 431991"/>
                <a:gd name="csY14" fmla="*/ 286392 h 324000"/>
                <a:gd name="csX15" fmla="*/ 383498 w 431991"/>
                <a:gd name="csY15" fmla="*/ 323994 h 324000"/>
                <a:gd name="csX16" fmla="*/ 48482 w 431991"/>
                <a:gd name="csY16" fmla="*/ 323994 h 324000"/>
                <a:gd name="csX17" fmla="*/ 21842 w 431991"/>
                <a:gd name="csY17" fmla="*/ 283512 h 324000"/>
                <a:gd name="csX18" fmla="*/ 48464 w 431991"/>
                <a:gd name="csY18" fmla="*/ 305994 h 324000"/>
                <a:gd name="csX19" fmla="*/ 383498 w 431991"/>
                <a:gd name="csY19" fmla="*/ 305994 h 324000"/>
                <a:gd name="csX20" fmla="*/ 410138 w 431991"/>
                <a:gd name="csY20" fmla="*/ 283440 h 324000"/>
                <a:gd name="csX21" fmla="*/ 412370 w 431991"/>
                <a:gd name="csY21" fmla="*/ 269994 h 324000"/>
                <a:gd name="csX22" fmla="*/ 19592 w 431991"/>
                <a:gd name="csY22" fmla="*/ 269994 h 324000"/>
                <a:gd name="csX23" fmla="*/ 21842 w 431991"/>
                <a:gd name="csY23" fmla="*/ 283512 h 324000"/>
                <a:gd name="csX24" fmla="*/ 395990 w 431991"/>
                <a:gd name="csY24" fmla="*/ 251994 h 324000"/>
                <a:gd name="csX25" fmla="*/ 395990 w 431991"/>
                <a:gd name="csY25" fmla="*/ 26994 h 324000"/>
                <a:gd name="csX26" fmla="*/ 386990 w 431991"/>
                <a:gd name="csY26" fmla="*/ 17994 h 324000"/>
                <a:gd name="csX27" fmla="*/ 44990 w 431991"/>
                <a:gd name="csY27" fmla="*/ 17994 h 324000"/>
                <a:gd name="csX28" fmla="*/ 35990 w 431991"/>
                <a:gd name="csY28" fmla="*/ 26994 h 324000"/>
                <a:gd name="csX29" fmla="*/ 35990 w 431991"/>
                <a:gd name="csY29" fmla="*/ 251994 h 324000"/>
                <a:gd name="csX30" fmla="*/ 395990 w 431991"/>
                <a:gd name="csY30" fmla="*/ 251994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</a:cxnLst>
              <a:rect l="l" t="t" r="r" b="b"/>
              <a:pathLst>
                <a:path w="431991" h="324000">
                  <a:moveTo>
                    <a:pt x="48482" y="323994"/>
                  </a:moveTo>
                  <a:cubicBezTo>
                    <a:pt x="26432" y="323994"/>
                    <a:pt x="7766" y="308226"/>
                    <a:pt x="4094" y="286482"/>
                  </a:cubicBezTo>
                  <a:lnTo>
                    <a:pt x="116" y="262452"/>
                  </a:lnTo>
                  <a:cubicBezTo>
                    <a:pt x="-316" y="259842"/>
                    <a:pt x="404" y="257178"/>
                    <a:pt x="2132" y="255162"/>
                  </a:cubicBezTo>
                  <a:cubicBezTo>
                    <a:pt x="3824" y="253146"/>
                    <a:pt x="6326" y="251994"/>
                    <a:pt x="8990" y="251994"/>
                  </a:cubicBezTo>
                  <a:lnTo>
                    <a:pt x="17990" y="251994"/>
                  </a:lnTo>
                  <a:lnTo>
                    <a:pt x="17990" y="26994"/>
                  </a:lnTo>
                  <a:cubicBezTo>
                    <a:pt x="17990" y="12108"/>
                    <a:pt x="30104" y="-6"/>
                    <a:pt x="44990" y="-6"/>
                  </a:cubicBezTo>
                  <a:lnTo>
                    <a:pt x="386990" y="-6"/>
                  </a:lnTo>
                  <a:cubicBezTo>
                    <a:pt x="401876" y="-6"/>
                    <a:pt x="413990" y="12108"/>
                    <a:pt x="413990" y="26994"/>
                  </a:cubicBezTo>
                  <a:lnTo>
                    <a:pt x="413990" y="251994"/>
                  </a:lnTo>
                  <a:lnTo>
                    <a:pt x="422990" y="251994"/>
                  </a:lnTo>
                  <a:cubicBezTo>
                    <a:pt x="425654" y="251994"/>
                    <a:pt x="428156" y="253164"/>
                    <a:pt x="429866" y="255180"/>
                  </a:cubicBezTo>
                  <a:cubicBezTo>
                    <a:pt x="431558" y="257196"/>
                    <a:pt x="432296" y="259842"/>
                    <a:pt x="431864" y="262470"/>
                  </a:cubicBezTo>
                  <a:lnTo>
                    <a:pt x="427886" y="286392"/>
                  </a:lnTo>
                  <a:cubicBezTo>
                    <a:pt x="424250" y="308190"/>
                    <a:pt x="405584" y="323994"/>
                    <a:pt x="383498" y="323994"/>
                  </a:cubicBezTo>
                  <a:lnTo>
                    <a:pt x="48482" y="323994"/>
                  </a:lnTo>
                  <a:close/>
                  <a:moveTo>
                    <a:pt x="21842" y="283512"/>
                  </a:moveTo>
                  <a:cubicBezTo>
                    <a:pt x="24038" y="296544"/>
                    <a:pt x="35234" y="305994"/>
                    <a:pt x="48464" y="305994"/>
                  </a:cubicBezTo>
                  <a:lnTo>
                    <a:pt x="383498" y="305994"/>
                  </a:lnTo>
                  <a:cubicBezTo>
                    <a:pt x="396746" y="305994"/>
                    <a:pt x="407960" y="296508"/>
                    <a:pt x="410138" y="283440"/>
                  </a:cubicBezTo>
                  <a:lnTo>
                    <a:pt x="412370" y="269994"/>
                  </a:lnTo>
                  <a:lnTo>
                    <a:pt x="19592" y="269994"/>
                  </a:lnTo>
                  <a:lnTo>
                    <a:pt x="21842" y="283512"/>
                  </a:lnTo>
                  <a:close/>
                  <a:moveTo>
                    <a:pt x="395990" y="251994"/>
                  </a:moveTo>
                  <a:lnTo>
                    <a:pt x="395990" y="26994"/>
                  </a:lnTo>
                  <a:cubicBezTo>
                    <a:pt x="395990" y="22026"/>
                    <a:pt x="391940" y="17994"/>
                    <a:pt x="386990" y="17994"/>
                  </a:cubicBezTo>
                  <a:lnTo>
                    <a:pt x="44990" y="17994"/>
                  </a:lnTo>
                  <a:cubicBezTo>
                    <a:pt x="40022" y="17994"/>
                    <a:pt x="35990" y="22026"/>
                    <a:pt x="35990" y="26994"/>
                  </a:cubicBezTo>
                  <a:lnTo>
                    <a:pt x="35990" y="251994"/>
                  </a:lnTo>
                  <a:lnTo>
                    <a:pt x="395990" y="251994"/>
                  </a:lnTo>
                  <a:close/>
                </a:path>
              </a:pathLst>
            </a:custGeom>
            <a:solidFill>
              <a:schemeClr val="accent1"/>
            </a:solidFill>
            <a:ln w="17860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pic>
          <p:nvPicPr>
            <p:cNvPr id="92" name="Grafik 91" descr="Verbindungen Silhouette">
              <a:extLst>
                <a:ext uri="{FF2B5EF4-FFF2-40B4-BE49-F238E27FC236}">
                  <a16:creationId xmlns:a16="http://schemas.microsoft.com/office/drawing/2014/main" id="{29FB41EB-9419-2DFF-AF2E-A17731A0003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747710" y="3185084"/>
              <a:ext cx="657839" cy="657839"/>
            </a:xfrm>
            <a:prstGeom prst="rect">
              <a:avLst/>
            </a:prstGeom>
          </p:spPr>
        </p:pic>
        <p:pic>
          <p:nvPicPr>
            <p:cNvPr id="93" name="Grafik 92">
              <a:extLst>
                <a:ext uri="{FF2B5EF4-FFF2-40B4-BE49-F238E27FC236}">
                  <a16:creationId xmlns:a16="http://schemas.microsoft.com/office/drawing/2014/main" id="{99D684C4-D417-59B7-6D5B-3A32B416EC6E}"/>
                </a:ext>
              </a:extLst>
            </p:cNvPr>
            <p:cNvPicPr>
              <a:picLocks noChangeAspect="1"/>
            </p:cNvPicPr>
            <p:nvPr/>
          </p:nvPicPr>
          <p:blipFill>
            <a:blip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5"/>
                </a:ext>
              </a:extLst>
            </a:blip>
            <a:stretch>
              <a:fillRect/>
            </a:stretch>
          </p:blipFill>
          <p:spPr>
            <a:xfrm>
              <a:off x="1750267" y="3274539"/>
              <a:ext cx="432000" cy="432000"/>
            </a:xfrm>
            <a:prstGeom prst="rect">
              <a:avLst/>
            </a:prstGeom>
          </p:spPr>
        </p:pic>
      </p:grpSp>
      <p:sp>
        <p:nvSpPr>
          <p:cNvPr id="104" name="Rechteck 103">
            <a:extLst>
              <a:ext uri="{FF2B5EF4-FFF2-40B4-BE49-F238E27FC236}">
                <a16:creationId xmlns:a16="http://schemas.microsoft.com/office/drawing/2014/main" id="{CF37BA9F-492A-5D39-738D-3757103F894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247354" y="1757552"/>
            <a:ext cx="4437326" cy="81560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marL="0" lvl="1">
              <a:spcAft>
                <a:spcPts val="600"/>
              </a:spcAft>
              <a:tabLst>
                <a:tab pos="5557838" algn="l"/>
              </a:tabLst>
            </a:pPr>
            <a:r>
              <a:rPr lang="de-DE" sz="1200" dirty="0">
                <a:solidFill>
                  <a:schemeClr val="tx1"/>
                </a:solidFill>
                <a:latin typeface="+mj-lt"/>
              </a:rPr>
              <a:t>Langfristig Informationssicherheit im Unternehmen:</a:t>
            </a:r>
          </a:p>
          <a:p>
            <a:pPr marL="0" lvl="1">
              <a:tabLst>
                <a:tab pos="5557838" algn="l"/>
              </a:tabLst>
            </a:pPr>
            <a:r>
              <a:rPr lang="de-DE" sz="1200" dirty="0">
                <a:solidFill>
                  <a:schemeClr val="tx1"/>
                </a:solidFill>
              </a:rPr>
              <a:t>Informationssicherheitsmanagementsystem (Strategie, Prozesse, Rollen, Verantwortlichkeiten, Risikoanalysen, Audits, Betrieb, Optimierung)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B8746555-2B74-6652-96A3-410AAC13F1D9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88812" y="3189955"/>
            <a:ext cx="1600388" cy="1118520"/>
          </a:xfrm>
          <a:prstGeom prst="rect">
            <a:avLst/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D52EE1B4-1881-D0F4-09B3-4DE62212434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2751990" y="3189955"/>
            <a:ext cx="1600388" cy="1118520"/>
          </a:xfrm>
          <a:prstGeom prst="rect">
            <a:avLst/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85062573-1F4F-C8A8-751D-9624D1E959AD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2800060" y="4068179"/>
            <a:ext cx="1493482" cy="184666"/>
          </a:xfrm>
          <a:prstGeom prst="rect">
            <a:avLst/>
          </a:prstGeom>
          <a:noFill/>
          <a:ln>
            <a:noFill/>
          </a:ln>
        </p:spPr>
        <p:txBody>
          <a:bodyPr wrap="none" lIns="36000" tIns="0" rIns="0" bIns="0" rtlCol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r>
              <a:rPr lang="de-DE" sz="1200" dirty="0"/>
              <a:t>Produktionsstätten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483095B1-2BC6-82D0-961A-6AC83DFBC745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1324378" y="4068179"/>
            <a:ext cx="683965" cy="184666"/>
          </a:xfrm>
          <a:prstGeom prst="rect">
            <a:avLst/>
          </a:prstGeom>
          <a:noFill/>
          <a:ln>
            <a:noFill/>
          </a:ln>
        </p:spPr>
        <p:txBody>
          <a:bodyPr wrap="none" lIns="36000" tIns="0" rIns="0" bIns="0" rtlCol="0" anchor="ctr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ffice IT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FB82C6-1AD5-CCCD-1EB2-21F1D370235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88812" y="4591050"/>
            <a:ext cx="3467288" cy="1118520"/>
          </a:xfrm>
          <a:prstGeom prst="rect">
            <a:avLst/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F2426D38-CD75-B428-8D26-C38EF3C9966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247354" y="2723415"/>
            <a:ext cx="1701920" cy="3016014"/>
          </a:xfrm>
          <a:prstGeom prst="rect">
            <a:avLst/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F581839D-787E-CD9D-1249-63534F1A20A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5194196" y="2672718"/>
            <a:ext cx="1785228" cy="184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36000" tIns="0" rIns="0" bIns="0" rtlCol="0" anchor="ctr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1C1F21"/>
                </a:solidFill>
                <a:effectLst/>
                <a:uLnTx/>
                <a:uFillTx/>
                <a:latin typeface="Axiforma for Sec Black" pitchFamily="2" charset="0"/>
                <a:ea typeface="+mn-ea"/>
                <a:cs typeface="+mn-cs"/>
              </a:rPr>
              <a:t>Herzstück eines ISMS </a:t>
            </a:r>
          </a:p>
        </p:txBody>
      </p:sp>
      <p:pic>
        <p:nvPicPr>
          <p:cNvPr id="111" name="Grafik 110">
            <a:extLst>
              <a:ext uri="{FF2B5EF4-FFF2-40B4-BE49-F238E27FC236}">
                <a16:creationId xmlns:a16="http://schemas.microsoft.com/office/drawing/2014/main" id="{2229FEC6-1D38-62FE-5865-ED72C62AE24B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9801334" y="1771695"/>
            <a:ext cx="866666" cy="866666"/>
          </a:xfrm>
          <a:prstGeom prst="rect">
            <a:avLst/>
          </a:prstGeom>
        </p:spPr>
      </p:pic>
      <p:sp>
        <p:nvSpPr>
          <p:cNvPr id="116" name="Textfeld 115">
            <a:extLst>
              <a:ext uri="{FF2B5EF4-FFF2-40B4-BE49-F238E27FC236}">
                <a16:creationId xmlns:a16="http://schemas.microsoft.com/office/drawing/2014/main" id="{51ECC005-A9D3-A823-726A-72725D16C93F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5338749" y="3736521"/>
            <a:ext cx="1519130" cy="184666"/>
          </a:xfrm>
          <a:prstGeom prst="rect">
            <a:avLst/>
          </a:prstGeom>
          <a:noFill/>
          <a:ln>
            <a:noFill/>
          </a:ln>
        </p:spPr>
        <p:txBody>
          <a:bodyPr wrap="none" lIns="36000" tIns="0" rIns="0" bIns="0" rtlCol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r>
              <a:rPr lang="de-DE" sz="1200" dirty="0"/>
              <a:t>Risikomanagement</a:t>
            </a:r>
          </a:p>
        </p:txBody>
      </p:sp>
      <p:pic>
        <p:nvPicPr>
          <p:cNvPr id="117" name="Grafik 116">
            <a:extLst>
              <a:ext uri="{FF2B5EF4-FFF2-40B4-BE49-F238E27FC236}">
                <a16:creationId xmlns:a16="http://schemas.microsoft.com/office/drawing/2014/main" id="{9A771CE9-34B4-54F5-5902-E9CCB57BAEB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6170730" y="4713878"/>
            <a:ext cx="686449" cy="686449"/>
          </a:xfrm>
          <a:prstGeom prst="rect">
            <a:avLst/>
          </a:prstGeom>
        </p:spPr>
      </p:pic>
      <p:sp>
        <p:nvSpPr>
          <p:cNvPr id="119" name="Textfeld 118">
            <a:extLst>
              <a:ext uri="{FF2B5EF4-FFF2-40B4-BE49-F238E27FC236}">
                <a16:creationId xmlns:a16="http://schemas.microsoft.com/office/drawing/2014/main" id="{C1F56BBC-3301-B3B2-C0F9-F218C6FFD1CD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5444547" y="5489569"/>
            <a:ext cx="1307532" cy="184666"/>
          </a:xfrm>
          <a:prstGeom prst="rect">
            <a:avLst/>
          </a:prstGeom>
          <a:noFill/>
          <a:ln>
            <a:noFill/>
          </a:ln>
        </p:spPr>
        <p:txBody>
          <a:bodyPr wrap="none" lIns="36000" tIns="0" rIns="0" bIns="0" rtlCol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r>
              <a:rPr lang="de-DE" sz="1200" dirty="0">
                <a:solidFill>
                  <a:srgbClr val="000000"/>
                </a:solidFill>
              </a:rPr>
              <a:t>Audit &amp; Analysen</a:t>
            </a:r>
            <a:endParaRPr lang="de-DE" sz="1200" dirty="0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C2B971BA-7DF7-32CC-F13A-198D10ECC8D9}"/>
              </a:ext>
            </a:extLst>
          </p:cNvPr>
          <p:cNvGrpSpPr/>
          <p:nvPr/>
        </p:nvGrpSpPr>
        <p:grpSpPr>
          <a:xfrm>
            <a:off x="5332912" y="4906812"/>
            <a:ext cx="751895" cy="348554"/>
            <a:chOff x="5152365" y="4589450"/>
            <a:chExt cx="1051424" cy="487406"/>
          </a:xfrm>
        </p:grpSpPr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1C1A4B8D-8BD0-1E4D-0915-D3BFEC9909A7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5456382" y="4589450"/>
              <a:ext cx="462833" cy="411184"/>
            </a:xfrm>
            <a:custGeom>
              <a:avLst/>
              <a:gdLst>
                <a:gd name="csX0" fmla="*/ 298463 w 307481"/>
                <a:gd name="csY0" fmla="*/ 273168 h 273168"/>
                <a:gd name="csX1" fmla="*/ 293963 w 307481"/>
                <a:gd name="csY1" fmla="*/ 271944 h 273168"/>
                <a:gd name="csX2" fmla="*/ 198437 w 307481"/>
                <a:gd name="csY2" fmla="*/ 230436 h 273168"/>
                <a:gd name="csX3" fmla="*/ 180851 w 307481"/>
                <a:gd name="csY3" fmla="*/ 207720 h 273168"/>
                <a:gd name="csX4" fmla="*/ 188483 w 307481"/>
                <a:gd name="csY4" fmla="*/ 163764 h 273168"/>
                <a:gd name="csX5" fmla="*/ 214943 w 307481"/>
                <a:gd name="csY5" fmla="*/ 84042 h 273168"/>
                <a:gd name="csX6" fmla="*/ 215213 w 307481"/>
                <a:gd name="csY6" fmla="*/ 75978 h 273168"/>
                <a:gd name="csX7" fmla="*/ 155471 w 307481"/>
                <a:gd name="csY7" fmla="*/ 18000 h 273168"/>
                <a:gd name="csX8" fmla="*/ 153977 w 307481"/>
                <a:gd name="csY8" fmla="*/ 18018 h 273168"/>
                <a:gd name="csX9" fmla="*/ 151997 w 307481"/>
                <a:gd name="csY9" fmla="*/ 18000 h 273168"/>
                <a:gd name="csX10" fmla="*/ 146291 w 307481"/>
                <a:gd name="csY10" fmla="*/ 18252 h 273168"/>
                <a:gd name="csX11" fmla="*/ 92489 w 307481"/>
                <a:gd name="csY11" fmla="*/ 83196 h 273168"/>
                <a:gd name="csX12" fmla="*/ 118985 w 307481"/>
                <a:gd name="csY12" fmla="*/ 163746 h 273168"/>
                <a:gd name="csX13" fmla="*/ 126617 w 307481"/>
                <a:gd name="csY13" fmla="*/ 207720 h 273168"/>
                <a:gd name="csX14" fmla="*/ 109535 w 307481"/>
                <a:gd name="csY14" fmla="*/ 230274 h 273168"/>
                <a:gd name="csX15" fmla="*/ 13505 w 307481"/>
                <a:gd name="csY15" fmla="*/ 271962 h 273168"/>
                <a:gd name="csX16" fmla="*/ 9005 w 307481"/>
                <a:gd name="csY16" fmla="*/ 273168 h 273168"/>
                <a:gd name="csX17" fmla="*/ 1211 w 307481"/>
                <a:gd name="csY17" fmla="*/ 268686 h 273168"/>
                <a:gd name="csX18" fmla="*/ 4487 w 307481"/>
                <a:gd name="csY18" fmla="*/ 256374 h 273168"/>
                <a:gd name="csX19" fmla="*/ 103829 w 307481"/>
                <a:gd name="csY19" fmla="*/ 213210 h 273168"/>
                <a:gd name="csX20" fmla="*/ 109157 w 307481"/>
                <a:gd name="csY20" fmla="*/ 203436 h 273168"/>
                <a:gd name="csX21" fmla="*/ 105683 w 307481"/>
                <a:gd name="csY21" fmla="*/ 175842 h 273168"/>
                <a:gd name="csX22" fmla="*/ 74525 w 307481"/>
                <a:gd name="csY22" fmla="*/ 84042 h 273168"/>
                <a:gd name="csX23" fmla="*/ 92093 w 307481"/>
                <a:gd name="csY23" fmla="*/ 28080 h 273168"/>
                <a:gd name="csX24" fmla="*/ 144581 w 307481"/>
                <a:gd name="csY24" fmla="*/ 342 h 273168"/>
                <a:gd name="csX25" fmla="*/ 151871 w 307481"/>
                <a:gd name="csY25" fmla="*/ 0 h 273168"/>
                <a:gd name="csX26" fmla="*/ 153977 w 307481"/>
                <a:gd name="csY26" fmla="*/ 36 h 273168"/>
                <a:gd name="csX27" fmla="*/ 156011 w 307481"/>
                <a:gd name="csY27" fmla="*/ 0 h 273168"/>
                <a:gd name="csX28" fmla="*/ 233213 w 307481"/>
                <a:gd name="csY28" fmla="*/ 75492 h 273168"/>
                <a:gd name="csX29" fmla="*/ 232907 w 307481"/>
                <a:gd name="csY29" fmla="*/ 84870 h 273168"/>
                <a:gd name="csX30" fmla="*/ 201803 w 307481"/>
                <a:gd name="csY30" fmla="*/ 175860 h 273168"/>
                <a:gd name="csX31" fmla="*/ 198347 w 307481"/>
                <a:gd name="csY31" fmla="*/ 203436 h 273168"/>
                <a:gd name="csX32" fmla="*/ 204179 w 307481"/>
                <a:gd name="csY32" fmla="*/ 213372 h 273168"/>
                <a:gd name="csX33" fmla="*/ 302999 w 307481"/>
                <a:gd name="csY33" fmla="*/ 256356 h 273168"/>
                <a:gd name="csX34" fmla="*/ 306275 w 307481"/>
                <a:gd name="csY34" fmla="*/ 268650 h 273168"/>
                <a:gd name="csX35" fmla="*/ 298463 w 307481"/>
                <a:gd name="csY35" fmla="*/ 273168 h 273168"/>
                <a:gd name="csX36" fmla="*/ 298463 w 307481"/>
                <a:gd name="csY36" fmla="*/ 273168 h 27316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</a:cxnLst>
              <a:rect l="l" t="t" r="r" b="b"/>
              <a:pathLst>
                <a:path w="307481" h="273168">
                  <a:moveTo>
                    <a:pt x="298463" y="273168"/>
                  </a:moveTo>
                  <a:cubicBezTo>
                    <a:pt x="296879" y="273168"/>
                    <a:pt x="295313" y="272754"/>
                    <a:pt x="293963" y="271944"/>
                  </a:cubicBezTo>
                  <a:cubicBezTo>
                    <a:pt x="263849" y="254484"/>
                    <a:pt x="231719" y="240534"/>
                    <a:pt x="198437" y="230436"/>
                  </a:cubicBezTo>
                  <a:cubicBezTo>
                    <a:pt x="189815" y="227268"/>
                    <a:pt x="183659" y="219222"/>
                    <a:pt x="180851" y="207720"/>
                  </a:cubicBezTo>
                  <a:cubicBezTo>
                    <a:pt x="177449" y="193788"/>
                    <a:pt x="178979" y="174222"/>
                    <a:pt x="188483" y="163764"/>
                  </a:cubicBezTo>
                  <a:cubicBezTo>
                    <a:pt x="201875" y="149040"/>
                    <a:pt x="214943" y="130752"/>
                    <a:pt x="214943" y="84042"/>
                  </a:cubicBezTo>
                  <a:cubicBezTo>
                    <a:pt x="215195" y="80838"/>
                    <a:pt x="215285" y="78408"/>
                    <a:pt x="215213" y="75978"/>
                  </a:cubicBezTo>
                  <a:cubicBezTo>
                    <a:pt x="214331" y="44010"/>
                    <a:pt x="187529" y="18000"/>
                    <a:pt x="155471" y="18000"/>
                  </a:cubicBezTo>
                  <a:lnTo>
                    <a:pt x="153977" y="18018"/>
                  </a:lnTo>
                  <a:lnTo>
                    <a:pt x="151997" y="18000"/>
                  </a:lnTo>
                  <a:cubicBezTo>
                    <a:pt x="150017" y="18000"/>
                    <a:pt x="148145" y="18090"/>
                    <a:pt x="146291" y="18252"/>
                  </a:cubicBezTo>
                  <a:cubicBezTo>
                    <a:pt x="113531" y="21348"/>
                    <a:pt x="89411" y="50472"/>
                    <a:pt x="92489" y="83196"/>
                  </a:cubicBezTo>
                  <a:cubicBezTo>
                    <a:pt x="92525" y="130716"/>
                    <a:pt x="105593" y="149040"/>
                    <a:pt x="118985" y="163746"/>
                  </a:cubicBezTo>
                  <a:cubicBezTo>
                    <a:pt x="128489" y="174222"/>
                    <a:pt x="130019" y="193788"/>
                    <a:pt x="126617" y="207720"/>
                  </a:cubicBezTo>
                  <a:cubicBezTo>
                    <a:pt x="123809" y="219222"/>
                    <a:pt x="117743" y="227232"/>
                    <a:pt x="109535" y="230274"/>
                  </a:cubicBezTo>
                  <a:cubicBezTo>
                    <a:pt x="75839" y="240498"/>
                    <a:pt x="43601" y="254502"/>
                    <a:pt x="13505" y="271962"/>
                  </a:cubicBezTo>
                  <a:cubicBezTo>
                    <a:pt x="12137" y="272754"/>
                    <a:pt x="10589" y="273168"/>
                    <a:pt x="9005" y="273168"/>
                  </a:cubicBezTo>
                  <a:cubicBezTo>
                    <a:pt x="5801" y="273168"/>
                    <a:pt x="2813" y="271458"/>
                    <a:pt x="1211" y="268686"/>
                  </a:cubicBezTo>
                  <a:cubicBezTo>
                    <a:pt x="-1273" y="264384"/>
                    <a:pt x="185" y="258876"/>
                    <a:pt x="4487" y="256374"/>
                  </a:cubicBezTo>
                  <a:cubicBezTo>
                    <a:pt x="35807" y="238230"/>
                    <a:pt x="69215" y="223704"/>
                    <a:pt x="103829" y="213210"/>
                  </a:cubicBezTo>
                  <a:cubicBezTo>
                    <a:pt x="105251" y="212670"/>
                    <a:pt x="107717" y="209322"/>
                    <a:pt x="109157" y="203436"/>
                  </a:cubicBezTo>
                  <a:cubicBezTo>
                    <a:pt x="111857" y="192402"/>
                    <a:pt x="109499" y="180036"/>
                    <a:pt x="105683" y="175842"/>
                  </a:cubicBezTo>
                  <a:cubicBezTo>
                    <a:pt x="89915" y="158544"/>
                    <a:pt x="74525" y="137196"/>
                    <a:pt x="74525" y="84042"/>
                  </a:cubicBezTo>
                  <a:cubicBezTo>
                    <a:pt x="72617" y="64044"/>
                    <a:pt x="78845" y="44010"/>
                    <a:pt x="92093" y="28080"/>
                  </a:cubicBezTo>
                  <a:cubicBezTo>
                    <a:pt x="105359" y="12132"/>
                    <a:pt x="123989" y="2286"/>
                    <a:pt x="144581" y="342"/>
                  </a:cubicBezTo>
                  <a:cubicBezTo>
                    <a:pt x="146957" y="126"/>
                    <a:pt x="149405" y="0"/>
                    <a:pt x="151871" y="0"/>
                  </a:cubicBezTo>
                  <a:cubicBezTo>
                    <a:pt x="152573" y="0"/>
                    <a:pt x="153275" y="0"/>
                    <a:pt x="153977" y="36"/>
                  </a:cubicBezTo>
                  <a:cubicBezTo>
                    <a:pt x="154499" y="18"/>
                    <a:pt x="155255" y="0"/>
                    <a:pt x="156011" y="0"/>
                  </a:cubicBezTo>
                  <a:cubicBezTo>
                    <a:pt x="197429" y="0"/>
                    <a:pt x="232061" y="33858"/>
                    <a:pt x="233213" y="75492"/>
                  </a:cubicBezTo>
                  <a:cubicBezTo>
                    <a:pt x="233303" y="78606"/>
                    <a:pt x="233195" y="81756"/>
                    <a:pt x="232907" y="84870"/>
                  </a:cubicBezTo>
                  <a:cubicBezTo>
                    <a:pt x="232943" y="137214"/>
                    <a:pt x="217553" y="158544"/>
                    <a:pt x="201803" y="175860"/>
                  </a:cubicBezTo>
                  <a:cubicBezTo>
                    <a:pt x="198005" y="180036"/>
                    <a:pt x="195647" y="192402"/>
                    <a:pt x="198347" y="203436"/>
                  </a:cubicBezTo>
                  <a:cubicBezTo>
                    <a:pt x="199895" y="209754"/>
                    <a:pt x="202451" y="212742"/>
                    <a:pt x="204179" y="213372"/>
                  </a:cubicBezTo>
                  <a:cubicBezTo>
                    <a:pt x="238343" y="223704"/>
                    <a:pt x="271679" y="238194"/>
                    <a:pt x="302999" y="256356"/>
                  </a:cubicBezTo>
                  <a:cubicBezTo>
                    <a:pt x="307283" y="258840"/>
                    <a:pt x="308759" y="264366"/>
                    <a:pt x="306275" y="268650"/>
                  </a:cubicBezTo>
                  <a:cubicBezTo>
                    <a:pt x="304637" y="271458"/>
                    <a:pt x="301649" y="273168"/>
                    <a:pt x="298463" y="273168"/>
                  </a:cubicBezTo>
                  <a:lnTo>
                    <a:pt x="298463" y="273168"/>
                  </a:lnTo>
                  <a:close/>
                </a:path>
              </a:pathLst>
            </a:custGeom>
            <a:solidFill>
              <a:srgbClr val="D70F37"/>
            </a:solidFill>
            <a:ln w="17859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4701AD9A-1F27-1D86-9DED-995EA487ED2A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5740956" y="4652724"/>
              <a:ext cx="462833" cy="411184"/>
            </a:xfrm>
            <a:custGeom>
              <a:avLst/>
              <a:gdLst>
                <a:gd name="csX0" fmla="*/ 298463 w 307481"/>
                <a:gd name="csY0" fmla="*/ 273168 h 273168"/>
                <a:gd name="csX1" fmla="*/ 293963 w 307481"/>
                <a:gd name="csY1" fmla="*/ 271944 h 273168"/>
                <a:gd name="csX2" fmla="*/ 198437 w 307481"/>
                <a:gd name="csY2" fmla="*/ 230436 h 273168"/>
                <a:gd name="csX3" fmla="*/ 180851 w 307481"/>
                <a:gd name="csY3" fmla="*/ 207720 h 273168"/>
                <a:gd name="csX4" fmla="*/ 188483 w 307481"/>
                <a:gd name="csY4" fmla="*/ 163764 h 273168"/>
                <a:gd name="csX5" fmla="*/ 214943 w 307481"/>
                <a:gd name="csY5" fmla="*/ 84042 h 273168"/>
                <a:gd name="csX6" fmla="*/ 215213 w 307481"/>
                <a:gd name="csY6" fmla="*/ 75978 h 273168"/>
                <a:gd name="csX7" fmla="*/ 155471 w 307481"/>
                <a:gd name="csY7" fmla="*/ 18000 h 273168"/>
                <a:gd name="csX8" fmla="*/ 153977 w 307481"/>
                <a:gd name="csY8" fmla="*/ 18018 h 273168"/>
                <a:gd name="csX9" fmla="*/ 151997 w 307481"/>
                <a:gd name="csY9" fmla="*/ 18000 h 273168"/>
                <a:gd name="csX10" fmla="*/ 146291 w 307481"/>
                <a:gd name="csY10" fmla="*/ 18252 h 273168"/>
                <a:gd name="csX11" fmla="*/ 92489 w 307481"/>
                <a:gd name="csY11" fmla="*/ 83196 h 273168"/>
                <a:gd name="csX12" fmla="*/ 118985 w 307481"/>
                <a:gd name="csY12" fmla="*/ 163746 h 273168"/>
                <a:gd name="csX13" fmla="*/ 126617 w 307481"/>
                <a:gd name="csY13" fmla="*/ 207720 h 273168"/>
                <a:gd name="csX14" fmla="*/ 109535 w 307481"/>
                <a:gd name="csY14" fmla="*/ 230274 h 273168"/>
                <a:gd name="csX15" fmla="*/ 13505 w 307481"/>
                <a:gd name="csY15" fmla="*/ 271962 h 273168"/>
                <a:gd name="csX16" fmla="*/ 9005 w 307481"/>
                <a:gd name="csY16" fmla="*/ 273168 h 273168"/>
                <a:gd name="csX17" fmla="*/ 1211 w 307481"/>
                <a:gd name="csY17" fmla="*/ 268686 h 273168"/>
                <a:gd name="csX18" fmla="*/ 4487 w 307481"/>
                <a:gd name="csY18" fmla="*/ 256374 h 273168"/>
                <a:gd name="csX19" fmla="*/ 103829 w 307481"/>
                <a:gd name="csY19" fmla="*/ 213210 h 273168"/>
                <a:gd name="csX20" fmla="*/ 109157 w 307481"/>
                <a:gd name="csY20" fmla="*/ 203436 h 273168"/>
                <a:gd name="csX21" fmla="*/ 105683 w 307481"/>
                <a:gd name="csY21" fmla="*/ 175842 h 273168"/>
                <a:gd name="csX22" fmla="*/ 74525 w 307481"/>
                <a:gd name="csY22" fmla="*/ 84042 h 273168"/>
                <a:gd name="csX23" fmla="*/ 92093 w 307481"/>
                <a:gd name="csY23" fmla="*/ 28080 h 273168"/>
                <a:gd name="csX24" fmla="*/ 144581 w 307481"/>
                <a:gd name="csY24" fmla="*/ 342 h 273168"/>
                <a:gd name="csX25" fmla="*/ 151871 w 307481"/>
                <a:gd name="csY25" fmla="*/ 0 h 273168"/>
                <a:gd name="csX26" fmla="*/ 153977 w 307481"/>
                <a:gd name="csY26" fmla="*/ 36 h 273168"/>
                <a:gd name="csX27" fmla="*/ 156011 w 307481"/>
                <a:gd name="csY27" fmla="*/ 0 h 273168"/>
                <a:gd name="csX28" fmla="*/ 233213 w 307481"/>
                <a:gd name="csY28" fmla="*/ 75492 h 273168"/>
                <a:gd name="csX29" fmla="*/ 232907 w 307481"/>
                <a:gd name="csY29" fmla="*/ 84870 h 273168"/>
                <a:gd name="csX30" fmla="*/ 201803 w 307481"/>
                <a:gd name="csY30" fmla="*/ 175860 h 273168"/>
                <a:gd name="csX31" fmla="*/ 198347 w 307481"/>
                <a:gd name="csY31" fmla="*/ 203436 h 273168"/>
                <a:gd name="csX32" fmla="*/ 204179 w 307481"/>
                <a:gd name="csY32" fmla="*/ 213372 h 273168"/>
                <a:gd name="csX33" fmla="*/ 302999 w 307481"/>
                <a:gd name="csY33" fmla="*/ 256356 h 273168"/>
                <a:gd name="csX34" fmla="*/ 306275 w 307481"/>
                <a:gd name="csY34" fmla="*/ 268650 h 273168"/>
                <a:gd name="csX35" fmla="*/ 298463 w 307481"/>
                <a:gd name="csY35" fmla="*/ 273168 h 273168"/>
                <a:gd name="csX36" fmla="*/ 298463 w 307481"/>
                <a:gd name="csY36" fmla="*/ 273168 h 27316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</a:cxnLst>
              <a:rect l="l" t="t" r="r" b="b"/>
              <a:pathLst>
                <a:path w="307481" h="273168">
                  <a:moveTo>
                    <a:pt x="298463" y="273168"/>
                  </a:moveTo>
                  <a:cubicBezTo>
                    <a:pt x="296879" y="273168"/>
                    <a:pt x="295313" y="272754"/>
                    <a:pt x="293963" y="271944"/>
                  </a:cubicBezTo>
                  <a:cubicBezTo>
                    <a:pt x="263849" y="254484"/>
                    <a:pt x="231719" y="240534"/>
                    <a:pt x="198437" y="230436"/>
                  </a:cubicBezTo>
                  <a:cubicBezTo>
                    <a:pt x="189815" y="227268"/>
                    <a:pt x="183659" y="219222"/>
                    <a:pt x="180851" y="207720"/>
                  </a:cubicBezTo>
                  <a:cubicBezTo>
                    <a:pt x="177449" y="193788"/>
                    <a:pt x="178979" y="174222"/>
                    <a:pt x="188483" y="163764"/>
                  </a:cubicBezTo>
                  <a:cubicBezTo>
                    <a:pt x="201875" y="149040"/>
                    <a:pt x="214943" y="130752"/>
                    <a:pt x="214943" y="84042"/>
                  </a:cubicBezTo>
                  <a:cubicBezTo>
                    <a:pt x="215195" y="80838"/>
                    <a:pt x="215285" y="78408"/>
                    <a:pt x="215213" y="75978"/>
                  </a:cubicBezTo>
                  <a:cubicBezTo>
                    <a:pt x="214331" y="44010"/>
                    <a:pt x="187529" y="18000"/>
                    <a:pt x="155471" y="18000"/>
                  </a:cubicBezTo>
                  <a:lnTo>
                    <a:pt x="153977" y="18018"/>
                  </a:lnTo>
                  <a:lnTo>
                    <a:pt x="151997" y="18000"/>
                  </a:lnTo>
                  <a:cubicBezTo>
                    <a:pt x="150017" y="18000"/>
                    <a:pt x="148145" y="18090"/>
                    <a:pt x="146291" y="18252"/>
                  </a:cubicBezTo>
                  <a:cubicBezTo>
                    <a:pt x="113531" y="21348"/>
                    <a:pt x="89411" y="50472"/>
                    <a:pt x="92489" y="83196"/>
                  </a:cubicBezTo>
                  <a:cubicBezTo>
                    <a:pt x="92525" y="130716"/>
                    <a:pt x="105593" y="149040"/>
                    <a:pt x="118985" y="163746"/>
                  </a:cubicBezTo>
                  <a:cubicBezTo>
                    <a:pt x="128489" y="174222"/>
                    <a:pt x="130019" y="193788"/>
                    <a:pt x="126617" y="207720"/>
                  </a:cubicBezTo>
                  <a:cubicBezTo>
                    <a:pt x="123809" y="219222"/>
                    <a:pt x="117743" y="227232"/>
                    <a:pt x="109535" y="230274"/>
                  </a:cubicBezTo>
                  <a:cubicBezTo>
                    <a:pt x="75839" y="240498"/>
                    <a:pt x="43601" y="254502"/>
                    <a:pt x="13505" y="271962"/>
                  </a:cubicBezTo>
                  <a:cubicBezTo>
                    <a:pt x="12137" y="272754"/>
                    <a:pt x="10589" y="273168"/>
                    <a:pt x="9005" y="273168"/>
                  </a:cubicBezTo>
                  <a:cubicBezTo>
                    <a:pt x="5801" y="273168"/>
                    <a:pt x="2813" y="271458"/>
                    <a:pt x="1211" y="268686"/>
                  </a:cubicBezTo>
                  <a:cubicBezTo>
                    <a:pt x="-1273" y="264384"/>
                    <a:pt x="185" y="258876"/>
                    <a:pt x="4487" y="256374"/>
                  </a:cubicBezTo>
                  <a:cubicBezTo>
                    <a:pt x="35807" y="238230"/>
                    <a:pt x="69215" y="223704"/>
                    <a:pt x="103829" y="213210"/>
                  </a:cubicBezTo>
                  <a:cubicBezTo>
                    <a:pt x="105251" y="212670"/>
                    <a:pt x="107717" y="209322"/>
                    <a:pt x="109157" y="203436"/>
                  </a:cubicBezTo>
                  <a:cubicBezTo>
                    <a:pt x="111857" y="192402"/>
                    <a:pt x="109499" y="180036"/>
                    <a:pt x="105683" y="175842"/>
                  </a:cubicBezTo>
                  <a:cubicBezTo>
                    <a:pt x="89915" y="158544"/>
                    <a:pt x="74525" y="137196"/>
                    <a:pt x="74525" y="84042"/>
                  </a:cubicBezTo>
                  <a:cubicBezTo>
                    <a:pt x="72617" y="64044"/>
                    <a:pt x="78845" y="44010"/>
                    <a:pt x="92093" y="28080"/>
                  </a:cubicBezTo>
                  <a:cubicBezTo>
                    <a:pt x="105359" y="12132"/>
                    <a:pt x="123989" y="2286"/>
                    <a:pt x="144581" y="342"/>
                  </a:cubicBezTo>
                  <a:cubicBezTo>
                    <a:pt x="146957" y="126"/>
                    <a:pt x="149405" y="0"/>
                    <a:pt x="151871" y="0"/>
                  </a:cubicBezTo>
                  <a:cubicBezTo>
                    <a:pt x="152573" y="0"/>
                    <a:pt x="153275" y="0"/>
                    <a:pt x="153977" y="36"/>
                  </a:cubicBezTo>
                  <a:cubicBezTo>
                    <a:pt x="154499" y="18"/>
                    <a:pt x="155255" y="0"/>
                    <a:pt x="156011" y="0"/>
                  </a:cubicBezTo>
                  <a:cubicBezTo>
                    <a:pt x="197429" y="0"/>
                    <a:pt x="232061" y="33858"/>
                    <a:pt x="233213" y="75492"/>
                  </a:cubicBezTo>
                  <a:cubicBezTo>
                    <a:pt x="233303" y="78606"/>
                    <a:pt x="233195" y="81756"/>
                    <a:pt x="232907" y="84870"/>
                  </a:cubicBezTo>
                  <a:cubicBezTo>
                    <a:pt x="232943" y="137214"/>
                    <a:pt x="217553" y="158544"/>
                    <a:pt x="201803" y="175860"/>
                  </a:cubicBezTo>
                  <a:cubicBezTo>
                    <a:pt x="198005" y="180036"/>
                    <a:pt x="195647" y="192402"/>
                    <a:pt x="198347" y="203436"/>
                  </a:cubicBezTo>
                  <a:cubicBezTo>
                    <a:pt x="199895" y="209754"/>
                    <a:pt x="202451" y="212742"/>
                    <a:pt x="204179" y="213372"/>
                  </a:cubicBezTo>
                  <a:cubicBezTo>
                    <a:pt x="238343" y="223704"/>
                    <a:pt x="271679" y="238194"/>
                    <a:pt x="302999" y="256356"/>
                  </a:cubicBezTo>
                  <a:cubicBezTo>
                    <a:pt x="307283" y="258840"/>
                    <a:pt x="308759" y="264366"/>
                    <a:pt x="306275" y="268650"/>
                  </a:cubicBezTo>
                  <a:cubicBezTo>
                    <a:pt x="304637" y="271458"/>
                    <a:pt x="301649" y="273168"/>
                    <a:pt x="298463" y="273168"/>
                  </a:cubicBezTo>
                  <a:lnTo>
                    <a:pt x="298463" y="273168"/>
                  </a:lnTo>
                  <a:close/>
                </a:path>
              </a:pathLst>
            </a:custGeom>
            <a:solidFill>
              <a:srgbClr val="D70F37"/>
            </a:solidFill>
            <a:ln w="17859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C3D2562F-EF73-E83E-E770-0C84E927314A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5152365" y="4665672"/>
              <a:ext cx="462833" cy="411184"/>
            </a:xfrm>
            <a:custGeom>
              <a:avLst/>
              <a:gdLst>
                <a:gd name="csX0" fmla="*/ 298463 w 307481"/>
                <a:gd name="csY0" fmla="*/ 273168 h 273168"/>
                <a:gd name="csX1" fmla="*/ 293963 w 307481"/>
                <a:gd name="csY1" fmla="*/ 271944 h 273168"/>
                <a:gd name="csX2" fmla="*/ 198437 w 307481"/>
                <a:gd name="csY2" fmla="*/ 230436 h 273168"/>
                <a:gd name="csX3" fmla="*/ 180851 w 307481"/>
                <a:gd name="csY3" fmla="*/ 207720 h 273168"/>
                <a:gd name="csX4" fmla="*/ 188483 w 307481"/>
                <a:gd name="csY4" fmla="*/ 163764 h 273168"/>
                <a:gd name="csX5" fmla="*/ 214943 w 307481"/>
                <a:gd name="csY5" fmla="*/ 84042 h 273168"/>
                <a:gd name="csX6" fmla="*/ 215213 w 307481"/>
                <a:gd name="csY6" fmla="*/ 75978 h 273168"/>
                <a:gd name="csX7" fmla="*/ 155471 w 307481"/>
                <a:gd name="csY7" fmla="*/ 18000 h 273168"/>
                <a:gd name="csX8" fmla="*/ 153977 w 307481"/>
                <a:gd name="csY8" fmla="*/ 18018 h 273168"/>
                <a:gd name="csX9" fmla="*/ 151997 w 307481"/>
                <a:gd name="csY9" fmla="*/ 18000 h 273168"/>
                <a:gd name="csX10" fmla="*/ 146291 w 307481"/>
                <a:gd name="csY10" fmla="*/ 18252 h 273168"/>
                <a:gd name="csX11" fmla="*/ 92489 w 307481"/>
                <a:gd name="csY11" fmla="*/ 83196 h 273168"/>
                <a:gd name="csX12" fmla="*/ 118985 w 307481"/>
                <a:gd name="csY12" fmla="*/ 163746 h 273168"/>
                <a:gd name="csX13" fmla="*/ 126617 w 307481"/>
                <a:gd name="csY13" fmla="*/ 207720 h 273168"/>
                <a:gd name="csX14" fmla="*/ 109535 w 307481"/>
                <a:gd name="csY14" fmla="*/ 230274 h 273168"/>
                <a:gd name="csX15" fmla="*/ 13505 w 307481"/>
                <a:gd name="csY15" fmla="*/ 271962 h 273168"/>
                <a:gd name="csX16" fmla="*/ 9005 w 307481"/>
                <a:gd name="csY16" fmla="*/ 273168 h 273168"/>
                <a:gd name="csX17" fmla="*/ 1211 w 307481"/>
                <a:gd name="csY17" fmla="*/ 268686 h 273168"/>
                <a:gd name="csX18" fmla="*/ 4487 w 307481"/>
                <a:gd name="csY18" fmla="*/ 256374 h 273168"/>
                <a:gd name="csX19" fmla="*/ 103829 w 307481"/>
                <a:gd name="csY19" fmla="*/ 213210 h 273168"/>
                <a:gd name="csX20" fmla="*/ 109157 w 307481"/>
                <a:gd name="csY20" fmla="*/ 203436 h 273168"/>
                <a:gd name="csX21" fmla="*/ 105683 w 307481"/>
                <a:gd name="csY21" fmla="*/ 175842 h 273168"/>
                <a:gd name="csX22" fmla="*/ 74525 w 307481"/>
                <a:gd name="csY22" fmla="*/ 84042 h 273168"/>
                <a:gd name="csX23" fmla="*/ 92093 w 307481"/>
                <a:gd name="csY23" fmla="*/ 28080 h 273168"/>
                <a:gd name="csX24" fmla="*/ 144581 w 307481"/>
                <a:gd name="csY24" fmla="*/ 342 h 273168"/>
                <a:gd name="csX25" fmla="*/ 151871 w 307481"/>
                <a:gd name="csY25" fmla="*/ 0 h 273168"/>
                <a:gd name="csX26" fmla="*/ 153977 w 307481"/>
                <a:gd name="csY26" fmla="*/ 36 h 273168"/>
                <a:gd name="csX27" fmla="*/ 156011 w 307481"/>
                <a:gd name="csY27" fmla="*/ 0 h 273168"/>
                <a:gd name="csX28" fmla="*/ 233213 w 307481"/>
                <a:gd name="csY28" fmla="*/ 75492 h 273168"/>
                <a:gd name="csX29" fmla="*/ 232907 w 307481"/>
                <a:gd name="csY29" fmla="*/ 84870 h 273168"/>
                <a:gd name="csX30" fmla="*/ 201803 w 307481"/>
                <a:gd name="csY30" fmla="*/ 175860 h 273168"/>
                <a:gd name="csX31" fmla="*/ 198347 w 307481"/>
                <a:gd name="csY31" fmla="*/ 203436 h 273168"/>
                <a:gd name="csX32" fmla="*/ 204179 w 307481"/>
                <a:gd name="csY32" fmla="*/ 213372 h 273168"/>
                <a:gd name="csX33" fmla="*/ 302999 w 307481"/>
                <a:gd name="csY33" fmla="*/ 256356 h 273168"/>
                <a:gd name="csX34" fmla="*/ 306275 w 307481"/>
                <a:gd name="csY34" fmla="*/ 268650 h 273168"/>
                <a:gd name="csX35" fmla="*/ 298463 w 307481"/>
                <a:gd name="csY35" fmla="*/ 273168 h 273168"/>
                <a:gd name="csX36" fmla="*/ 298463 w 307481"/>
                <a:gd name="csY36" fmla="*/ 273168 h 27316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</a:cxnLst>
              <a:rect l="l" t="t" r="r" b="b"/>
              <a:pathLst>
                <a:path w="307481" h="273168">
                  <a:moveTo>
                    <a:pt x="298463" y="273168"/>
                  </a:moveTo>
                  <a:cubicBezTo>
                    <a:pt x="296879" y="273168"/>
                    <a:pt x="295313" y="272754"/>
                    <a:pt x="293963" y="271944"/>
                  </a:cubicBezTo>
                  <a:cubicBezTo>
                    <a:pt x="263849" y="254484"/>
                    <a:pt x="231719" y="240534"/>
                    <a:pt x="198437" y="230436"/>
                  </a:cubicBezTo>
                  <a:cubicBezTo>
                    <a:pt x="189815" y="227268"/>
                    <a:pt x="183659" y="219222"/>
                    <a:pt x="180851" y="207720"/>
                  </a:cubicBezTo>
                  <a:cubicBezTo>
                    <a:pt x="177449" y="193788"/>
                    <a:pt x="178979" y="174222"/>
                    <a:pt x="188483" y="163764"/>
                  </a:cubicBezTo>
                  <a:cubicBezTo>
                    <a:pt x="201875" y="149040"/>
                    <a:pt x="214943" y="130752"/>
                    <a:pt x="214943" y="84042"/>
                  </a:cubicBezTo>
                  <a:cubicBezTo>
                    <a:pt x="215195" y="80838"/>
                    <a:pt x="215285" y="78408"/>
                    <a:pt x="215213" y="75978"/>
                  </a:cubicBezTo>
                  <a:cubicBezTo>
                    <a:pt x="214331" y="44010"/>
                    <a:pt x="187529" y="18000"/>
                    <a:pt x="155471" y="18000"/>
                  </a:cubicBezTo>
                  <a:lnTo>
                    <a:pt x="153977" y="18018"/>
                  </a:lnTo>
                  <a:lnTo>
                    <a:pt x="151997" y="18000"/>
                  </a:lnTo>
                  <a:cubicBezTo>
                    <a:pt x="150017" y="18000"/>
                    <a:pt x="148145" y="18090"/>
                    <a:pt x="146291" y="18252"/>
                  </a:cubicBezTo>
                  <a:cubicBezTo>
                    <a:pt x="113531" y="21348"/>
                    <a:pt x="89411" y="50472"/>
                    <a:pt x="92489" y="83196"/>
                  </a:cubicBezTo>
                  <a:cubicBezTo>
                    <a:pt x="92525" y="130716"/>
                    <a:pt x="105593" y="149040"/>
                    <a:pt x="118985" y="163746"/>
                  </a:cubicBezTo>
                  <a:cubicBezTo>
                    <a:pt x="128489" y="174222"/>
                    <a:pt x="130019" y="193788"/>
                    <a:pt x="126617" y="207720"/>
                  </a:cubicBezTo>
                  <a:cubicBezTo>
                    <a:pt x="123809" y="219222"/>
                    <a:pt x="117743" y="227232"/>
                    <a:pt x="109535" y="230274"/>
                  </a:cubicBezTo>
                  <a:cubicBezTo>
                    <a:pt x="75839" y="240498"/>
                    <a:pt x="43601" y="254502"/>
                    <a:pt x="13505" y="271962"/>
                  </a:cubicBezTo>
                  <a:cubicBezTo>
                    <a:pt x="12137" y="272754"/>
                    <a:pt x="10589" y="273168"/>
                    <a:pt x="9005" y="273168"/>
                  </a:cubicBezTo>
                  <a:cubicBezTo>
                    <a:pt x="5801" y="273168"/>
                    <a:pt x="2813" y="271458"/>
                    <a:pt x="1211" y="268686"/>
                  </a:cubicBezTo>
                  <a:cubicBezTo>
                    <a:pt x="-1273" y="264384"/>
                    <a:pt x="185" y="258876"/>
                    <a:pt x="4487" y="256374"/>
                  </a:cubicBezTo>
                  <a:cubicBezTo>
                    <a:pt x="35807" y="238230"/>
                    <a:pt x="69215" y="223704"/>
                    <a:pt x="103829" y="213210"/>
                  </a:cubicBezTo>
                  <a:cubicBezTo>
                    <a:pt x="105251" y="212670"/>
                    <a:pt x="107717" y="209322"/>
                    <a:pt x="109157" y="203436"/>
                  </a:cubicBezTo>
                  <a:cubicBezTo>
                    <a:pt x="111857" y="192402"/>
                    <a:pt x="109499" y="180036"/>
                    <a:pt x="105683" y="175842"/>
                  </a:cubicBezTo>
                  <a:cubicBezTo>
                    <a:pt x="89915" y="158544"/>
                    <a:pt x="74525" y="137196"/>
                    <a:pt x="74525" y="84042"/>
                  </a:cubicBezTo>
                  <a:cubicBezTo>
                    <a:pt x="72617" y="64044"/>
                    <a:pt x="78845" y="44010"/>
                    <a:pt x="92093" y="28080"/>
                  </a:cubicBezTo>
                  <a:cubicBezTo>
                    <a:pt x="105359" y="12132"/>
                    <a:pt x="123989" y="2286"/>
                    <a:pt x="144581" y="342"/>
                  </a:cubicBezTo>
                  <a:cubicBezTo>
                    <a:pt x="146957" y="126"/>
                    <a:pt x="149405" y="0"/>
                    <a:pt x="151871" y="0"/>
                  </a:cubicBezTo>
                  <a:cubicBezTo>
                    <a:pt x="152573" y="0"/>
                    <a:pt x="153275" y="0"/>
                    <a:pt x="153977" y="36"/>
                  </a:cubicBezTo>
                  <a:cubicBezTo>
                    <a:pt x="154499" y="18"/>
                    <a:pt x="155255" y="0"/>
                    <a:pt x="156011" y="0"/>
                  </a:cubicBezTo>
                  <a:cubicBezTo>
                    <a:pt x="197429" y="0"/>
                    <a:pt x="232061" y="33858"/>
                    <a:pt x="233213" y="75492"/>
                  </a:cubicBezTo>
                  <a:cubicBezTo>
                    <a:pt x="233303" y="78606"/>
                    <a:pt x="233195" y="81756"/>
                    <a:pt x="232907" y="84870"/>
                  </a:cubicBezTo>
                  <a:cubicBezTo>
                    <a:pt x="232943" y="137214"/>
                    <a:pt x="217553" y="158544"/>
                    <a:pt x="201803" y="175860"/>
                  </a:cubicBezTo>
                  <a:cubicBezTo>
                    <a:pt x="198005" y="180036"/>
                    <a:pt x="195647" y="192402"/>
                    <a:pt x="198347" y="203436"/>
                  </a:cubicBezTo>
                  <a:cubicBezTo>
                    <a:pt x="199895" y="209754"/>
                    <a:pt x="202451" y="212742"/>
                    <a:pt x="204179" y="213372"/>
                  </a:cubicBezTo>
                  <a:cubicBezTo>
                    <a:pt x="238343" y="223704"/>
                    <a:pt x="271679" y="238194"/>
                    <a:pt x="302999" y="256356"/>
                  </a:cubicBezTo>
                  <a:cubicBezTo>
                    <a:pt x="307283" y="258840"/>
                    <a:pt x="308759" y="264366"/>
                    <a:pt x="306275" y="268650"/>
                  </a:cubicBezTo>
                  <a:cubicBezTo>
                    <a:pt x="304637" y="271458"/>
                    <a:pt x="301649" y="273168"/>
                    <a:pt x="298463" y="273168"/>
                  </a:cubicBezTo>
                  <a:lnTo>
                    <a:pt x="298463" y="273168"/>
                  </a:lnTo>
                  <a:close/>
                </a:path>
              </a:pathLst>
            </a:custGeom>
            <a:solidFill>
              <a:srgbClr val="D70F37"/>
            </a:solidFill>
            <a:ln w="17859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25" name="Textfeld 124">
            <a:extLst>
              <a:ext uri="{FF2B5EF4-FFF2-40B4-BE49-F238E27FC236}">
                <a16:creationId xmlns:a16="http://schemas.microsoft.com/office/drawing/2014/main" id="{B2EF8301-44FE-B1DD-81B3-46544A9E986F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 rot="16200000">
            <a:off x="5651543" y="4092923"/>
            <a:ext cx="29017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Identifikation von Handlungsbedarf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29CCA701-945E-A34E-BFE8-E712B80AA5CD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7559291" y="2728075"/>
            <a:ext cx="3252074" cy="3016014"/>
          </a:xfrm>
          <a:prstGeom prst="rect">
            <a:avLst/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8" name="Textfeld 127">
            <a:extLst>
              <a:ext uri="{FF2B5EF4-FFF2-40B4-BE49-F238E27FC236}">
                <a16:creationId xmlns:a16="http://schemas.microsoft.com/office/drawing/2014/main" id="{F4336F20-23A6-4B43-EC69-9CD643E5F7EA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7684046" y="2672718"/>
            <a:ext cx="2365515" cy="184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36000" tIns="0" rIns="0" bIns="0" rtlCol="0" anchor="ctr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1C1F21"/>
                </a:solidFill>
                <a:effectLst/>
                <a:uLnTx/>
                <a:uFillTx/>
                <a:latin typeface="Axiforma for Sec Black" pitchFamily="2" charset="0"/>
                <a:ea typeface="+mn-ea"/>
                <a:cs typeface="+mn-cs"/>
              </a:rPr>
              <a:t>Umsetzung der Maßnahmen </a:t>
            </a:r>
          </a:p>
        </p:txBody>
      </p:sp>
      <p:sp>
        <p:nvSpPr>
          <p:cNvPr id="129" name="Gleichschenkliges Dreieck 128">
            <a:extLst>
              <a:ext uri="{FF2B5EF4-FFF2-40B4-BE49-F238E27FC236}">
                <a16:creationId xmlns:a16="http://schemas.microsoft.com/office/drawing/2014/main" id="{D7EEB502-F933-D3AA-FF8D-B34EB14EE01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 rot="5400000">
            <a:off x="6025656" y="4122319"/>
            <a:ext cx="2712561" cy="218210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07FB0661-DFB2-FE81-A4A1-844A6BB6F231}"/>
              </a:ext>
            </a:extLst>
          </p:cNvPr>
          <p:cNvGrpSpPr/>
          <p:nvPr/>
        </p:nvGrpSpPr>
        <p:grpSpPr>
          <a:xfrm>
            <a:off x="5770013" y="3072646"/>
            <a:ext cx="557364" cy="557228"/>
            <a:chOff x="-5196568" y="2373694"/>
            <a:chExt cx="288106" cy="288036"/>
          </a:xfrm>
        </p:grpSpPr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08FC580C-ABD3-B386-9024-83C2C60B2740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-5196568" y="2373694"/>
              <a:ext cx="288106" cy="288036"/>
            </a:xfrm>
            <a:custGeom>
              <a:avLst/>
              <a:gdLst>
                <a:gd name="csX0" fmla="*/ 97774 w 288106"/>
                <a:gd name="csY0" fmla="*/ 288069 h 288036"/>
                <a:gd name="csX1" fmla="*/ 76030 w 288106"/>
                <a:gd name="csY1" fmla="*/ 279699 h 288036"/>
                <a:gd name="csX2" fmla="*/ 65338 w 288106"/>
                <a:gd name="csY2" fmla="*/ 253887 h 288036"/>
                <a:gd name="csX3" fmla="*/ 66202 w 288106"/>
                <a:gd name="csY3" fmla="*/ 237075 h 288036"/>
                <a:gd name="csX4" fmla="*/ 52414 w 288106"/>
                <a:gd name="csY4" fmla="*/ 221847 h 288036"/>
                <a:gd name="csX5" fmla="*/ 51676 w 288106"/>
                <a:gd name="csY5" fmla="*/ 221829 h 288036"/>
                <a:gd name="csX6" fmla="*/ 50992 w 288106"/>
                <a:gd name="csY6" fmla="*/ 221847 h 288036"/>
                <a:gd name="csX7" fmla="*/ 34162 w 288106"/>
                <a:gd name="csY7" fmla="*/ 222711 h 288036"/>
                <a:gd name="csX8" fmla="*/ 32686 w 288106"/>
                <a:gd name="csY8" fmla="*/ 222747 h 288036"/>
                <a:gd name="csX9" fmla="*/ 142 w 288106"/>
                <a:gd name="csY9" fmla="*/ 191733 h 288036"/>
                <a:gd name="csX10" fmla="*/ 10744 w 288106"/>
                <a:gd name="csY10" fmla="*/ 166191 h 288036"/>
                <a:gd name="csX11" fmla="*/ 23254 w 288106"/>
                <a:gd name="csY11" fmla="*/ 154887 h 288036"/>
                <a:gd name="csX12" fmla="*/ 28060 w 288106"/>
                <a:gd name="csY12" fmla="*/ 144933 h 288036"/>
                <a:gd name="csX13" fmla="*/ 24424 w 288106"/>
                <a:gd name="csY13" fmla="*/ 134529 h 288036"/>
                <a:gd name="csX14" fmla="*/ 23290 w 288106"/>
                <a:gd name="csY14" fmla="*/ 133395 h 288036"/>
                <a:gd name="csX15" fmla="*/ 10762 w 288106"/>
                <a:gd name="csY15" fmla="*/ 122073 h 288036"/>
                <a:gd name="csX16" fmla="*/ 70 w 288106"/>
                <a:gd name="csY16" fmla="*/ 99609 h 288036"/>
                <a:gd name="csX17" fmla="*/ 8404 w 288106"/>
                <a:gd name="csY17" fmla="*/ 76155 h 288036"/>
                <a:gd name="csX18" fmla="*/ 32506 w 288106"/>
                <a:gd name="csY18" fmla="*/ 65427 h 288036"/>
                <a:gd name="csX19" fmla="*/ 34216 w 288106"/>
                <a:gd name="csY19" fmla="*/ 65463 h 288036"/>
                <a:gd name="csX20" fmla="*/ 51028 w 288106"/>
                <a:gd name="csY20" fmla="*/ 66327 h 288036"/>
                <a:gd name="csX21" fmla="*/ 51694 w 288106"/>
                <a:gd name="csY21" fmla="*/ 66345 h 288036"/>
                <a:gd name="csX22" fmla="*/ 66256 w 288106"/>
                <a:gd name="csY22" fmla="*/ 52557 h 288036"/>
                <a:gd name="csX23" fmla="*/ 66256 w 288106"/>
                <a:gd name="csY23" fmla="*/ 51081 h 288036"/>
                <a:gd name="csX24" fmla="*/ 65410 w 288106"/>
                <a:gd name="csY24" fmla="*/ 34233 h 288036"/>
                <a:gd name="csX25" fmla="*/ 96316 w 288106"/>
                <a:gd name="csY25" fmla="*/ 177 h 288036"/>
                <a:gd name="csX26" fmla="*/ 97936 w 288106"/>
                <a:gd name="csY26" fmla="*/ 141 h 288036"/>
                <a:gd name="csX27" fmla="*/ 121912 w 288106"/>
                <a:gd name="csY27" fmla="*/ 10761 h 288036"/>
                <a:gd name="csX28" fmla="*/ 133270 w 288106"/>
                <a:gd name="csY28" fmla="*/ 23253 h 288036"/>
                <a:gd name="csX29" fmla="*/ 143260 w 288106"/>
                <a:gd name="csY29" fmla="*/ 28095 h 288036"/>
                <a:gd name="csX30" fmla="*/ 143998 w 288106"/>
                <a:gd name="csY30" fmla="*/ 28113 h 288036"/>
                <a:gd name="csX31" fmla="*/ 153664 w 288106"/>
                <a:gd name="csY31" fmla="*/ 24441 h 288036"/>
                <a:gd name="csX32" fmla="*/ 154798 w 288106"/>
                <a:gd name="csY32" fmla="*/ 23307 h 288036"/>
                <a:gd name="csX33" fmla="*/ 166192 w 288106"/>
                <a:gd name="csY33" fmla="*/ 10761 h 288036"/>
                <a:gd name="csX34" fmla="*/ 188638 w 288106"/>
                <a:gd name="csY34" fmla="*/ 105 h 288036"/>
                <a:gd name="csX35" fmla="*/ 190384 w 288106"/>
                <a:gd name="csY35" fmla="*/ 51 h 288036"/>
                <a:gd name="csX36" fmla="*/ 212074 w 288106"/>
                <a:gd name="csY36" fmla="*/ 8421 h 288036"/>
                <a:gd name="csX37" fmla="*/ 222766 w 288106"/>
                <a:gd name="csY37" fmla="*/ 34233 h 288036"/>
                <a:gd name="csX38" fmla="*/ 221902 w 288106"/>
                <a:gd name="csY38" fmla="*/ 51045 h 288036"/>
                <a:gd name="csX39" fmla="*/ 235672 w 288106"/>
                <a:gd name="csY39" fmla="*/ 66273 h 288036"/>
                <a:gd name="csX40" fmla="*/ 236410 w 288106"/>
                <a:gd name="csY40" fmla="*/ 66291 h 288036"/>
                <a:gd name="csX41" fmla="*/ 237148 w 288106"/>
                <a:gd name="csY41" fmla="*/ 66273 h 288036"/>
                <a:gd name="csX42" fmla="*/ 253942 w 288106"/>
                <a:gd name="csY42" fmla="*/ 65409 h 288036"/>
                <a:gd name="csX43" fmla="*/ 255724 w 288106"/>
                <a:gd name="csY43" fmla="*/ 65355 h 288036"/>
                <a:gd name="csX44" fmla="*/ 277396 w 288106"/>
                <a:gd name="csY44" fmla="*/ 73725 h 288036"/>
                <a:gd name="csX45" fmla="*/ 288088 w 288106"/>
                <a:gd name="csY45" fmla="*/ 96189 h 288036"/>
                <a:gd name="csX46" fmla="*/ 277396 w 288106"/>
                <a:gd name="csY46" fmla="*/ 122001 h 288036"/>
                <a:gd name="csX47" fmla="*/ 264904 w 288106"/>
                <a:gd name="csY47" fmla="*/ 133287 h 288036"/>
                <a:gd name="csX48" fmla="*/ 263734 w 288106"/>
                <a:gd name="csY48" fmla="*/ 153645 h 288036"/>
                <a:gd name="csX49" fmla="*/ 264868 w 288106"/>
                <a:gd name="csY49" fmla="*/ 154779 h 288036"/>
                <a:gd name="csX50" fmla="*/ 277396 w 288106"/>
                <a:gd name="csY50" fmla="*/ 166101 h 288036"/>
                <a:gd name="csX51" fmla="*/ 279754 w 288106"/>
                <a:gd name="csY51" fmla="*/ 212019 h 288036"/>
                <a:gd name="csX52" fmla="*/ 255490 w 288106"/>
                <a:gd name="csY52" fmla="*/ 222747 h 288036"/>
                <a:gd name="csX53" fmla="*/ 253978 w 288106"/>
                <a:gd name="csY53" fmla="*/ 222711 h 288036"/>
                <a:gd name="csX54" fmla="*/ 237130 w 288106"/>
                <a:gd name="csY54" fmla="*/ 221847 h 288036"/>
                <a:gd name="csX55" fmla="*/ 236374 w 288106"/>
                <a:gd name="csY55" fmla="*/ 221829 h 288036"/>
                <a:gd name="csX56" fmla="*/ 221902 w 288106"/>
                <a:gd name="csY56" fmla="*/ 235635 h 288036"/>
                <a:gd name="csX57" fmla="*/ 221902 w 288106"/>
                <a:gd name="csY57" fmla="*/ 237111 h 288036"/>
                <a:gd name="csX58" fmla="*/ 222766 w 288106"/>
                <a:gd name="csY58" fmla="*/ 253905 h 288036"/>
                <a:gd name="csX59" fmla="*/ 214450 w 288106"/>
                <a:gd name="csY59" fmla="*/ 277359 h 288036"/>
                <a:gd name="csX60" fmla="*/ 191986 w 288106"/>
                <a:gd name="csY60" fmla="*/ 288051 h 288036"/>
                <a:gd name="csX61" fmla="*/ 190438 w 288106"/>
                <a:gd name="csY61" fmla="*/ 288087 h 288036"/>
                <a:gd name="csX62" fmla="*/ 166174 w 288106"/>
                <a:gd name="csY62" fmla="*/ 277359 h 288036"/>
                <a:gd name="csX63" fmla="*/ 154888 w 288106"/>
                <a:gd name="csY63" fmla="*/ 264867 h 288036"/>
                <a:gd name="csX64" fmla="*/ 144106 w 288106"/>
                <a:gd name="csY64" fmla="*/ 260043 h 288036"/>
                <a:gd name="csX65" fmla="*/ 134512 w 288106"/>
                <a:gd name="csY65" fmla="*/ 263697 h 288036"/>
                <a:gd name="csX66" fmla="*/ 133378 w 288106"/>
                <a:gd name="csY66" fmla="*/ 264831 h 288036"/>
                <a:gd name="csX67" fmla="*/ 121876 w 288106"/>
                <a:gd name="csY67" fmla="*/ 277395 h 288036"/>
                <a:gd name="csX68" fmla="*/ 99448 w 288106"/>
                <a:gd name="csY68" fmla="*/ 288051 h 288036"/>
                <a:gd name="csX69" fmla="*/ 97774 w 288106"/>
                <a:gd name="csY69" fmla="*/ 288069 h 288036"/>
                <a:gd name="csX70" fmla="*/ 144124 w 288106"/>
                <a:gd name="csY70" fmla="*/ 242025 h 288036"/>
                <a:gd name="csX71" fmla="*/ 168280 w 288106"/>
                <a:gd name="csY71" fmla="*/ 252807 h 288036"/>
                <a:gd name="csX72" fmla="*/ 179530 w 288106"/>
                <a:gd name="csY72" fmla="*/ 265281 h 288036"/>
                <a:gd name="csX73" fmla="*/ 190240 w 288106"/>
                <a:gd name="csY73" fmla="*/ 270069 h 288036"/>
                <a:gd name="csX74" fmla="*/ 191050 w 288106"/>
                <a:gd name="csY74" fmla="*/ 270051 h 288036"/>
                <a:gd name="csX75" fmla="*/ 201094 w 288106"/>
                <a:gd name="csY75" fmla="*/ 265281 h 288036"/>
                <a:gd name="csX76" fmla="*/ 204820 w 288106"/>
                <a:gd name="csY76" fmla="*/ 254823 h 288036"/>
                <a:gd name="csX77" fmla="*/ 203956 w 288106"/>
                <a:gd name="csY77" fmla="*/ 238011 h 288036"/>
                <a:gd name="csX78" fmla="*/ 203956 w 288106"/>
                <a:gd name="csY78" fmla="*/ 234717 h 288036"/>
                <a:gd name="csX79" fmla="*/ 236572 w 288106"/>
                <a:gd name="csY79" fmla="*/ 203829 h 288036"/>
                <a:gd name="csX80" fmla="*/ 238048 w 288106"/>
                <a:gd name="csY80" fmla="*/ 203865 h 288036"/>
                <a:gd name="csX81" fmla="*/ 254896 w 288106"/>
                <a:gd name="csY81" fmla="*/ 204729 h 288036"/>
                <a:gd name="csX82" fmla="*/ 255634 w 288106"/>
                <a:gd name="csY82" fmla="*/ 204747 h 288036"/>
                <a:gd name="csX83" fmla="*/ 266416 w 288106"/>
                <a:gd name="csY83" fmla="*/ 199959 h 288036"/>
                <a:gd name="csX84" fmla="*/ 265354 w 288106"/>
                <a:gd name="csY84" fmla="*/ 179475 h 288036"/>
                <a:gd name="csX85" fmla="*/ 252862 w 288106"/>
                <a:gd name="csY85" fmla="*/ 168189 h 288036"/>
                <a:gd name="csX86" fmla="*/ 250342 w 288106"/>
                <a:gd name="csY86" fmla="*/ 165669 h 288036"/>
                <a:gd name="csX87" fmla="*/ 252898 w 288106"/>
                <a:gd name="csY87" fmla="*/ 119931 h 288036"/>
                <a:gd name="csX88" fmla="*/ 265372 w 288106"/>
                <a:gd name="csY88" fmla="*/ 108681 h 288036"/>
                <a:gd name="csX89" fmla="*/ 270142 w 288106"/>
                <a:gd name="csY89" fmla="*/ 97161 h 288036"/>
                <a:gd name="csX90" fmla="*/ 265372 w 288106"/>
                <a:gd name="csY90" fmla="*/ 87135 h 288036"/>
                <a:gd name="csX91" fmla="*/ 255724 w 288106"/>
                <a:gd name="csY91" fmla="*/ 83409 h 288036"/>
                <a:gd name="csX92" fmla="*/ 254932 w 288106"/>
                <a:gd name="csY92" fmla="*/ 83427 h 288036"/>
                <a:gd name="csX93" fmla="*/ 238102 w 288106"/>
                <a:gd name="csY93" fmla="*/ 84291 h 288036"/>
                <a:gd name="csX94" fmla="*/ 236464 w 288106"/>
                <a:gd name="csY94" fmla="*/ 84327 h 288036"/>
                <a:gd name="csX95" fmla="*/ 234808 w 288106"/>
                <a:gd name="csY95" fmla="*/ 84273 h 288036"/>
                <a:gd name="csX96" fmla="*/ 212344 w 288106"/>
                <a:gd name="csY96" fmla="*/ 73599 h 288036"/>
                <a:gd name="csX97" fmla="*/ 203974 w 288106"/>
                <a:gd name="csY97" fmla="*/ 50163 h 288036"/>
                <a:gd name="csX98" fmla="*/ 204838 w 288106"/>
                <a:gd name="csY98" fmla="*/ 33333 h 288036"/>
                <a:gd name="csX99" fmla="*/ 200068 w 288106"/>
                <a:gd name="csY99" fmla="*/ 21813 h 288036"/>
                <a:gd name="csX100" fmla="*/ 190402 w 288106"/>
                <a:gd name="csY100" fmla="*/ 18069 h 288036"/>
                <a:gd name="csX101" fmla="*/ 189610 w 288106"/>
                <a:gd name="csY101" fmla="*/ 18087 h 288036"/>
                <a:gd name="csX102" fmla="*/ 179584 w 288106"/>
                <a:gd name="csY102" fmla="*/ 22857 h 288036"/>
                <a:gd name="csX103" fmla="*/ 168154 w 288106"/>
                <a:gd name="csY103" fmla="*/ 35367 h 288036"/>
                <a:gd name="csX104" fmla="*/ 165634 w 288106"/>
                <a:gd name="csY104" fmla="*/ 37869 h 288036"/>
                <a:gd name="csX105" fmla="*/ 144106 w 288106"/>
                <a:gd name="csY105" fmla="*/ 46113 h 288036"/>
                <a:gd name="csX106" fmla="*/ 142234 w 288106"/>
                <a:gd name="csY106" fmla="*/ 46059 h 288036"/>
                <a:gd name="csX107" fmla="*/ 119914 w 288106"/>
                <a:gd name="csY107" fmla="*/ 35331 h 288036"/>
                <a:gd name="csX108" fmla="*/ 108592 w 288106"/>
                <a:gd name="csY108" fmla="*/ 22875 h 288036"/>
                <a:gd name="csX109" fmla="*/ 97936 w 288106"/>
                <a:gd name="csY109" fmla="*/ 18141 h 288036"/>
                <a:gd name="csX110" fmla="*/ 97198 w 288106"/>
                <a:gd name="csY110" fmla="*/ 18159 h 288036"/>
                <a:gd name="csX111" fmla="*/ 87136 w 288106"/>
                <a:gd name="csY111" fmla="*/ 22911 h 288036"/>
                <a:gd name="csX112" fmla="*/ 83392 w 288106"/>
                <a:gd name="csY112" fmla="*/ 33351 h 288036"/>
                <a:gd name="csX113" fmla="*/ 84256 w 288106"/>
                <a:gd name="csY113" fmla="*/ 50181 h 288036"/>
                <a:gd name="csX114" fmla="*/ 84256 w 288106"/>
                <a:gd name="csY114" fmla="*/ 53457 h 288036"/>
                <a:gd name="csX115" fmla="*/ 51640 w 288106"/>
                <a:gd name="csY115" fmla="*/ 84345 h 288036"/>
                <a:gd name="csX116" fmla="*/ 50164 w 288106"/>
                <a:gd name="csY116" fmla="*/ 84309 h 288036"/>
                <a:gd name="csX117" fmla="*/ 33316 w 288106"/>
                <a:gd name="csY117" fmla="*/ 83445 h 288036"/>
                <a:gd name="csX118" fmla="*/ 32524 w 288106"/>
                <a:gd name="csY118" fmla="*/ 83427 h 288036"/>
                <a:gd name="csX119" fmla="*/ 21796 w 288106"/>
                <a:gd name="csY119" fmla="*/ 88215 h 288036"/>
                <a:gd name="csX120" fmla="*/ 18070 w 288106"/>
                <a:gd name="csY120" fmla="*/ 98673 h 288036"/>
                <a:gd name="csX121" fmla="*/ 22840 w 288106"/>
                <a:gd name="csY121" fmla="*/ 108699 h 288036"/>
                <a:gd name="csX122" fmla="*/ 35332 w 288106"/>
                <a:gd name="csY122" fmla="*/ 120003 h 288036"/>
                <a:gd name="csX123" fmla="*/ 37834 w 288106"/>
                <a:gd name="csY123" fmla="*/ 122505 h 288036"/>
                <a:gd name="csX124" fmla="*/ 35296 w 288106"/>
                <a:gd name="csY124" fmla="*/ 168261 h 288036"/>
                <a:gd name="csX125" fmla="*/ 22840 w 288106"/>
                <a:gd name="csY125" fmla="*/ 179511 h 288036"/>
                <a:gd name="csX126" fmla="*/ 18124 w 288106"/>
                <a:gd name="csY126" fmla="*/ 190887 h 288036"/>
                <a:gd name="csX127" fmla="*/ 32668 w 288106"/>
                <a:gd name="csY127" fmla="*/ 204729 h 288036"/>
                <a:gd name="csX128" fmla="*/ 33298 w 288106"/>
                <a:gd name="csY128" fmla="*/ 204711 h 288036"/>
                <a:gd name="csX129" fmla="*/ 50038 w 288106"/>
                <a:gd name="csY129" fmla="*/ 203847 h 288036"/>
                <a:gd name="csX130" fmla="*/ 51676 w 288106"/>
                <a:gd name="csY130" fmla="*/ 203811 h 288036"/>
                <a:gd name="csX131" fmla="*/ 53296 w 288106"/>
                <a:gd name="csY131" fmla="*/ 203847 h 288036"/>
                <a:gd name="csX132" fmla="*/ 75796 w 288106"/>
                <a:gd name="csY132" fmla="*/ 214539 h 288036"/>
                <a:gd name="csX133" fmla="*/ 84166 w 288106"/>
                <a:gd name="csY133" fmla="*/ 237975 h 288036"/>
                <a:gd name="csX134" fmla="*/ 83302 w 288106"/>
                <a:gd name="csY134" fmla="*/ 254805 h 288036"/>
                <a:gd name="csX135" fmla="*/ 88072 w 288106"/>
                <a:gd name="csY135" fmla="*/ 266325 h 288036"/>
                <a:gd name="csX136" fmla="*/ 97774 w 288106"/>
                <a:gd name="csY136" fmla="*/ 270051 h 288036"/>
                <a:gd name="csX137" fmla="*/ 108556 w 288106"/>
                <a:gd name="csY137" fmla="*/ 265263 h 288036"/>
                <a:gd name="csX138" fmla="*/ 120040 w 288106"/>
                <a:gd name="csY138" fmla="*/ 252717 h 288036"/>
                <a:gd name="csX139" fmla="*/ 122524 w 288106"/>
                <a:gd name="csY139" fmla="*/ 250251 h 288036"/>
                <a:gd name="csX140" fmla="*/ 144124 w 288106"/>
                <a:gd name="csY140" fmla="*/ 242025 h 28803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</a:cxnLst>
              <a:rect l="l" t="t" r="r" b="b"/>
              <a:pathLst>
                <a:path w="288106" h="288036">
                  <a:moveTo>
                    <a:pt x="97774" y="288069"/>
                  </a:moveTo>
                  <a:cubicBezTo>
                    <a:pt x="89728" y="288069"/>
                    <a:pt x="82006" y="285099"/>
                    <a:pt x="76030" y="279699"/>
                  </a:cubicBezTo>
                  <a:cubicBezTo>
                    <a:pt x="68722" y="273111"/>
                    <a:pt x="64834" y="263715"/>
                    <a:pt x="65338" y="253887"/>
                  </a:cubicBezTo>
                  <a:lnTo>
                    <a:pt x="66202" y="237075"/>
                  </a:lnTo>
                  <a:cubicBezTo>
                    <a:pt x="66598" y="229083"/>
                    <a:pt x="60424" y="222261"/>
                    <a:pt x="52414" y="221847"/>
                  </a:cubicBezTo>
                  <a:lnTo>
                    <a:pt x="51676" y="221829"/>
                  </a:lnTo>
                  <a:lnTo>
                    <a:pt x="50992" y="221847"/>
                  </a:lnTo>
                  <a:lnTo>
                    <a:pt x="34162" y="222711"/>
                  </a:lnTo>
                  <a:cubicBezTo>
                    <a:pt x="33640" y="222729"/>
                    <a:pt x="33172" y="222747"/>
                    <a:pt x="32686" y="222747"/>
                  </a:cubicBezTo>
                  <a:cubicBezTo>
                    <a:pt x="15226" y="222747"/>
                    <a:pt x="934" y="209121"/>
                    <a:pt x="142" y="191733"/>
                  </a:cubicBezTo>
                  <a:cubicBezTo>
                    <a:pt x="-308" y="182031"/>
                    <a:pt x="3562" y="172725"/>
                    <a:pt x="10744" y="166191"/>
                  </a:cubicBezTo>
                  <a:lnTo>
                    <a:pt x="23254" y="154887"/>
                  </a:lnTo>
                  <a:cubicBezTo>
                    <a:pt x="26134" y="152313"/>
                    <a:pt x="27844" y="148767"/>
                    <a:pt x="28060" y="144933"/>
                  </a:cubicBezTo>
                  <a:cubicBezTo>
                    <a:pt x="28276" y="141081"/>
                    <a:pt x="26980" y="137391"/>
                    <a:pt x="24424" y="134529"/>
                  </a:cubicBezTo>
                  <a:cubicBezTo>
                    <a:pt x="24064" y="134133"/>
                    <a:pt x="23686" y="133755"/>
                    <a:pt x="23290" y="133395"/>
                  </a:cubicBezTo>
                  <a:lnTo>
                    <a:pt x="10762" y="122073"/>
                  </a:lnTo>
                  <a:cubicBezTo>
                    <a:pt x="4318" y="116259"/>
                    <a:pt x="520" y="108285"/>
                    <a:pt x="70" y="99609"/>
                  </a:cubicBezTo>
                  <a:cubicBezTo>
                    <a:pt x="-380" y="90933"/>
                    <a:pt x="2572" y="82617"/>
                    <a:pt x="8404" y="76155"/>
                  </a:cubicBezTo>
                  <a:cubicBezTo>
                    <a:pt x="14560" y="69333"/>
                    <a:pt x="23344" y="65427"/>
                    <a:pt x="32506" y="65427"/>
                  </a:cubicBezTo>
                  <a:cubicBezTo>
                    <a:pt x="33064" y="65427"/>
                    <a:pt x="33640" y="65445"/>
                    <a:pt x="34216" y="65463"/>
                  </a:cubicBezTo>
                  <a:lnTo>
                    <a:pt x="51028" y="66327"/>
                  </a:lnTo>
                  <a:lnTo>
                    <a:pt x="51694" y="66345"/>
                  </a:lnTo>
                  <a:cubicBezTo>
                    <a:pt x="59470" y="66345"/>
                    <a:pt x="65860" y="60279"/>
                    <a:pt x="66256" y="52557"/>
                  </a:cubicBezTo>
                  <a:cubicBezTo>
                    <a:pt x="66274" y="52071"/>
                    <a:pt x="66274" y="51585"/>
                    <a:pt x="66256" y="51081"/>
                  </a:cubicBezTo>
                  <a:lnTo>
                    <a:pt x="65410" y="34233"/>
                  </a:lnTo>
                  <a:cubicBezTo>
                    <a:pt x="64546" y="16305"/>
                    <a:pt x="78424" y="1041"/>
                    <a:pt x="96316" y="177"/>
                  </a:cubicBezTo>
                  <a:cubicBezTo>
                    <a:pt x="96856" y="159"/>
                    <a:pt x="97396" y="141"/>
                    <a:pt x="97936" y="141"/>
                  </a:cubicBezTo>
                  <a:cubicBezTo>
                    <a:pt x="107026" y="141"/>
                    <a:pt x="115774" y="4011"/>
                    <a:pt x="121912" y="10761"/>
                  </a:cubicBezTo>
                  <a:lnTo>
                    <a:pt x="133270" y="23253"/>
                  </a:lnTo>
                  <a:cubicBezTo>
                    <a:pt x="135880" y="26169"/>
                    <a:pt x="139408" y="27879"/>
                    <a:pt x="143260" y="28095"/>
                  </a:cubicBezTo>
                  <a:lnTo>
                    <a:pt x="143998" y="28113"/>
                  </a:lnTo>
                  <a:cubicBezTo>
                    <a:pt x="147634" y="28113"/>
                    <a:pt x="150982" y="26853"/>
                    <a:pt x="153664" y="24441"/>
                  </a:cubicBezTo>
                  <a:cubicBezTo>
                    <a:pt x="154060" y="24081"/>
                    <a:pt x="154438" y="23703"/>
                    <a:pt x="154798" y="23307"/>
                  </a:cubicBezTo>
                  <a:lnTo>
                    <a:pt x="166192" y="10761"/>
                  </a:lnTo>
                  <a:cubicBezTo>
                    <a:pt x="171988" y="4335"/>
                    <a:pt x="179962" y="537"/>
                    <a:pt x="188638" y="105"/>
                  </a:cubicBezTo>
                  <a:cubicBezTo>
                    <a:pt x="189214" y="69"/>
                    <a:pt x="189808" y="51"/>
                    <a:pt x="190384" y="51"/>
                  </a:cubicBezTo>
                  <a:cubicBezTo>
                    <a:pt x="198394" y="51"/>
                    <a:pt x="206098" y="3021"/>
                    <a:pt x="212074" y="8421"/>
                  </a:cubicBezTo>
                  <a:cubicBezTo>
                    <a:pt x="219382" y="15009"/>
                    <a:pt x="223270" y="24405"/>
                    <a:pt x="222766" y="34233"/>
                  </a:cubicBezTo>
                  <a:lnTo>
                    <a:pt x="221902" y="51045"/>
                  </a:lnTo>
                  <a:cubicBezTo>
                    <a:pt x="221506" y="59037"/>
                    <a:pt x="227680" y="65877"/>
                    <a:pt x="235672" y="66273"/>
                  </a:cubicBezTo>
                  <a:lnTo>
                    <a:pt x="236410" y="66291"/>
                  </a:lnTo>
                  <a:lnTo>
                    <a:pt x="237148" y="66273"/>
                  </a:lnTo>
                  <a:lnTo>
                    <a:pt x="253942" y="65409"/>
                  </a:lnTo>
                  <a:cubicBezTo>
                    <a:pt x="254536" y="65373"/>
                    <a:pt x="255130" y="65355"/>
                    <a:pt x="255724" y="65355"/>
                  </a:cubicBezTo>
                  <a:cubicBezTo>
                    <a:pt x="263698" y="65355"/>
                    <a:pt x="271402" y="68325"/>
                    <a:pt x="277396" y="73725"/>
                  </a:cubicBezTo>
                  <a:cubicBezTo>
                    <a:pt x="283840" y="79539"/>
                    <a:pt x="287638" y="87513"/>
                    <a:pt x="288088" y="96189"/>
                  </a:cubicBezTo>
                  <a:cubicBezTo>
                    <a:pt x="288592" y="105999"/>
                    <a:pt x="284704" y="115413"/>
                    <a:pt x="277396" y="122001"/>
                  </a:cubicBezTo>
                  <a:lnTo>
                    <a:pt x="264904" y="133287"/>
                  </a:lnTo>
                  <a:cubicBezTo>
                    <a:pt x="258964" y="138597"/>
                    <a:pt x="258442" y="147723"/>
                    <a:pt x="263734" y="153645"/>
                  </a:cubicBezTo>
                  <a:cubicBezTo>
                    <a:pt x="264094" y="154059"/>
                    <a:pt x="264472" y="154419"/>
                    <a:pt x="264868" y="154779"/>
                  </a:cubicBezTo>
                  <a:lnTo>
                    <a:pt x="277396" y="166101"/>
                  </a:lnTo>
                  <a:cubicBezTo>
                    <a:pt x="290698" y="178107"/>
                    <a:pt x="291760" y="198699"/>
                    <a:pt x="279754" y="212019"/>
                  </a:cubicBezTo>
                  <a:cubicBezTo>
                    <a:pt x="273598" y="218841"/>
                    <a:pt x="264760" y="222747"/>
                    <a:pt x="255490" y="222747"/>
                  </a:cubicBezTo>
                  <a:cubicBezTo>
                    <a:pt x="255490" y="222747"/>
                    <a:pt x="254482" y="222729"/>
                    <a:pt x="253978" y="222711"/>
                  </a:cubicBezTo>
                  <a:lnTo>
                    <a:pt x="237130" y="221847"/>
                  </a:lnTo>
                  <a:lnTo>
                    <a:pt x="236374" y="221829"/>
                  </a:lnTo>
                  <a:cubicBezTo>
                    <a:pt x="228778" y="221829"/>
                    <a:pt x="222298" y="228021"/>
                    <a:pt x="221902" y="235635"/>
                  </a:cubicBezTo>
                  <a:cubicBezTo>
                    <a:pt x="221884" y="236121"/>
                    <a:pt x="221884" y="236607"/>
                    <a:pt x="221902" y="237111"/>
                  </a:cubicBezTo>
                  <a:lnTo>
                    <a:pt x="222766" y="253905"/>
                  </a:lnTo>
                  <a:cubicBezTo>
                    <a:pt x="223216" y="262581"/>
                    <a:pt x="220264" y="270915"/>
                    <a:pt x="214450" y="277359"/>
                  </a:cubicBezTo>
                  <a:cubicBezTo>
                    <a:pt x="208636" y="283803"/>
                    <a:pt x="200662" y="287601"/>
                    <a:pt x="191986" y="288051"/>
                  </a:cubicBezTo>
                  <a:cubicBezTo>
                    <a:pt x="191446" y="288069"/>
                    <a:pt x="190942" y="288087"/>
                    <a:pt x="190438" y="288087"/>
                  </a:cubicBezTo>
                  <a:cubicBezTo>
                    <a:pt x="181168" y="288087"/>
                    <a:pt x="172330" y="284181"/>
                    <a:pt x="166174" y="277359"/>
                  </a:cubicBezTo>
                  <a:lnTo>
                    <a:pt x="154888" y="264867"/>
                  </a:lnTo>
                  <a:cubicBezTo>
                    <a:pt x="152152" y="261807"/>
                    <a:pt x="148228" y="260043"/>
                    <a:pt x="144106" y="260043"/>
                  </a:cubicBezTo>
                  <a:cubicBezTo>
                    <a:pt x="140560" y="260043"/>
                    <a:pt x="137158" y="261339"/>
                    <a:pt x="134512" y="263697"/>
                  </a:cubicBezTo>
                  <a:cubicBezTo>
                    <a:pt x="134116" y="264057"/>
                    <a:pt x="133738" y="264435"/>
                    <a:pt x="133378" y="264831"/>
                  </a:cubicBezTo>
                  <a:lnTo>
                    <a:pt x="121876" y="277395"/>
                  </a:lnTo>
                  <a:cubicBezTo>
                    <a:pt x="116098" y="283803"/>
                    <a:pt x="108124" y="287601"/>
                    <a:pt x="99448" y="288051"/>
                  </a:cubicBezTo>
                  <a:cubicBezTo>
                    <a:pt x="98908" y="288051"/>
                    <a:pt x="98332" y="288069"/>
                    <a:pt x="97774" y="288069"/>
                  </a:cubicBezTo>
                  <a:close/>
                  <a:moveTo>
                    <a:pt x="144124" y="242025"/>
                  </a:moveTo>
                  <a:cubicBezTo>
                    <a:pt x="153340" y="242025"/>
                    <a:pt x="162160" y="245967"/>
                    <a:pt x="168280" y="252807"/>
                  </a:cubicBezTo>
                  <a:lnTo>
                    <a:pt x="179530" y="265281"/>
                  </a:lnTo>
                  <a:cubicBezTo>
                    <a:pt x="182284" y="268323"/>
                    <a:pt x="186190" y="270069"/>
                    <a:pt x="190240" y="270069"/>
                  </a:cubicBezTo>
                  <a:lnTo>
                    <a:pt x="191050" y="270051"/>
                  </a:lnTo>
                  <a:cubicBezTo>
                    <a:pt x="194938" y="269853"/>
                    <a:pt x="198502" y="268161"/>
                    <a:pt x="201094" y="265281"/>
                  </a:cubicBezTo>
                  <a:cubicBezTo>
                    <a:pt x="203686" y="262401"/>
                    <a:pt x="205018" y="258693"/>
                    <a:pt x="204820" y="254823"/>
                  </a:cubicBezTo>
                  <a:lnTo>
                    <a:pt x="203956" y="238011"/>
                  </a:lnTo>
                  <a:cubicBezTo>
                    <a:pt x="203902" y="236913"/>
                    <a:pt x="203902" y="235815"/>
                    <a:pt x="203956" y="234717"/>
                  </a:cubicBezTo>
                  <a:cubicBezTo>
                    <a:pt x="204838" y="217401"/>
                    <a:pt x="219148" y="203829"/>
                    <a:pt x="236572" y="203829"/>
                  </a:cubicBezTo>
                  <a:cubicBezTo>
                    <a:pt x="237058" y="203829"/>
                    <a:pt x="237562" y="203847"/>
                    <a:pt x="238048" y="203865"/>
                  </a:cubicBezTo>
                  <a:lnTo>
                    <a:pt x="254896" y="204729"/>
                  </a:lnTo>
                  <a:lnTo>
                    <a:pt x="255634" y="204747"/>
                  </a:lnTo>
                  <a:cubicBezTo>
                    <a:pt x="259738" y="204747"/>
                    <a:pt x="263662" y="203001"/>
                    <a:pt x="266416" y="199959"/>
                  </a:cubicBezTo>
                  <a:cubicBezTo>
                    <a:pt x="271762" y="194019"/>
                    <a:pt x="271294" y="184821"/>
                    <a:pt x="265354" y="179475"/>
                  </a:cubicBezTo>
                  <a:lnTo>
                    <a:pt x="252862" y="168189"/>
                  </a:lnTo>
                  <a:cubicBezTo>
                    <a:pt x="252016" y="167433"/>
                    <a:pt x="251152" y="166569"/>
                    <a:pt x="250342" y="165669"/>
                  </a:cubicBezTo>
                  <a:cubicBezTo>
                    <a:pt x="238444" y="152349"/>
                    <a:pt x="239578" y="131847"/>
                    <a:pt x="252898" y="119931"/>
                  </a:cubicBezTo>
                  <a:lnTo>
                    <a:pt x="265372" y="108681"/>
                  </a:lnTo>
                  <a:cubicBezTo>
                    <a:pt x="268630" y="105729"/>
                    <a:pt x="270376" y="101535"/>
                    <a:pt x="270142" y="97161"/>
                  </a:cubicBezTo>
                  <a:cubicBezTo>
                    <a:pt x="269944" y="93291"/>
                    <a:pt x="268252" y="89727"/>
                    <a:pt x="265372" y="87135"/>
                  </a:cubicBezTo>
                  <a:cubicBezTo>
                    <a:pt x="262654" y="84705"/>
                    <a:pt x="259324" y="83409"/>
                    <a:pt x="255724" y="83409"/>
                  </a:cubicBezTo>
                  <a:lnTo>
                    <a:pt x="254932" y="83427"/>
                  </a:lnTo>
                  <a:lnTo>
                    <a:pt x="238102" y="84291"/>
                  </a:lnTo>
                  <a:cubicBezTo>
                    <a:pt x="237562" y="84309"/>
                    <a:pt x="237004" y="84327"/>
                    <a:pt x="236464" y="84327"/>
                  </a:cubicBezTo>
                  <a:cubicBezTo>
                    <a:pt x="235906" y="84327"/>
                    <a:pt x="235348" y="84309"/>
                    <a:pt x="234808" y="84273"/>
                  </a:cubicBezTo>
                  <a:cubicBezTo>
                    <a:pt x="226168" y="83841"/>
                    <a:pt x="218194" y="80043"/>
                    <a:pt x="212344" y="73599"/>
                  </a:cubicBezTo>
                  <a:cubicBezTo>
                    <a:pt x="206494" y="67155"/>
                    <a:pt x="203542" y="58821"/>
                    <a:pt x="203974" y="50163"/>
                  </a:cubicBezTo>
                  <a:lnTo>
                    <a:pt x="204838" y="33333"/>
                  </a:lnTo>
                  <a:cubicBezTo>
                    <a:pt x="205054" y="28941"/>
                    <a:pt x="203326" y="24747"/>
                    <a:pt x="200068" y="21813"/>
                  </a:cubicBezTo>
                  <a:cubicBezTo>
                    <a:pt x="197350" y="19365"/>
                    <a:pt x="194020" y="18069"/>
                    <a:pt x="190402" y="18069"/>
                  </a:cubicBezTo>
                  <a:lnTo>
                    <a:pt x="189610" y="18087"/>
                  </a:lnTo>
                  <a:cubicBezTo>
                    <a:pt x="185740" y="18285"/>
                    <a:pt x="182176" y="19977"/>
                    <a:pt x="179584" y="22857"/>
                  </a:cubicBezTo>
                  <a:lnTo>
                    <a:pt x="168154" y="35367"/>
                  </a:lnTo>
                  <a:cubicBezTo>
                    <a:pt x="167398" y="36213"/>
                    <a:pt x="166552" y="37059"/>
                    <a:pt x="165634" y="37869"/>
                  </a:cubicBezTo>
                  <a:cubicBezTo>
                    <a:pt x="159694" y="43179"/>
                    <a:pt x="152044" y="46113"/>
                    <a:pt x="144106" y="46113"/>
                  </a:cubicBezTo>
                  <a:cubicBezTo>
                    <a:pt x="143476" y="46113"/>
                    <a:pt x="142864" y="46095"/>
                    <a:pt x="142234" y="46059"/>
                  </a:cubicBezTo>
                  <a:cubicBezTo>
                    <a:pt x="133612" y="45573"/>
                    <a:pt x="125674" y="41775"/>
                    <a:pt x="119914" y="35331"/>
                  </a:cubicBezTo>
                  <a:lnTo>
                    <a:pt x="108592" y="22875"/>
                  </a:lnTo>
                  <a:cubicBezTo>
                    <a:pt x="105856" y="19869"/>
                    <a:pt x="101968" y="18141"/>
                    <a:pt x="97936" y="18141"/>
                  </a:cubicBezTo>
                  <a:lnTo>
                    <a:pt x="97198" y="18159"/>
                  </a:lnTo>
                  <a:cubicBezTo>
                    <a:pt x="93328" y="18357"/>
                    <a:pt x="89764" y="20031"/>
                    <a:pt x="87136" y="22911"/>
                  </a:cubicBezTo>
                  <a:cubicBezTo>
                    <a:pt x="84544" y="25773"/>
                    <a:pt x="83194" y="29481"/>
                    <a:pt x="83392" y="33351"/>
                  </a:cubicBezTo>
                  <a:lnTo>
                    <a:pt x="84256" y="50181"/>
                  </a:lnTo>
                  <a:cubicBezTo>
                    <a:pt x="84310" y="51279"/>
                    <a:pt x="84310" y="52377"/>
                    <a:pt x="84256" y="53457"/>
                  </a:cubicBezTo>
                  <a:cubicBezTo>
                    <a:pt x="83392" y="70773"/>
                    <a:pt x="69064" y="84345"/>
                    <a:pt x="51640" y="84345"/>
                  </a:cubicBezTo>
                  <a:cubicBezTo>
                    <a:pt x="51154" y="84345"/>
                    <a:pt x="50650" y="84327"/>
                    <a:pt x="50164" y="84309"/>
                  </a:cubicBezTo>
                  <a:lnTo>
                    <a:pt x="33316" y="83445"/>
                  </a:lnTo>
                  <a:lnTo>
                    <a:pt x="32524" y="83427"/>
                  </a:lnTo>
                  <a:cubicBezTo>
                    <a:pt x="28384" y="83427"/>
                    <a:pt x="24568" y="85119"/>
                    <a:pt x="21796" y="88215"/>
                  </a:cubicBezTo>
                  <a:cubicBezTo>
                    <a:pt x="19204" y="91095"/>
                    <a:pt x="17872" y="94803"/>
                    <a:pt x="18070" y="98673"/>
                  </a:cubicBezTo>
                  <a:cubicBezTo>
                    <a:pt x="18268" y="102543"/>
                    <a:pt x="19960" y="106107"/>
                    <a:pt x="22840" y="108699"/>
                  </a:cubicBezTo>
                  <a:lnTo>
                    <a:pt x="35332" y="120003"/>
                  </a:lnTo>
                  <a:cubicBezTo>
                    <a:pt x="36196" y="120777"/>
                    <a:pt x="37042" y="121623"/>
                    <a:pt x="37834" y="122505"/>
                  </a:cubicBezTo>
                  <a:cubicBezTo>
                    <a:pt x="49750" y="135825"/>
                    <a:pt x="48598" y="156363"/>
                    <a:pt x="35296" y="168261"/>
                  </a:cubicBezTo>
                  <a:lnTo>
                    <a:pt x="22840" y="179511"/>
                  </a:lnTo>
                  <a:cubicBezTo>
                    <a:pt x="19654" y="182409"/>
                    <a:pt x="17926" y="186549"/>
                    <a:pt x="18124" y="190887"/>
                  </a:cubicBezTo>
                  <a:cubicBezTo>
                    <a:pt x="18484" y="198645"/>
                    <a:pt x="24856" y="204729"/>
                    <a:pt x="32668" y="204729"/>
                  </a:cubicBezTo>
                  <a:lnTo>
                    <a:pt x="33298" y="204711"/>
                  </a:lnTo>
                  <a:lnTo>
                    <a:pt x="50038" y="203847"/>
                  </a:lnTo>
                  <a:cubicBezTo>
                    <a:pt x="50596" y="203829"/>
                    <a:pt x="51136" y="203811"/>
                    <a:pt x="51676" y="203811"/>
                  </a:cubicBezTo>
                  <a:cubicBezTo>
                    <a:pt x="52216" y="203811"/>
                    <a:pt x="52756" y="203829"/>
                    <a:pt x="53296" y="203847"/>
                  </a:cubicBezTo>
                  <a:cubicBezTo>
                    <a:pt x="61972" y="204279"/>
                    <a:pt x="69964" y="208077"/>
                    <a:pt x="75796" y="214539"/>
                  </a:cubicBezTo>
                  <a:cubicBezTo>
                    <a:pt x="81628" y="220983"/>
                    <a:pt x="84598" y="229317"/>
                    <a:pt x="84166" y="237975"/>
                  </a:cubicBezTo>
                  <a:lnTo>
                    <a:pt x="83302" y="254805"/>
                  </a:lnTo>
                  <a:cubicBezTo>
                    <a:pt x="83068" y="259179"/>
                    <a:pt x="84814" y="263391"/>
                    <a:pt x="88072" y="266325"/>
                  </a:cubicBezTo>
                  <a:cubicBezTo>
                    <a:pt x="90736" y="268737"/>
                    <a:pt x="94192" y="270051"/>
                    <a:pt x="97774" y="270051"/>
                  </a:cubicBezTo>
                  <a:cubicBezTo>
                    <a:pt x="101878" y="270051"/>
                    <a:pt x="105820" y="268305"/>
                    <a:pt x="108556" y="265263"/>
                  </a:cubicBezTo>
                  <a:lnTo>
                    <a:pt x="120040" y="252717"/>
                  </a:lnTo>
                  <a:cubicBezTo>
                    <a:pt x="120760" y="251907"/>
                    <a:pt x="121624" y="251043"/>
                    <a:pt x="122524" y="250251"/>
                  </a:cubicBezTo>
                  <a:cubicBezTo>
                    <a:pt x="128464" y="244959"/>
                    <a:pt x="136132" y="242025"/>
                    <a:pt x="144124" y="242025"/>
                  </a:cubicBezTo>
                  <a:close/>
                </a:path>
              </a:pathLst>
            </a:custGeom>
            <a:solidFill>
              <a:srgbClr val="D70F37"/>
            </a:solidFill>
            <a:ln w="17858" cap="flat">
              <a:noFill/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ADD17D75-D8BF-DC21-7A28-59E9428356EE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-5124541" y="2445712"/>
              <a:ext cx="144000" cy="144000"/>
            </a:xfrm>
            <a:custGeom>
              <a:avLst/>
              <a:gdLst>
                <a:gd name="csX0" fmla="*/ 72025 w 144000"/>
                <a:gd name="csY0" fmla="*/ 144051 h 144000"/>
                <a:gd name="csX1" fmla="*/ 25 w 144000"/>
                <a:gd name="csY1" fmla="*/ 72051 h 144000"/>
                <a:gd name="csX2" fmla="*/ 72025 w 144000"/>
                <a:gd name="csY2" fmla="*/ 51 h 144000"/>
                <a:gd name="csX3" fmla="*/ 144025 w 144000"/>
                <a:gd name="csY3" fmla="*/ 72051 h 144000"/>
                <a:gd name="csX4" fmla="*/ 72025 w 144000"/>
                <a:gd name="csY4" fmla="*/ 144051 h 144000"/>
                <a:gd name="csX5" fmla="*/ 72025 w 144000"/>
                <a:gd name="csY5" fmla="*/ 18051 h 144000"/>
                <a:gd name="csX6" fmla="*/ 18025 w 144000"/>
                <a:gd name="csY6" fmla="*/ 72051 h 144000"/>
                <a:gd name="csX7" fmla="*/ 72025 w 144000"/>
                <a:gd name="csY7" fmla="*/ 126051 h 144000"/>
                <a:gd name="csX8" fmla="*/ 126025 w 144000"/>
                <a:gd name="csY8" fmla="*/ 72051 h 144000"/>
                <a:gd name="csX9" fmla="*/ 72025 w 144000"/>
                <a:gd name="csY9" fmla="*/ 18051 h 14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144000" h="144000">
                  <a:moveTo>
                    <a:pt x="72025" y="144051"/>
                  </a:moveTo>
                  <a:cubicBezTo>
                    <a:pt x="32317" y="144051"/>
                    <a:pt x="25" y="111759"/>
                    <a:pt x="25" y="72051"/>
                  </a:cubicBezTo>
                  <a:cubicBezTo>
                    <a:pt x="25" y="32343"/>
                    <a:pt x="32317" y="51"/>
                    <a:pt x="72025" y="51"/>
                  </a:cubicBezTo>
                  <a:cubicBezTo>
                    <a:pt x="111733" y="51"/>
                    <a:pt x="144025" y="32343"/>
                    <a:pt x="144025" y="72051"/>
                  </a:cubicBezTo>
                  <a:cubicBezTo>
                    <a:pt x="144025" y="111759"/>
                    <a:pt x="111733" y="144051"/>
                    <a:pt x="72025" y="144051"/>
                  </a:cubicBezTo>
                  <a:close/>
                  <a:moveTo>
                    <a:pt x="72025" y="18051"/>
                  </a:moveTo>
                  <a:cubicBezTo>
                    <a:pt x="42253" y="18051"/>
                    <a:pt x="18025" y="42279"/>
                    <a:pt x="18025" y="72051"/>
                  </a:cubicBezTo>
                  <a:cubicBezTo>
                    <a:pt x="18025" y="101823"/>
                    <a:pt x="42253" y="126051"/>
                    <a:pt x="72025" y="126051"/>
                  </a:cubicBezTo>
                  <a:cubicBezTo>
                    <a:pt x="101797" y="126051"/>
                    <a:pt x="126025" y="101823"/>
                    <a:pt x="126025" y="72051"/>
                  </a:cubicBezTo>
                  <a:cubicBezTo>
                    <a:pt x="126025" y="42279"/>
                    <a:pt x="101797" y="18051"/>
                    <a:pt x="72025" y="18051"/>
                  </a:cubicBezTo>
                  <a:close/>
                </a:path>
              </a:pathLst>
            </a:custGeom>
            <a:solidFill>
              <a:srgbClr val="D70F37"/>
            </a:solidFill>
            <a:ln w="17858" cap="flat">
              <a:noFill/>
              <a:prstDash val="solid"/>
              <a:rou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41" name="Ellipse 140">
            <a:extLst>
              <a:ext uri="{FF2B5EF4-FFF2-40B4-BE49-F238E27FC236}">
                <a16:creationId xmlns:a16="http://schemas.microsoft.com/office/drawing/2014/main" id="{86A126B9-D333-EACA-6FFC-9915A3A71418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6123304" y="3220157"/>
            <a:ext cx="495856" cy="49585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787FD0EC-86B4-3D60-9CC3-7F1CDB82DCEA}"/>
              </a:ext>
            </a:extLst>
          </p:cNvPr>
          <p:cNvGrpSpPr/>
          <p:nvPr/>
        </p:nvGrpSpPr>
        <p:grpSpPr>
          <a:xfrm>
            <a:off x="6163220" y="3123452"/>
            <a:ext cx="489957" cy="471215"/>
            <a:chOff x="7398005" y="4311387"/>
            <a:chExt cx="233967" cy="225017"/>
          </a:xfrm>
        </p:grpSpPr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BBE80BCA-A01F-9456-A3EE-8AB17E451320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501480" y="4464406"/>
              <a:ext cx="27000" cy="27000"/>
            </a:xfrm>
            <a:custGeom>
              <a:avLst/>
              <a:gdLst>
                <a:gd name="csX0" fmla="*/ 23038 w 27000"/>
                <a:gd name="csY0" fmla="*/ 3944 h 27000"/>
                <a:gd name="csX1" fmla="*/ 23038 w 27000"/>
                <a:gd name="csY1" fmla="*/ 23036 h 27000"/>
                <a:gd name="csX2" fmla="*/ 3945 w 27000"/>
                <a:gd name="csY2" fmla="*/ 23036 h 27000"/>
                <a:gd name="csX3" fmla="*/ 3945 w 27000"/>
                <a:gd name="csY3" fmla="*/ 3944 h 27000"/>
                <a:gd name="csX4" fmla="*/ 23038 w 27000"/>
                <a:gd name="csY4" fmla="*/ 3944 h 27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27000" h="27000">
                  <a:moveTo>
                    <a:pt x="23038" y="3944"/>
                  </a:moveTo>
                  <a:cubicBezTo>
                    <a:pt x="28310" y="9216"/>
                    <a:pt x="28310" y="17764"/>
                    <a:pt x="23038" y="23036"/>
                  </a:cubicBezTo>
                  <a:cubicBezTo>
                    <a:pt x="17766" y="28309"/>
                    <a:pt x="9218" y="28309"/>
                    <a:pt x="3945" y="23036"/>
                  </a:cubicBezTo>
                  <a:cubicBezTo>
                    <a:pt x="-1327" y="17764"/>
                    <a:pt x="-1327" y="9216"/>
                    <a:pt x="3945" y="3944"/>
                  </a:cubicBezTo>
                  <a:cubicBezTo>
                    <a:pt x="9218" y="-1328"/>
                    <a:pt x="17766" y="-1328"/>
                    <a:pt x="23038" y="3944"/>
                  </a:cubicBezTo>
                </a:path>
              </a:pathLst>
            </a:custGeom>
            <a:solidFill>
              <a:schemeClr val="accent1"/>
            </a:solidFill>
            <a:ln w="17860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15B523B5-7FF3-4608-D5C2-8C2178D2E2C3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7505982" y="4374406"/>
              <a:ext cx="18000" cy="71999"/>
            </a:xfrm>
            <a:custGeom>
              <a:avLst/>
              <a:gdLst>
                <a:gd name="csX0" fmla="*/ 8991 w 18000"/>
                <a:gd name="csY0" fmla="*/ 71991 h 71999"/>
                <a:gd name="csX1" fmla="*/ -9 w 18000"/>
                <a:gd name="csY1" fmla="*/ 62991 h 71999"/>
                <a:gd name="csX2" fmla="*/ -9 w 18000"/>
                <a:gd name="csY2" fmla="*/ 8991 h 71999"/>
                <a:gd name="csX3" fmla="*/ 8991 w 18000"/>
                <a:gd name="csY3" fmla="*/ -9 h 71999"/>
                <a:gd name="csX4" fmla="*/ 17991 w 18000"/>
                <a:gd name="csY4" fmla="*/ 8991 h 71999"/>
                <a:gd name="csX5" fmla="*/ 17991 w 18000"/>
                <a:gd name="csY5" fmla="*/ 62991 h 71999"/>
                <a:gd name="csX6" fmla="*/ 8991 w 18000"/>
                <a:gd name="csY6" fmla="*/ 71991 h 7199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18000" h="71999">
                  <a:moveTo>
                    <a:pt x="8991" y="71991"/>
                  </a:moveTo>
                  <a:cubicBezTo>
                    <a:pt x="4023" y="71991"/>
                    <a:pt x="-9" y="67960"/>
                    <a:pt x="-9" y="62991"/>
                  </a:cubicBezTo>
                  <a:lnTo>
                    <a:pt x="-9" y="8991"/>
                  </a:lnTo>
                  <a:cubicBezTo>
                    <a:pt x="-9" y="4023"/>
                    <a:pt x="4023" y="-9"/>
                    <a:pt x="8991" y="-9"/>
                  </a:cubicBezTo>
                  <a:cubicBezTo>
                    <a:pt x="13959" y="-9"/>
                    <a:pt x="17991" y="4023"/>
                    <a:pt x="17991" y="8991"/>
                  </a:cubicBezTo>
                  <a:lnTo>
                    <a:pt x="17991" y="62991"/>
                  </a:lnTo>
                  <a:cubicBezTo>
                    <a:pt x="17991" y="67960"/>
                    <a:pt x="13959" y="71991"/>
                    <a:pt x="8991" y="71991"/>
                  </a:cubicBezTo>
                  <a:close/>
                </a:path>
              </a:pathLst>
            </a:custGeom>
            <a:solidFill>
              <a:schemeClr val="accent1"/>
            </a:solidFill>
            <a:ln w="17860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296AEFD5-646B-0609-1F56-656D0546B547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7398005" y="4311387"/>
              <a:ext cx="233967" cy="225017"/>
            </a:xfrm>
            <a:custGeom>
              <a:avLst/>
              <a:gdLst>
                <a:gd name="csX0" fmla="*/ 25960 w 233967"/>
                <a:gd name="csY0" fmla="*/ 225009 h 225017"/>
                <a:gd name="csX1" fmla="*/ 3802 w 233967"/>
                <a:gd name="csY1" fmla="*/ 212643 h 225017"/>
                <a:gd name="csX2" fmla="*/ 2920 w 233967"/>
                <a:gd name="csY2" fmla="*/ 187281 h 225017"/>
                <a:gd name="csX3" fmla="*/ 93910 w 233967"/>
                <a:gd name="csY3" fmla="*/ 13869 h 225017"/>
                <a:gd name="csX4" fmla="*/ 104674 w 233967"/>
                <a:gd name="csY4" fmla="*/ 3087 h 225017"/>
                <a:gd name="csX5" fmla="*/ 116932 w 233967"/>
                <a:gd name="csY5" fmla="*/ -9 h 225017"/>
                <a:gd name="csX6" fmla="*/ 124546 w 233967"/>
                <a:gd name="csY6" fmla="*/ 1125 h 225017"/>
                <a:gd name="csX7" fmla="*/ 139918 w 233967"/>
                <a:gd name="csY7" fmla="*/ 13689 h 225017"/>
                <a:gd name="csX8" fmla="*/ 231034 w 233967"/>
                <a:gd name="csY8" fmla="*/ 187281 h 225017"/>
                <a:gd name="csX9" fmla="*/ 230170 w 233967"/>
                <a:gd name="csY9" fmla="*/ 212643 h 225017"/>
                <a:gd name="csX10" fmla="*/ 208012 w 233967"/>
                <a:gd name="csY10" fmla="*/ 225009 h 225017"/>
                <a:gd name="csX11" fmla="*/ 25960 w 233967"/>
                <a:gd name="csY11" fmla="*/ 225009 h 225017"/>
                <a:gd name="csX12" fmla="*/ 116950 w 233967"/>
                <a:gd name="csY12" fmla="*/ 18009 h 225017"/>
                <a:gd name="csX13" fmla="*/ 113152 w 233967"/>
                <a:gd name="csY13" fmla="*/ 18981 h 225017"/>
                <a:gd name="csX14" fmla="*/ 109822 w 233967"/>
                <a:gd name="csY14" fmla="*/ 22311 h 225017"/>
                <a:gd name="csX15" fmla="*/ 18850 w 233967"/>
                <a:gd name="csY15" fmla="*/ 195669 h 225017"/>
                <a:gd name="csX16" fmla="*/ 19120 w 233967"/>
                <a:gd name="csY16" fmla="*/ 203193 h 225017"/>
                <a:gd name="csX17" fmla="*/ 25942 w 233967"/>
                <a:gd name="csY17" fmla="*/ 207009 h 225017"/>
                <a:gd name="csX18" fmla="*/ 207994 w 233967"/>
                <a:gd name="csY18" fmla="*/ 207009 h 225017"/>
                <a:gd name="csX19" fmla="*/ 214870 w 233967"/>
                <a:gd name="csY19" fmla="*/ 203193 h 225017"/>
                <a:gd name="csX20" fmla="*/ 215122 w 233967"/>
                <a:gd name="csY20" fmla="*/ 195669 h 225017"/>
                <a:gd name="csX21" fmla="*/ 124114 w 233967"/>
                <a:gd name="csY21" fmla="*/ 22257 h 225017"/>
                <a:gd name="csX22" fmla="*/ 119344 w 233967"/>
                <a:gd name="csY22" fmla="*/ 18369 h 225017"/>
                <a:gd name="csX23" fmla="*/ 116950 w 233967"/>
                <a:gd name="csY23" fmla="*/ 18009 h 22501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</a:cxnLst>
              <a:rect l="l" t="t" r="r" b="b"/>
              <a:pathLst>
                <a:path w="233967" h="225017">
                  <a:moveTo>
                    <a:pt x="25960" y="225009"/>
                  </a:moveTo>
                  <a:cubicBezTo>
                    <a:pt x="16978" y="225009"/>
                    <a:pt x="8500" y="220275"/>
                    <a:pt x="3802" y="212643"/>
                  </a:cubicBezTo>
                  <a:cubicBezTo>
                    <a:pt x="-950" y="204975"/>
                    <a:pt x="-1274" y="195255"/>
                    <a:pt x="2920" y="187281"/>
                  </a:cubicBezTo>
                  <a:lnTo>
                    <a:pt x="93910" y="13869"/>
                  </a:lnTo>
                  <a:cubicBezTo>
                    <a:pt x="96376" y="9243"/>
                    <a:pt x="100102" y="5517"/>
                    <a:pt x="104674" y="3087"/>
                  </a:cubicBezTo>
                  <a:cubicBezTo>
                    <a:pt x="108454" y="1071"/>
                    <a:pt x="112702" y="-9"/>
                    <a:pt x="116932" y="-9"/>
                  </a:cubicBezTo>
                  <a:cubicBezTo>
                    <a:pt x="119506" y="-9"/>
                    <a:pt x="122062" y="369"/>
                    <a:pt x="124546" y="1125"/>
                  </a:cubicBezTo>
                  <a:cubicBezTo>
                    <a:pt x="131170" y="3141"/>
                    <a:pt x="136624" y="7605"/>
                    <a:pt x="139918" y="13689"/>
                  </a:cubicBezTo>
                  <a:cubicBezTo>
                    <a:pt x="139972" y="13779"/>
                    <a:pt x="231034" y="187281"/>
                    <a:pt x="231034" y="187281"/>
                  </a:cubicBezTo>
                  <a:cubicBezTo>
                    <a:pt x="235228" y="195255"/>
                    <a:pt x="234886" y="204957"/>
                    <a:pt x="230170" y="212643"/>
                  </a:cubicBezTo>
                  <a:cubicBezTo>
                    <a:pt x="225454" y="220275"/>
                    <a:pt x="216958" y="225009"/>
                    <a:pt x="208012" y="225009"/>
                  </a:cubicBezTo>
                  <a:lnTo>
                    <a:pt x="25960" y="225009"/>
                  </a:lnTo>
                  <a:close/>
                  <a:moveTo>
                    <a:pt x="116950" y="18009"/>
                  </a:moveTo>
                  <a:cubicBezTo>
                    <a:pt x="115636" y="18009"/>
                    <a:pt x="114340" y="18333"/>
                    <a:pt x="113152" y="18981"/>
                  </a:cubicBezTo>
                  <a:cubicBezTo>
                    <a:pt x="111730" y="19737"/>
                    <a:pt x="110578" y="20889"/>
                    <a:pt x="109822" y="22311"/>
                  </a:cubicBezTo>
                  <a:lnTo>
                    <a:pt x="18850" y="195669"/>
                  </a:lnTo>
                  <a:cubicBezTo>
                    <a:pt x="17608" y="198045"/>
                    <a:pt x="17698" y="200925"/>
                    <a:pt x="19120" y="203193"/>
                  </a:cubicBezTo>
                  <a:cubicBezTo>
                    <a:pt x="20578" y="205551"/>
                    <a:pt x="23188" y="207009"/>
                    <a:pt x="25942" y="207009"/>
                  </a:cubicBezTo>
                  <a:lnTo>
                    <a:pt x="207994" y="207009"/>
                  </a:lnTo>
                  <a:cubicBezTo>
                    <a:pt x="210784" y="207009"/>
                    <a:pt x="213412" y="205551"/>
                    <a:pt x="214870" y="203193"/>
                  </a:cubicBezTo>
                  <a:cubicBezTo>
                    <a:pt x="216274" y="200925"/>
                    <a:pt x="216364" y="198027"/>
                    <a:pt x="215122" y="195669"/>
                  </a:cubicBezTo>
                  <a:lnTo>
                    <a:pt x="124114" y="22257"/>
                  </a:lnTo>
                  <a:cubicBezTo>
                    <a:pt x="123106" y="20385"/>
                    <a:pt x="121414" y="18999"/>
                    <a:pt x="119344" y="18369"/>
                  </a:cubicBezTo>
                  <a:cubicBezTo>
                    <a:pt x="118534" y="18135"/>
                    <a:pt x="117742" y="18009"/>
                    <a:pt x="116950" y="18009"/>
                  </a:cubicBezTo>
                  <a:close/>
                </a:path>
              </a:pathLst>
            </a:custGeom>
            <a:solidFill>
              <a:schemeClr val="accent1"/>
            </a:solidFill>
            <a:ln w="17860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43" name="Textfeld 142">
            <a:extLst>
              <a:ext uri="{FF2B5EF4-FFF2-40B4-BE49-F238E27FC236}">
                <a16:creationId xmlns:a16="http://schemas.microsoft.com/office/drawing/2014/main" id="{63CB1929-BE05-FA45-2DC6-AB280BCD55B8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8887768" y="3253437"/>
            <a:ext cx="1719111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4"/>
            <a:r>
              <a:rPr lang="de-DE" sz="1200" dirty="0">
                <a:solidFill>
                  <a:schemeClr val="accent1"/>
                </a:solidFill>
                <a:latin typeface="+mj-lt"/>
              </a:rPr>
              <a:t>Beispiele:</a:t>
            </a:r>
          </a:p>
          <a:p>
            <a:pPr marL="0" lvl="4"/>
            <a:endParaRPr lang="de-DE" sz="1200" dirty="0"/>
          </a:p>
          <a:p>
            <a:pPr marL="0" lvl="4"/>
            <a:r>
              <a:rPr lang="de-DE" sz="1200" dirty="0">
                <a:latin typeface="+mj-lt"/>
              </a:rPr>
              <a:t>Projekt 1: </a:t>
            </a:r>
            <a:r>
              <a:rPr lang="de-DE" sz="1200" dirty="0"/>
              <a:t>Einführung eines Patch-managements</a:t>
            </a:r>
          </a:p>
          <a:p>
            <a:pPr marL="0" lvl="4"/>
            <a:endParaRPr lang="de-DE" sz="1200" dirty="0"/>
          </a:p>
          <a:p>
            <a:pPr marL="0" lvl="4"/>
            <a:r>
              <a:rPr lang="de-DE" sz="1200" dirty="0">
                <a:latin typeface="+mj-lt"/>
              </a:rPr>
              <a:t>Projekt 2:</a:t>
            </a:r>
            <a:r>
              <a:rPr lang="de-DE" sz="1200" dirty="0"/>
              <a:t> Einführung einer PKI-Lösung</a:t>
            </a:r>
          </a:p>
          <a:p>
            <a:pPr marL="0" lvl="4"/>
            <a:endParaRPr lang="de-DE" sz="1200" dirty="0">
              <a:latin typeface="+mj-lt"/>
            </a:endParaRPr>
          </a:p>
          <a:p>
            <a:pPr marL="0" lvl="4"/>
            <a:r>
              <a:rPr lang="de-DE" sz="1200" dirty="0">
                <a:latin typeface="+mj-lt"/>
              </a:rPr>
              <a:t>Projekt 3: </a:t>
            </a:r>
            <a:r>
              <a:rPr lang="de-DE" sz="1200" dirty="0"/>
              <a:t>Einführung einer Monitoring Software</a:t>
            </a:r>
          </a:p>
          <a:p>
            <a:pPr marL="1524000"/>
            <a:endParaRPr lang="de-DE" dirty="0"/>
          </a:p>
        </p:txBody>
      </p:sp>
      <p:pic>
        <p:nvPicPr>
          <p:cNvPr id="150" name="Grafik 149">
            <a:extLst>
              <a:ext uri="{FF2B5EF4-FFF2-40B4-BE49-F238E27FC236}">
                <a16:creationId xmlns:a16="http://schemas.microsoft.com/office/drawing/2014/main" id="{291A1AD2-BFE3-5F02-0615-09A0B20967C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7974839" y="4907964"/>
            <a:ext cx="432000" cy="432000"/>
          </a:xfrm>
          <a:prstGeom prst="rect">
            <a:avLst/>
          </a:prstGeom>
        </p:spPr>
      </p:pic>
      <p:pic>
        <p:nvPicPr>
          <p:cNvPr id="151" name="Grafik 150">
            <a:extLst>
              <a:ext uri="{FF2B5EF4-FFF2-40B4-BE49-F238E27FC236}">
                <a16:creationId xmlns:a16="http://schemas.microsoft.com/office/drawing/2014/main" id="{977B65D6-A6A6-0A5C-FDAB-C9153011BC4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0143906" y="3119115"/>
            <a:ext cx="432000" cy="432000"/>
          </a:xfrm>
          <a:prstGeom prst="rect">
            <a:avLst/>
          </a:prstGeom>
        </p:spPr>
      </p:pic>
      <p:cxnSp>
        <p:nvCxnSpPr>
          <p:cNvPr id="153" name="Gerader Verbinder 152">
            <a:extLst>
              <a:ext uri="{FF2B5EF4-FFF2-40B4-BE49-F238E27FC236}">
                <a16:creationId xmlns:a16="http://schemas.microsoft.com/office/drawing/2014/main" id="{E2F8503D-F6E1-94D9-C918-DB696866A3CC}"/>
              </a:ext>
            </a:extLst>
          </p:cNvPr>
          <p:cNvCxnSpPr/>
          <p:nvPr/>
        </p:nvCxnSpPr>
        <p:spPr>
          <a:xfrm>
            <a:off x="5760244" y="4308475"/>
            <a:ext cx="751973" cy="0"/>
          </a:xfrm>
          <a:prstGeom prst="line">
            <a:avLst/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1959674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190521-5AFA-3545-8225-1B2F5286E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hr persönlicher Ansprechpartner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88BDD583-795F-ED4B-8A7C-AA11DDD238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lvl="1" indent="-246845" algn="l" defTabSz="894003">
              <a:lnSpc>
                <a:spcPct val="100000"/>
              </a:lnSpc>
              <a:spcBef>
                <a:spcPts val="0"/>
              </a:spcBef>
              <a:spcAft>
                <a:spcPts val="514"/>
              </a:spcAft>
              <a:buClr>
                <a:srgbClr val="E2003B"/>
              </a:buClr>
              <a:buSzPct val="100000"/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Björn Huber-Puls		secunet Security Networks AG</a:t>
            </a:r>
          </a:p>
          <a:p>
            <a:pPr lvl="0" defTabSz="894003">
              <a:lnSpc>
                <a:spcPct val="100000"/>
              </a:lnSpc>
              <a:spcBef>
                <a:spcPts val="0"/>
              </a:spcBef>
              <a:spcAft>
                <a:spcPts val="514"/>
              </a:spcAft>
            </a:pPr>
            <a:r>
              <a:rPr lang="en-GB" sz="1000" dirty="0">
                <a:solidFill>
                  <a:srgbClr val="FFFFFF"/>
                </a:solidFill>
                <a:latin typeface="Arial"/>
              </a:rPr>
              <a:t>Principal			</a:t>
            </a:r>
            <a:r>
              <a:rPr lang="en-GB" sz="1000" dirty="0" err="1">
                <a:solidFill>
                  <a:srgbClr val="FFFFFF"/>
                </a:solidFill>
                <a:latin typeface="Arial"/>
              </a:rPr>
              <a:t>Kurfürstenstraße</a:t>
            </a:r>
            <a:r>
              <a:rPr lang="en-GB" sz="1000" dirty="0">
                <a:solidFill>
                  <a:srgbClr val="FFFFFF"/>
                </a:solidFill>
                <a:latin typeface="Arial"/>
              </a:rPr>
              <a:t> 58</a:t>
            </a:r>
            <a:br>
              <a:rPr lang="en-GB" sz="1000" dirty="0">
                <a:solidFill>
                  <a:srgbClr val="FFFFFF"/>
                </a:solidFill>
                <a:latin typeface="Arial"/>
              </a:rPr>
            </a:br>
            <a:r>
              <a:rPr lang="en-GB" sz="1000" dirty="0">
                <a:solidFill>
                  <a:srgbClr val="FFFFFF"/>
                </a:solidFill>
                <a:latin typeface="Arial"/>
              </a:rPr>
              <a:t>Management Systems &amp; Audit		45138 Essen</a:t>
            </a:r>
            <a:br>
              <a:rPr lang="en-GB" sz="1000" dirty="0">
                <a:solidFill>
                  <a:srgbClr val="FFFFFF"/>
                </a:solidFill>
                <a:latin typeface="Arial"/>
              </a:rPr>
            </a:br>
            <a:r>
              <a:rPr lang="en-GB" sz="1000" dirty="0">
                <a:solidFill>
                  <a:srgbClr val="FFFFFF"/>
                </a:solidFill>
                <a:latin typeface="Arial"/>
              </a:rPr>
              <a:t>Consulting Services		Mobil +49 151 22117917</a:t>
            </a:r>
            <a:br>
              <a:rPr lang="en-GB" sz="1000" dirty="0">
                <a:solidFill>
                  <a:srgbClr val="FFFFFF"/>
                </a:solidFill>
                <a:latin typeface="Arial"/>
              </a:rPr>
            </a:br>
            <a:r>
              <a:rPr lang="en-GB" sz="1000" dirty="0">
                <a:solidFill>
                  <a:srgbClr val="FFFFFF"/>
                </a:solidFill>
                <a:latin typeface="Arial"/>
              </a:rPr>
              <a:t>Division Industry		bjoern.huber-puls@secunet.com			</a:t>
            </a:r>
            <a:endParaRPr lang="en-GB" sz="1000" b="1" dirty="0">
              <a:solidFill>
                <a:srgbClr val="FFFFFF"/>
              </a:solidFill>
              <a:latin typeface="Arial"/>
            </a:endParaRPr>
          </a:p>
          <a:p>
            <a:pPr marL="0" lvl="1" indent="-246845" algn="l" defTabSz="894003">
              <a:lnSpc>
                <a:spcPct val="100000"/>
              </a:lnSpc>
              <a:spcBef>
                <a:spcPts val="0"/>
              </a:spcBef>
              <a:spcAft>
                <a:spcPts val="514"/>
              </a:spcAft>
              <a:buClr>
                <a:srgbClr val="E2003B"/>
              </a:buClr>
              <a:buSzPct val="100000"/>
            </a:pPr>
            <a:br>
              <a:rPr lang="en-GB" sz="1000" b="1" dirty="0">
                <a:solidFill>
                  <a:srgbClr val="FFFFFF"/>
                </a:solidFill>
                <a:latin typeface="Arial"/>
              </a:rPr>
            </a:br>
            <a:r>
              <a:rPr lang="en-GB" sz="1000" dirty="0">
                <a:solidFill>
                  <a:srgbClr val="FFFFFF"/>
                </a:solidFill>
                <a:latin typeface="Arial"/>
              </a:rPr>
              <a:t>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22037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5FFC5F-016D-4DD7-DA90-5CA23E8126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0F8DF76-8160-0F46-0310-E03C1516B51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1543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0F8DF76-8160-0F46-0310-E03C1516B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2A0D1C5-010C-AD0A-4C6A-8EA803FEA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2" y="1511069"/>
            <a:ext cx="8712374" cy="2592619"/>
          </a:xfrm>
        </p:spPr>
        <p:txBody>
          <a:bodyPr vert="horz"/>
          <a:lstStyle/>
          <a:p>
            <a:r>
              <a:rPr lang="de-DE" dirty="0"/>
              <a:t>NIS-2 Einstieg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5FA4C93-0C04-6B39-2C65-47CCB8A9B4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      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1B233D1-0702-B17D-0EF4-A37C98FA57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e-DE" dirty="0"/>
              <a:t>01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805B876C-A7F9-9127-2EEA-B10E0E49B61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61C614-CFF2-4A88-BE49-FACF179570D6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xiforma for Sec"/>
                <a:ea typeface="+mn-ea"/>
                <a:cs typeface="+mn-cs"/>
              </a:rPr>
              <a:t>17.04.202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A667831-1503-4728-4899-121F11526F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108000" marR="0" lvl="0" indent="-108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30000"/>
              <a:buFont typeface="Axiforma for Sec"/>
              <a:buChar char="|"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xiforma for Sec"/>
                <a:ea typeface="+mn-ea"/>
                <a:cs typeface="+mn-cs"/>
              </a:rPr>
              <a:t>Cybersecurity Summit Hamburg | NIS-2 und die sichere Lieferkette</a:t>
            </a:r>
          </a:p>
        </p:txBody>
      </p:sp>
    </p:spTree>
    <p:extLst>
      <p:ext uri="{BB962C8B-B14F-4D97-AF65-F5344CB8AC3E}">
        <p14:creationId xmlns:p14="http://schemas.microsoft.com/office/powerpoint/2010/main" val="2302551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661C68-12E6-A6BB-D1E5-C39F12A630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">
            <a:extLst>
              <a:ext uri="{FF2B5EF4-FFF2-40B4-BE49-F238E27FC236}">
                <a16:creationId xmlns:a16="http://schemas.microsoft.com/office/drawing/2014/main" id="{F8C3F796-6B91-140E-F02F-E04DBE2C2F1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114278" y="2966774"/>
            <a:ext cx="347754" cy="181122"/>
          </a:xfrm>
          <a:custGeom>
            <a:avLst/>
            <a:gdLst>
              <a:gd name="T0" fmla="*/ 831 w 848"/>
              <a:gd name="T1" fmla="*/ 309 h 440"/>
              <a:gd name="T2" fmla="*/ 847 w 848"/>
              <a:gd name="T3" fmla="*/ 341 h 440"/>
              <a:gd name="T4" fmla="*/ 831 w 848"/>
              <a:gd name="T5" fmla="*/ 309 h 440"/>
              <a:gd name="T6" fmla="*/ 831 w 848"/>
              <a:gd name="T7" fmla="*/ 301 h 440"/>
              <a:gd name="T8" fmla="*/ 831 w 848"/>
              <a:gd name="T9" fmla="*/ 309 h 440"/>
              <a:gd name="T10" fmla="*/ 831 w 848"/>
              <a:gd name="T11" fmla="*/ 301 h 440"/>
              <a:gd name="T12" fmla="*/ 358 w 848"/>
              <a:gd name="T13" fmla="*/ 8 h 440"/>
              <a:gd name="T14" fmla="*/ 391 w 848"/>
              <a:gd name="T15" fmla="*/ 32 h 440"/>
              <a:gd name="T16" fmla="*/ 415 w 848"/>
              <a:gd name="T17" fmla="*/ 40 h 440"/>
              <a:gd name="T18" fmla="*/ 464 w 848"/>
              <a:gd name="T19" fmla="*/ 65 h 440"/>
              <a:gd name="T20" fmla="*/ 562 w 848"/>
              <a:gd name="T21" fmla="*/ 73 h 440"/>
              <a:gd name="T22" fmla="*/ 578 w 848"/>
              <a:gd name="T23" fmla="*/ 57 h 440"/>
              <a:gd name="T24" fmla="*/ 611 w 848"/>
              <a:gd name="T25" fmla="*/ 48 h 440"/>
              <a:gd name="T26" fmla="*/ 668 w 848"/>
              <a:gd name="T27" fmla="*/ 32 h 440"/>
              <a:gd name="T28" fmla="*/ 692 w 848"/>
              <a:gd name="T29" fmla="*/ 65 h 440"/>
              <a:gd name="T30" fmla="*/ 709 w 848"/>
              <a:gd name="T31" fmla="*/ 65 h 440"/>
              <a:gd name="T32" fmla="*/ 741 w 848"/>
              <a:gd name="T33" fmla="*/ 97 h 440"/>
              <a:gd name="T34" fmla="*/ 766 w 848"/>
              <a:gd name="T35" fmla="*/ 122 h 440"/>
              <a:gd name="T36" fmla="*/ 749 w 848"/>
              <a:gd name="T37" fmla="*/ 179 h 440"/>
              <a:gd name="T38" fmla="*/ 749 w 848"/>
              <a:gd name="T39" fmla="*/ 203 h 440"/>
              <a:gd name="T40" fmla="*/ 749 w 848"/>
              <a:gd name="T41" fmla="*/ 284 h 440"/>
              <a:gd name="T42" fmla="*/ 774 w 848"/>
              <a:gd name="T43" fmla="*/ 317 h 440"/>
              <a:gd name="T44" fmla="*/ 774 w 848"/>
              <a:gd name="T45" fmla="*/ 325 h 440"/>
              <a:gd name="T46" fmla="*/ 806 w 848"/>
              <a:gd name="T47" fmla="*/ 317 h 440"/>
              <a:gd name="T48" fmla="*/ 815 w 848"/>
              <a:gd name="T49" fmla="*/ 309 h 440"/>
              <a:gd name="T50" fmla="*/ 806 w 848"/>
              <a:gd name="T51" fmla="*/ 317 h 440"/>
              <a:gd name="T52" fmla="*/ 733 w 848"/>
              <a:gd name="T53" fmla="*/ 333 h 440"/>
              <a:gd name="T54" fmla="*/ 668 w 848"/>
              <a:gd name="T55" fmla="*/ 374 h 440"/>
              <a:gd name="T56" fmla="*/ 497 w 848"/>
              <a:gd name="T57" fmla="*/ 390 h 440"/>
              <a:gd name="T58" fmla="*/ 375 w 848"/>
              <a:gd name="T59" fmla="*/ 398 h 440"/>
              <a:gd name="T60" fmla="*/ 301 w 848"/>
              <a:gd name="T61" fmla="*/ 415 h 440"/>
              <a:gd name="T62" fmla="*/ 195 w 848"/>
              <a:gd name="T63" fmla="*/ 423 h 440"/>
              <a:gd name="T64" fmla="*/ 138 w 848"/>
              <a:gd name="T65" fmla="*/ 423 h 440"/>
              <a:gd name="T66" fmla="*/ 32 w 848"/>
              <a:gd name="T67" fmla="*/ 431 h 440"/>
              <a:gd name="T68" fmla="*/ 40 w 848"/>
              <a:gd name="T69" fmla="*/ 398 h 440"/>
              <a:gd name="T70" fmla="*/ 106 w 848"/>
              <a:gd name="T71" fmla="*/ 325 h 440"/>
              <a:gd name="T72" fmla="*/ 65 w 848"/>
              <a:gd name="T73" fmla="*/ 309 h 440"/>
              <a:gd name="T74" fmla="*/ 32 w 848"/>
              <a:gd name="T75" fmla="*/ 284 h 440"/>
              <a:gd name="T76" fmla="*/ 73 w 848"/>
              <a:gd name="T77" fmla="*/ 179 h 440"/>
              <a:gd name="T78" fmla="*/ 203 w 848"/>
              <a:gd name="T79" fmla="*/ 203 h 440"/>
              <a:gd name="T80" fmla="*/ 309 w 848"/>
              <a:gd name="T81" fmla="*/ 65 h 440"/>
              <a:gd name="T82" fmla="*/ 326 w 848"/>
              <a:gd name="T83" fmla="*/ 8 h 440"/>
              <a:gd name="T84" fmla="*/ 358 w 848"/>
              <a:gd name="T85" fmla="*/ 8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48" h="440">
                <a:moveTo>
                  <a:pt x="831" y="309"/>
                </a:moveTo>
                <a:cubicBezTo>
                  <a:pt x="839" y="317"/>
                  <a:pt x="847" y="333"/>
                  <a:pt x="847" y="341"/>
                </a:cubicBezTo>
                <a:cubicBezTo>
                  <a:pt x="847" y="333"/>
                  <a:pt x="839" y="317"/>
                  <a:pt x="831" y="309"/>
                </a:cubicBezTo>
                <a:close/>
                <a:moveTo>
                  <a:pt x="831" y="301"/>
                </a:moveTo>
                <a:lnTo>
                  <a:pt x="831" y="309"/>
                </a:lnTo>
                <a:lnTo>
                  <a:pt x="831" y="301"/>
                </a:lnTo>
                <a:close/>
                <a:moveTo>
                  <a:pt x="358" y="8"/>
                </a:moveTo>
                <a:lnTo>
                  <a:pt x="391" y="32"/>
                </a:lnTo>
                <a:lnTo>
                  <a:pt x="415" y="40"/>
                </a:lnTo>
                <a:lnTo>
                  <a:pt x="464" y="65"/>
                </a:lnTo>
                <a:lnTo>
                  <a:pt x="562" y="73"/>
                </a:lnTo>
                <a:lnTo>
                  <a:pt x="578" y="57"/>
                </a:lnTo>
                <a:lnTo>
                  <a:pt x="611" y="48"/>
                </a:lnTo>
                <a:lnTo>
                  <a:pt x="668" y="32"/>
                </a:lnTo>
                <a:lnTo>
                  <a:pt x="692" y="65"/>
                </a:lnTo>
                <a:lnTo>
                  <a:pt x="709" y="65"/>
                </a:lnTo>
                <a:cubicBezTo>
                  <a:pt x="709" y="65"/>
                  <a:pt x="725" y="81"/>
                  <a:pt x="741" y="97"/>
                </a:cubicBezTo>
                <a:cubicBezTo>
                  <a:pt x="749" y="113"/>
                  <a:pt x="766" y="122"/>
                  <a:pt x="766" y="122"/>
                </a:cubicBezTo>
                <a:lnTo>
                  <a:pt x="749" y="179"/>
                </a:lnTo>
                <a:lnTo>
                  <a:pt x="749" y="203"/>
                </a:lnTo>
                <a:lnTo>
                  <a:pt x="749" y="284"/>
                </a:lnTo>
                <a:lnTo>
                  <a:pt x="774" y="317"/>
                </a:lnTo>
                <a:lnTo>
                  <a:pt x="774" y="325"/>
                </a:lnTo>
                <a:lnTo>
                  <a:pt x="806" y="317"/>
                </a:lnTo>
                <a:cubicBezTo>
                  <a:pt x="806" y="317"/>
                  <a:pt x="815" y="317"/>
                  <a:pt x="815" y="309"/>
                </a:cubicBezTo>
                <a:cubicBezTo>
                  <a:pt x="815" y="317"/>
                  <a:pt x="806" y="317"/>
                  <a:pt x="806" y="317"/>
                </a:cubicBezTo>
                <a:lnTo>
                  <a:pt x="733" y="333"/>
                </a:lnTo>
                <a:lnTo>
                  <a:pt x="668" y="374"/>
                </a:lnTo>
                <a:cubicBezTo>
                  <a:pt x="668" y="374"/>
                  <a:pt x="513" y="390"/>
                  <a:pt x="497" y="390"/>
                </a:cubicBezTo>
                <a:cubicBezTo>
                  <a:pt x="489" y="390"/>
                  <a:pt x="391" y="398"/>
                  <a:pt x="375" y="398"/>
                </a:cubicBezTo>
                <a:cubicBezTo>
                  <a:pt x="366" y="406"/>
                  <a:pt x="317" y="415"/>
                  <a:pt x="301" y="415"/>
                </a:cubicBezTo>
                <a:cubicBezTo>
                  <a:pt x="285" y="415"/>
                  <a:pt x="212" y="423"/>
                  <a:pt x="195" y="423"/>
                </a:cubicBezTo>
                <a:lnTo>
                  <a:pt x="138" y="423"/>
                </a:lnTo>
                <a:cubicBezTo>
                  <a:pt x="138" y="423"/>
                  <a:pt x="57" y="431"/>
                  <a:pt x="32" y="431"/>
                </a:cubicBezTo>
                <a:cubicBezTo>
                  <a:pt x="8" y="439"/>
                  <a:pt x="40" y="398"/>
                  <a:pt x="40" y="398"/>
                </a:cubicBezTo>
                <a:cubicBezTo>
                  <a:pt x="40" y="398"/>
                  <a:pt x="138" y="317"/>
                  <a:pt x="106" y="325"/>
                </a:cubicBezTo>
                <a:lnTo>
                  <a:pt x="65" y="309"/>
                </a:lnTo>
                <a:lnTo>
                  <a:pt x="32" y="284"/>
                </a:lnTo>
                <a:cubicBezTo>
                  <a:pt x="0" y="211"/>
                  <a:pt x="40" y="179"/>
                  <a:pt x="73" y="179"/>
                </a:cubicBezTo>
                <a:cubicBezTo>
                  <a:pt x="97" y="179"/>
                  <a:pt x="163" y="203"/>
                  <a:pt x="203" y="203"/>
                </a:cubicBezTo>
                <a:cubicBezTo>
                  <a:pt x="350" y="203"/>
                  <a:pt x="317" y="154"/>
                  <a:pt x="309" y="65"/>
                </a:cubicBezTo>
                <a:cubicBezTo>
                  <a:pt x="309" y="40"/>
                  <a:pt x="317" y="16"/>
                  <a:pt x="326" y="8"/>
                </a:cubicBezTo>
                <a:cubicBezTo>
                  <a:pt x="334" y="0"/>
                  <a:pt x="350" y="16"/>
                  <a:pt x="358" y="8"/>
                </a:cubicBezTo>
                <a:close/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0" name="Freeform 2">
            <a:extLst>
              <a:ext uri="{FF2B5EF4-FFF2-40B4-BE49-F238E27FC236}">
                <a16:creationId xmlns:a16="http://schemas.microsoft.com/office/drawing/2014/main" id="{48AB7B65-A93D-E28E-C517-2BFF8923B514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454787" y="3093559"/>
            <a:ext cx="7245" cy="12678"/>
          </a:xfrm>
          <a:custGeom>
            <a:avLst/>
            <a:gdLst>
              <a:gd name="T0" fmla="*/ 0 w 17"/>
              <a:gd name="T1" fmla="*/ 0 h 33"/>
              <a:gd name="T2" fmla="*/ 16 w 17"/>
              <a:gd name="T3" fmla="*/ 32 h 33"/>
              <a:gd name="T4" fmla="*/ 0 w 17"/>
              <a:gd name="T5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33">
                <a:moveTo>
                  <a:pt x="0" y="0"/>
                </a:moveTo>
                <a:cubicBezTo>
                  <a:pt x="8" y="8"/>
                  <a:pt x="16" y="24"/>
                  <a:pt x="16" y="32"/>
                </a:cubicBezTo>
                <a:cubicBezTo>
                  <a:pt x="16" y="24"/>
                  <a:pt x="8" y="8"/>
                  <a:pt x="0" y="0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1" name="Freeform 3">
            <a:extLst>
              <a:ext uri="{FF2B5EF4-FFF2-40B4-BE49-F238E27FC236}">
                <a16:creationId xmlns:a16="http://schemas.microsoft.com/office/drawing/2014/main" id="{B7EFB87E-5506-E261-C154-B46525C3F6B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454787" y="3089936"/>
            <a:ext cx="1811" cy="3622"/>
          </a:xfrm>
          <a:custGeom>
            <a:avLst/>
            <a:gdLst>
              <a:gd name="T0" fmla="*/ 0 w 1"/>
              <a:gd name="T1" fmla="*/ 0 h 9"/>
              <a:gd name="T2" fmla="*/ 0 w 1"/>
              <a:gd name="T3" fmla="*/ 8 h 9"/>
              <a:gd name="T4" fmla="*/ 0 w 1"/>
              <a:gd name="T5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9">
                <a:moveTo>
                  <a:pt x="0" y="0"/>
                </a:moveTo>
                <a:lnTo>
                  <a:pt x="0" y="8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0023A1D3-2C5C-32B5-E62D-928DBF66112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114278" y="2966774"/>
            <a:ext cx="335075" cy="181122"/>
          </a:xfrm>
          <a:custGeom>
            <a:avLst/>
            <a:gdLst>
              <a:gd name="T0" fmla="*/ 358 w 816"/>
              <a:gd name="T1" fmla="*/ 8 h 440"/>
              <a:gd name="T2" fmla="*/ 391 w 816"/>
              <a:gd name="T3" fmla="*/ 32 h 440"/>
              <a:gd name="T4" fmla="*/ 415 w 816"/>
              <a:gd name="T5" fmla="*/ 40 h 440"/>
              <a:gd name="T6" fmla="*/ 464 w 816"/>
              <a:gd name="T7" fmla="*/ 65 h 440"/>
              <a:gd name="T8" fmla="*/ 562 w 816"/>
              <a:gd name="T9" fmla="*/ 73 h 440"/>
              <a:gd name="T10" fmla="*/ 578 w 816"/>
              <a:gd name="T11" fmla="*/ 57 h 440"/>
              <a:gd name="T12" fmla="*/ 611 w 816"/>
              <a:gd name="T13" fmla="*/ 48 h 440"/>
              <a:gd name="T14" fmla="*/ 668 w 816"/>
              <a:gd name="T15" fmla="*/ 32 h 440"/>
              <a:gd name="T16" fmla="*/ 692 w 816"/>
              <a:gd name="T17" fmla="*/ 65 h 440"/>
              <a:gd name="T18" fmla="*/ 709 w 816"/>
              <a:gd name="T19" fmla="*/ 65 h 440"/>
              <a:gd name="T20" fmla="*/ 741 w 816"/>
              <a:gd name="T21" fmla="*/ 97 h 440"/>
              <a:gd name="T22" fmla="*/ 766 w 816"/>
              <a:gd name="T23" fmla="*/ 122 h 440"/>
              <a:gd name="T24" fmla="*/ 749 w 816"/>
              <a:gd name="T25" fmla="*/ 179 h 440"/>
              <a:gd name="T26" fmla="*/ 749 w 816"/>
              <a:gd name="T27" fmla="*/ 203 h 440"/>
              <a:gd name="T28" fmla="*/ 749 w 816"/>
              <a:gd name="T29" fmla="*/ 284 h 440"/>
              <a:gd name="T30" fmla="*/ 774 w 816"/>
              <a:gd name="T31" fmla="*/ 317 h 440"/>
              <a:gd name="T32" fmla="*/ 774 w 816"/>
              <a:gd name="T33" fmla="*/ 325 h 440"/>
              <a:gd name="T34" fmla="*/ 806 w 816"/>
              <a:gd name="T35" fmla="*/ 317 h 440"/>
              <a:gd name="T36" fmla="*/ 815 w 816"/>
              <a:gd name="T37" fmla="*/ 309 h 440"/>
              <a:gd name="T38" fmla="*/ 806 w 816"/>
              <a:gd name="T39" fmla="*/ 317 h 440"/>
              <a:gd name="T40" fmla="*/ 733 w 816"/>
              <a:gd name="T41" fmla="*/ 333 h 440"/>
              <a:gd name="T42" fmla="*/ 668 w 816"/>
              <a:gd name="T43" fmla="*/ 374 h 440"/>
              <a:gd name="T44" fmla="*/ 497 w 816"/>
              <a:gd name="T45" fmla="*/ 390 h 440"/>
              <a:gd name="T46" fmla="*/ 375 w 816"/>
              <a:gd name="T47" fmla="*/ 398 h 440"/>
              <a:gd name="T48" fmla="*/ 301 w 816"/>
              <a:gd name="T49" fmla="*/ 415 h 440"/>
              <a:gd name="T50" fmla="*/ 195 w 816"/>
              <a:gd name="T51" fmla="*/ 423 h 440"/>
              <a:gd name="T52" fmla="*/ 138 w 816"/>
              <a:gd name="T53" fmla="*/ 423 h 440"/>
              <a:gd name="T54" fmla="*/ 32 w 816"/>
              <a:gd name="T55" fmla="*/ 431 h 440"/>
              <a:gd name="T56" fmla="*/ 40 w 816"/>
              <a:gd name="T57" fmla="*/ 398 h 440"/>
              <a:gd name="T58" fmla="*/ 106 w 816"/>
              <a:gd name="T59" fmla="*/ 325 h 440"/>
              <a:gd name="T60" fmla="*/ 65 w 816"/>
              <a:gd name="T61" fmla="*/ 309 h 440"/>
              <a:gd name="T62" fmla="*/ 32 w 816"/>
              <a:gd name="T63" fmla="*/ 284 h 440"/>
              <a:gd name="T64" fmla="*/ 73 w 816"/>
              <a:gd name="T65" fmla="*/ 179 h 440"/>
              <a:gd name="T66" fmla="*/ 203 w 816"/>
              <a:gd name="T67" fmla="*/ 203 h 440"/>
              <a:gd name="T68" fmla="*/ 309 w 816"/>
              <a:gd name="T69" fmla="*/ 65 h 440"/>
              <a:gd name="T70" fmla="*/ 326 w 816"/>
              <a:gd name="T71" fmla="*/ 8 h 440"/>
              <a:gd name="T72" fmla="*/ 358 w 816"/>
              <a:gd name="T73" fmla="*/ 8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16" h="440">
                <a:moveTo>
                  <a:pt x="358" y="8"/>
                </a:moveTo>
                <a:lnTo>
                  <a:pt x="391" y="32"/>
                </a:lnTo>
                <a:lnTo>
                  <a:pt x="415" y="40"/>
                </a:lnTo>
                <a:lnTo>
                  <a:pt x="464" y="65"/>
                </a:lnTo>
                <a:lnTo>
                  <a:pt x="562" y="73"/>
                </a:lnTo>
                <a:lnTo>
                  <a:pt x="578" y="57"/>
                </a:lnTo>
                <a:lnTo>
                  <a:pt x="611" y="48"/>
                </a:lnTo>
                <a:lnTo>
                  <a:pt x="668" y="32"/>
                </a:lnTo>
                <a:lnTo>
                  <a:pt x="692" y="65"/>
                </a:lnTo>
                <a:lnTo>
                  <a:pt x="709" y="65"/>
                </a:lnTo>
                <a:cubicBezTo>
                  <a:pt x="709" y="65"/>
                  <a:pt x="725" y="81"/>
                  <a:pt x="741" y="97"/>
                </a:cubicBezTo>
                <a:cubicBezTo>
                  <a:pt x="749" y="113"/>
                  <a:pt x="766" y="122"/>
                  <a:pt x="766" y="122"/>
                </a:cubicBezTo>
                <a:lnTo>
                  <a:pt x="749" y="179"/>
                </a:lnTo>
                <a:lnTo>
                  <a:pt x="749" y="203"/>
                </a:lnTo>
                <a:lnTo>
                  <a:pt x="749" y="284"/>
                </a:lnTo>
                <a:lnTo>
                  <a:pt x="774" y="317"/>
                </a:lnTo>
                <a:lnTo>
                  <a:pt x="774" y="325"/>
                </a:lnTo>
                <a:lnTo>
                  <a:pt x="806" y="317"/>
                </a:lnTo>
                <a:cubicBezTo>
                  <a:pt x="806" y="317"/>
                  <a:pt x="815" y="317"/>
                  <a:pt x="815" y="309"/>
                </a:cubicBezTo>
                <a:cubicBezTo>
                  <a:pt x="815" y="317"/>
                  <a:pt x="806" y="317"/>
                  <a:pt x="806" y="317"/>
                </a:cubicBezTo>
                <a:lnTo>
                  <a:pt x="733" y="333"/>
                </a:lnTo>
                <a:lnTo>
                  <a:pt x="668" y="374"/>
                </a:lnTo>
                <a:cubicBezTo>
                  <a:pt x="668" y="374"/>
                  <a:pt x="513" y="390"/>
                  <a:pt x="497" y="390"/>
                </a:cubicBezTo>
                <a:cubicBezTo>
                  <a:pt x="489" y="390"/>
                  <a:pt x="391" y="398"/>
                  <a:pt x="375" y="398"/>
                </a:cubicBezTo>
                <a:cubicBezTo>
                  <a:pt x="366" y="406"/>
                  <a:pt x="317" y="415"/>
                  <a:pt x="301" y="415"/>
                </a:cubicBezTo>
                <a:cubicBezTo>
                  <a:pt x="285" y="415"/>
                  <a:pt x="212" y="423"/>
                  <a:pt x="195" y="423"/>
                </a:cubicBezTo>
                <a:lnTo>
                  <a:pt x="138" y="423"/>
                </a:lnTo>
                <a:cubicBezTo>
                  <a:pt x="138" y="423"/>
                  <a:pt x="57" y="431"/>
                  <a:pt x="32" y="431"/>
                </a:cubicBezTo>
                <a:cubicBezTo>
                  <a:pt x="8" y="439"/>
                  <a:pt x="40" y="398"/>
                  <a:pt x="40" y="398"/>
                </a:cubicBezTo>
                <a:cubicBezTo>
                  <a:pt x="40" y="398"/>
                  <a:pt x="138" y="317"/>
                  <a:pt x="106" y="325"/>
                </a:cubicBezTo>
                <a:lnTo>
                  <a:pt x="65" y="309"/>
                </a:lnTo>
                <a:lnTo>
                  <a:pt x="32" y="284"/>
                </a:lnTo>
                <a:cubicBezTo>
                  <a:pt x="0" y="211"/>
                  <a:pt x="40" y="179"/>
                  <a:pt x="73" y="179"/>
                </a:cubicBezTo>
                <a:cubicBezTo>
                  <a:pt x="97" y="179"/>
                  <a:pt x="163" y="203"/>
                  <a:pt x="203" y="203"/>
                </a:cubicBezTo>
                <a:cubicBezTo>
                  <a:pt x="350" y="203"/>
                  <a:pt x="317" y="154"/>
                  <a:pt x="309" y="65"/>
                </a:cubicBezTo>
                <a:cubicBezTo>
                  <a:pt x="309" y="40"/>
                  <a:pt x="317" y="16"/>
                  <a:pt x="326" y="8"/>
                </a:cubicBezTo>
                <a:cubicBezTo>
                  <a:pt x="334" y="0"/>
                  <a:pt x="350" y="16"/>
                  <a:pt x="358" y="8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29611C0B-96A4-2FC9-5399-3A9D6C8E1F1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74710" y="5055106"/>
            <a:ext cx="244515" cy="259005"/>
          </a:xfrm>
          <a:custGeom>
            <a:avLst/>
            <a:gdLst>
              <a:gd name="T0" fmla="*/ 556 w 597"/>
              <a:gd name="T1" fmla="*/ 394 h 629"/>
              <a:gd name="T2" fmla="*/ 413 w 597"/>
              <a:gd name="T3" fmla="*/ 451 h 629"/>
              <a:gd name="T4" fmla="*/ 318 w 597"/>
              <a:gd name="T5" fmla="*/ 523 h 629"/>
              <a:gd name="T6" fmla="*/ 302 w 597"/>
              <a:gd name="T7" fmla="*/ 620 h 629"/>
              <a:gd name="T8" fmla="*/ 254 w 597"/>
              <a:gd name="T9" fmla="*/ 612 h 629"/>
              <a:gd name="T10" fmla="*/ 246 w 597"/>
              <a:gd name="T11" fmla="*/ 563 h 629"/>
              <a:gd name="T12" fmla="*/ 238 w 597"/>
              <a:gd name="T13" fmla="*/ 531 h 629"/>
              <a:gd name="T14" fmla="*/ 206 w 597"/>
              <a:gd name="T15" fmla="*/ 483 h 629"/>
              <a:gd name="T16" fmla="*/ 167 w 597"/>
              <a:gd name="T17" fmla="*/ 459 h 629"/>
              <a:gd name="T18" fmla="*/ 151 w 597"/>
              <a:gd name="T19" fmla="*/ 459 h 629"/>
              <a:gd name="T20" fmla="*/ 119 w 597"/>
              <a:gd name="T21" fmla="*/ 443 h 629"/>
              <a:gd name="T22" fmla="*/ 103 w 597"/>
              <a:gd name="T23" fmla="*/ 394 h 629"/>
              <a:gd name="T24" fmla="*/ 71 w 597"/>
              <a:gd name="T25" fmla="*/ 370 h 629"/>
              <a:gd name="T26" fmla="*/ 47 w 597"/>
              <a:gd name="T27" fmla="*/ 354 h 629"/>
              <a:gd name="T28" fmla="*/ 8 w 597"/>
              <a:gd name="T29" fmla="*/ 274 h 629"/>
              <a:gd name="T30" fmla="*/ 79 w 597"/>
              <a:gd name="T31" fmla="*/ 233 h 629"/>
              <a:gd name="T32" fmla="*/ 127 w 597"/>
              <a:gd name="T33" fmla="*/ 217 h 629"/>
              <a:gd name="T34" fmla="*/ 159 w 597"/>
              <a:gd name="T35" fmla="*/ 193 h 629"/>
              <a:gd name="T36" fmla="*/ 198 w 597"/>
              <a:gd name="T37" fmla="*/ 121 h 629"/>
              <a:gd name="T38" fmla="*/ 190 w 597"/>
              <a:gd name="T39" fmla="*/ 64 h 629"/>
              <a:gd name="T40" fmla="*/ 198 w 597"/>
              <a:gd name="T41" fmla="*/ 32 h 629"/>
              <a:gd name="T42" fmla="*/ 254 w 597"/>
              <a:gd name="T43" fmla="*/ 16 h 629"/>
              <a:gd name="T44" fmla="*/ 310 w 597"/>
              <a:gd name="T45" fmla="*/ 56 h 629"/>
              <a:gd name="T46" fmla="*/ 373 w 597"/>
              <a:gd name="T47" fmla="*/ 89 h 629"/>
              <a:gd name="T48" fmla="*/ 397 w 597"/>
              <a:gd name="T49" fmla="*/ 137 h 629"/>
              <a:gd name="T50" fmla="*/ 469 w 597"/>
              <a:gd name="T51" fmla="*/ 185 h 629"/>
              <a:gd name="T52" fmla="*/ 532 w 597"/>
              <a:gd name="T53" fmla="*/ 209 h 629"/>
              <a:gd name="T54" fmla="*/ 596 w 597"/>
              <a:gd name="T55" fmla="*/ 209 h 629"/>
              <a:gd name="T56" fmla="*/ 580 w 597"/>
              <a:gd name="T57" fmla="*/ 250 h 629"/>
              <a:gd name="T58" fmla="*/ 556 w 597"/>
              <a:gd name="T59" fmla="*/ 298 h 629"/>
              <a:gd name="T60" fmla="*/ 556 w 597"/>
              <a:gd name="T61" fmla="*/ 346 h 629"/>
              <a:gd name="T62" fmla="*/ 556 w 597"/>
              <a:gd name="T63" fmla="*/ 386 h 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97" h="629">
                <a:moveTo>
                  <a:pt x="564" y="386"/>
                </a:moveTo>
                <a:lnTo>
                  <a:pt x="556" y="394"/>
                </a:lnTo>
                <a:cubicBezTo>
                  <a:pt x="524" y="411"/>
                  <a:pt x="485" y="394"/>
                  <a:pt x="477" y="451"/>
                </a:cubicBezTo>
                <a:cubicBezTo>
                  <a:pt x="477" y="547"/>
                  <a:pt x="445" y="451"/>
                  <a:pt x="413" y="451"/>
                </a:cubicBezTo>
                <a:cubicBezTo>
                  <a:pt x="389" y="451"/>
                  <a:pt x="389" y="467"/>
                  <a:pt x="373" y="483"/>
                </a:cubicBezTo>
                <a:cubicBezTo>
                  <a:pt x="350" y="499"/>
                  <a:pt x="326" y="507"/>
                  <a:pt x="318" y="523"/>
                </a:cubicBezTo>
                <a:cubicBezTo>
                  <a:pt x="318" y="539"/>
                  <a:pt x="310" y="555"/>
                  <a:pt x="310" y="572"/>
                </a:cubicBezTo>
                <a:cubicBezTo>
                  <a:pt x="318" y="596"/>
                  <a:pt x="318" y="620"/>
                  <a:pt x="302" y="620"/>
                </a:cubicBezTo>
                <a:cubicBezTo>
                  <a:pt x="294" y="620"/>
                  <a:pt x="270" y="628"/>
                  <a:pt x="254" y="620"/>
                </a:cubicBezTo>
                <a:lnTo>
                  <a:pt x="254" y="612"/>
                </a:lnTo>
                <a:lnTo>
                  <a:pt x="262" y="588"/>
                </a:lnTo>
                <a:lnTo>
                  <a:pt x="246" y="563"/>
                </a:lnTo>
                <a:lnTo>
                  <a:pt x="246" y="555"/>
                </a:lnTo>
                <a:cubicBezTo>
                  <a:pt x="238" y="547"/>
                  <a:pt x="238" y="531"/>
                  <a:pt x="238" y="531"/>
                </a:cubicBezTo>
                <a:lnTo>
                  <a:pt x="230" y="507"/>
                </a:lnTo>
                <a:cubicBezTo>
                  <a:pt x="230" y="507"/>
                  <a:pt x="214" y="491"/>
                  <a:pt x="206" y="483"/>
                </a:cubicBezTo>
                <a:cubicBezTo>
                  <a:pt x="206" y="483"/>
                  <a:pt x="206" y="475"/>
                  <a:pt x="190" y="467"/>
                </a:cubicBezTo>
                <a:cubicBezTo>
                  <a:pt x="183" y="467"/>
                  <a:pt x="167" y="459"/>
                  <a:pt x="167" y="459"/>
                </a:cubicBezTo>
                <a:lnTo>
                  <a:pt x="159" y="459"/>
                </a:lnTo>
                <a:lnTo>
                  <a:pt x="151" y="459"/>
                </a:lnTo>
                <a:lnTo>
                  <a:pt x="135" y="443"/>
                </a:lnTo>
                <a:lnTo>
                  <a:pt x="119" y="443"/>
                </a:lnTo>
                <a:lnTo>
                  <a:pt x="111" y="419"/>
                </a:lnTo>
                <a:lnTo>
                  <a:pt x="103" y="394"/>
                </a:lnTo>
                <a:lnTo>
                  <a:pt x="87" y="378"/>
                </a:lnTo>
                <a:lnTo>
                  <a:pt x="71" y="370"/>
                </a:lnTo>
                <a:lnTo>
                  <a:pt x="63" y="362"/>
                </a:lnTo>
                <a:lnTo>
                  <a:pt x="47" y="354"/>
                </a:lnTo>
                <a:cubicBezTo>
                  <a:pt x="39" y="338"/>
                  <a:pt x="55" y="322"/>
                  <a:pt x="47" y="306"/>
                </a:cubicBezTo>
                <a:cubicBezTo>
                  <a:pt x="31" y="290"/>
                  <a:pt x="0" y="274"/>
                  <a:pt x="8" y="274"/>
                </a:cubicBezTo>
                <a:cubicBezTo>
                  <a:pt x="16" y="258"/>
                  <a:pt x="47" y="266"/>
                  <a:pt x="63" y="258"/>
                </a:cubicBezTo>
                <a:cubicBezTo>
                  <a:pt x="71" y="258"/>
                  <a:pt x="71" y="242"/>
                  <a:pt x="79" y="233"/>
                </a:cubicBezTo>
                <a:cubicBezTo>
                  <a:pt x="87" y="233"/>
                  <a:pt x="103" y="242"/>
                  <a:pt x="103" y="225"/>
                </a:cubicBezTo>
                <a:cubicBezTo>
                  <a:pt x="103" y="209"/>
                  <a:pt x="119" y="209"/>
                  <a:pt x="127" y="217"/>
                </a:cubicBezTo>
                <a:cubicBezTo>
                  <a:pt x="127" y="217"/>
                  <a:pt x="135" y="217"/>
                  <a:pt x="151" y="201"/>
                </a:cubicBezTo>
                <a:cubicBezTo>
                  <a:pt x="175" y="193"/>
                  <a:pt x="159" y="193"/>
                  <a:pt x="159" y="193"/>
                </a:cubicBezTo>
                <a:lnTo>
                  <a:pt x="151" y="169"/>
                </a:lnTo>
                <a:lnTo>
                  <a:pt x="198" y="121"/>
                </a:lnTo>
                <a:lnTo>
                  <a:pt x="206" y="81"/>
                </a:lnTo>
                <a:cubicBezTo>
                  <a:pt x="206" y="81"/>
                  <a:pt x="198" y="72"/>
                  <a:pt x="190" y="64"/>
                </a:cubicBezTo>
                <a:cubicBezTo>
                  <a:pt x="175" y="48"/>
                  <a:pt x="183" y="48"/>
                  <a:pt x="183" y="40"/>
                </a:cubicBezTo>
                <a:cubicBezTo>
                  <a:pt x="190" y="32"/>
                  <a:pt x="198" y="32"/>
                  <a:pt x="198" y="32"/>
                </a:cubicBezTo>
                <a:cubicBezTo>
                  <a:pt x="206" y="24"/>
                  <a:pt x="222" y="24"/>
                  <a:pt x="238" y="8"/>
                </a:cubicBezTo>
                <a:cubicBezTo>
                  <a:pt x="254" y="0"/>
                  <a:pt x="254" y="16"/>
                  <a:pt x="254" y="16"/>
                </a:cubicBezTo>
                <a:cubicBezTo>
                  <a:pt x="254" y="16"/>
                  <a:pt x="262" y="40"/>
                  <a:pt x="286" y="48"/>
                </a:cubicBezTo>
                <a:cubicBezTo>
                  <a:pt x="302" y="56"/>
                  <a:pt x="310" y="56"/>
                  <a:pt x="310" y="56"/>
                </a:cubicBezTo>
                <a:lnTo>
                  <a:pt x="334" y="56"/>
                </a:lnTo>
                <a:lnTo>
                  <a:pt x="373" y="89"/>
                </a:lnTo>
                <a:lnTo>
                  <a:pt x="381" y="97"/>
                </a:lnTo>
                <a:cubicBezTo>
                  <a:pt x="389" y="105"/>
                  <a:pt x="397" y="137"/>
                  <a:pt x="397" y="137"/>
                </a:cubicBezTo>
                <a:lnTo>
                  <a:pt x="461" y="153"/>
                </a:lnTo>
                <a:lnTo>
                  <a:pt x="469" y="185"/>
                </a:lnTo>
                <a:cubicBezTo>
                  <a:pt x="469" y="185"/>
                  <a:pt x="501" y="185"/>
                  <a:pt x="517" y="193"/>
                </a:cubicBezTo>
                <a:cubicBezTo>
                  <a:pt x="532" y="193"/>
                  <a:pt x="532" y="209"/>
                  <a:pt x="532" y="209"/>
                </a:cubicBezTo>
                <a:lnTo>
                  <a:pt x="556" y="201"/>
                </a:lnTo>
                <a:lnTo>
                  <a:pt x="596" y="209"/>
                </a:lnTo>
                <a:cubicBezTo>
                  <a:pt x="596" y="209"/>
                  <a:pt x="596" y="217"/>
                  <a:pt x="588" y="225"/>
                </a:cubicBezTo>
                <a:cubicBezTo>
                  <a:pt x="580" y="225"/>
                  <a:pt x="580" y="242"/>
                  <a:pt x="580" y="250"/>
                </a:cubicBezTo>
                <a:lnTo>
                  <a:pt x="580" y="282"/>
                </a:lnTo>
                <a:cubicBezTo>
                  <a:pt x="572" y="298"/>
                  <a:pt x="564" y="290"/>
                  <a:pt x="556" y="298"/>
                </a:cubicBezTo>
                <a:cubicBezTo>
                  <a:pt x="548" y="298"/>
                  <a:pt x="556" y="314"/>
                  <a:pt x="564" y="330"/>
                </a:cubicBezTo>
                <a:cubicBezTo>
                  <a:pt x="564" y="338"/>
                  <a:pt x="564" y="338"/>
                  <a:pt x="556" y="346"/>
                </a:cubicBezTo>
                <a:cubicBezTo>
                  <a:pt x="540" y="362"/>
                  <a:pt x="532" y="362"/>
                  <a:pt x="532" y="362"/>
                </a:cubicBezTo>
                <a:lnTo>
                  <a:pt x="556" y="386"/>
                </a:lnTo>
                <a:lnTo>
                  <a:pt x="564" y="386"/>
                </a:lnTo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7A07659F-DDBE-180C-18B2-5D4EBE219CE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74710" y="5055106"/>
            <a:ext cx="244515" cy="259005"/>
          </a:xfrm>
          <a:custGeom>
            <a:avLst/>
            <a:gdLst>
              <a:gd name="T0" fmla="*/ 556 w 597"/>
              <a:gd name="T1" fmla="*/ 394 h 629"/>
              <a:gd name="T2" fmla="*/ 413 w 597"/>
              <a:gd name="T3" fmla="*/ 451 h 629"/>
              <a:gd name="T4" fmla="*/ 318 w 597"/>
              <a:gd name="T5" fmla="*/ 523 h 629"/>
              <a:gd name="T6" fmla="*/ 302 w 597"/>
              <a:gd name="T7" fmla="*/ 620 h 629"/>
              <a:gd name="T8" fmla="*/ 254 w 597"/>
              <a:gd name="T9" fmla="*/ 612 h 629"/>
              <a:gd name="T10" fmla="*/ 246 w 597"/>
              <a:gd name="T11" fmla="*/ 563 h 629"/>
              <a:gd name="T12" fmla="*/ 238 w 597"/>
              <a:gd name="T13" fmla="*/ 531 h 629"/>
              <a:gd name="T14" fmla="*/ 206 w 597"/>
              <a:gd name="T15" fmla="*/ 483 h 629"/>
              <a:gd name="T16" fmla="*/ 167 w 597"/>
              <a:gd name="T17" fmla="*/ 459 h 629"/>
              <a:gd name="T18" fmla="*/ 151 w 597"/>
              <a:gd name="T19" fmla="*/ 459 h 629"/>
              <a:gd name="T20" fmla="*/ 119 w 597"/>
              <a:gd name="T21" fmla="*/ 443 h 629"/>
              <a:gd name="T22" fmla="*/ 103 w 597"/>
              <a:gd name="T23" fmla="*/ 394 h 629"/>
              <a:gd name="T24" fmla="*/ 71 w 597"/>
              <a:gd name="T25" fmla="*/ 370 h 629"/>
              <a:gd name="T26" fmla="*/ 47 w 597"/>
              <a:gd name="T27" fmla="*/ 354 h 629"/>
              <a:gd name="T28" fmla="*/ 8 w 597"/>
              <a:gd name="T29" fmla="*/ 274 h 629"/>
              <a:gd name="T30" fmla="*/ 79 w 597"/>
              <a:gd name="T31" fmla="*/ 233 h 629"/>
              <a:gd name="T32" fmla="*/ 127 w 597"/>
              <a:gd name="T33" fmla="*/ 217 h 629"/>
              <a:gd name="T34" fmla="*/ 159 w 597"/>
              <a:gd name="T35" fmla="*/ 193 h 629"/>
              <a:gd name="T36" fmla="*/ 198 w 597"/>
              <a:gd name="T37" fmla="*/ 121 h 629"/>
              <a:gd name="T38" fmla="*/ 190 w 597"/>
              <a:gd name="T39" fmla="*/ 64 h 629"/>
              <a:gd name="T40" fmla="*/ 198 w 597"/>
              <a:gd name="T41" fmla="*/ 32 h 629"/>
              <a:gd name="T42" fmla="*/ 254 w 597"/>
              <a:gd name="T43" fmla="*/ 16 h 629"/>
              <a:gd name="T44" fmla="*/ 310 w 597"/>
              <a:gd name="T45" fmla="*/ 56 h 629"/>
              <a:gd name="T46" fmla="*/ 373 w 597"/>
              <a:gd name="T47" fmla="*/ 89 h 629"/>
              <a:gd name="T48" fmla="*/ 397 w 597"/>
              <a:gd name="T49" fmla="*/ 137 h 629"/>
              <a:gd name="T50" fmla="*/ 469 w 597"/>
              <a:gd name="T51" fmla="*/ 185 h 629"/>
              <a:gd name="T52" fmla="*/ 532 w 597"/>
              <a:gd name="T53" fmla="*/ 209 h 629"/>
              <a:gd name="T54" fmla="*/ 596 w 597"/>
              <a:gd name="T55" fmla="*/ 209 h 629"/>
              <a:gd name="T56" fmla="*/ 580 w 597"/>
              <a:gd name="T57" fmla="*/ 250 h 629"/>
              <a:gd name="T58" fmla="*/ 556 w 597"/>
              <a:gd name="T59" fmla="*/ 298 h 629"/>
              <a:gd name="T60" fmla="*/ 556 w 597"/>
              <a:gd name="T61" fmla="*/ 346 h 629"/>
              <a:gd name="T62" fmla="*/ 556 w 597"/>
              <a:gd name="T63" fmla="*/ 386 h 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97" h="629">
                <a:moveTo>
                  <a:pt x="564" y="386"/>
                </a:moveTo>
                <a:lnTo>
                  <a:pt x="556" y="394"/>
                </a:lnTo>
                <a:cubicBezTo>
                  <a:pt x="524" y="411"/>
                  <a:pt x="485" y="394"/>
                  <a:pt x="477" y="451"/>
                </a:cubicBezTo>
                <a:cubicBezTo>
                  <a:pt x="477" y="547"/>
                  <a:pt x="445" y="451"/>
                  <a:pt x="413" y="451"/>
                </a:cubicBezTo>
                <a:cubicBezTo>
                  <a:pt x="389" y="451"/>
                  <a:pt x="389" y="467"/>
                  <a:pt x="373" y="483"/>
                </a:cubicBezTo>
                <a:cubicBezTo>
                  <a:pt x="350" y="499"/>
                  <a:pt x="326" y="507"/>
                  <a:pt x="318" y="523"/>
                </a:cubicBezTo>
                <a:cubicBezTo>
                  <a:pt x="318" y="539"/>
                  <a:pt x="310" y="555"/>
                  <a:pt x="310" y="572"/>
                </a:cubicBezTo>
                <a:cubicBezTo>
                  <a:pt x="318" y="596"/>
                  <a:pt x="318" y="620"/>
                  <a:pt x="302" y="620"/>
                </a:cubicBezTo>
                <a:cubicBezTo>
                  <a:pt x="294" y="620"/>
                  <a:pt x="270" y="628"/>
                  <a:pt x="254" y="620"/>
                </a:cubicBezTo>
                <a:lnTo>
                  <a:pt x="254" y="612"/>
                </a:lnTo>
                <a:lnTo>
                  <a:pt x="262" y="588"/>
                </a:lnTo>
                <a:lnTo>
                  <a:pt x="246" y="563"/>
                </a:lnTo>
                <a:lnTo>
                  <a:pt x="246" y="555"/>
                </a:lnTo>
                <a:cubicBezTo>
                  <a:pt x="238" y="547"/>
                  <a:pt x="238" y="531"/>
                  <a:pt x="238" y="531"/>
                </a:cubicBezTo>
                <a:lnTo>
                  <a:pt x="230" y="507"/>
                </a:lnTo>
                <a:cubicBezTo>
                  <a:pt x="230" y="507"/>
                  <a:pt x="214" y="491"/>
                  <a:pt x="206" y="483"/>
                </a:cubicBezTo>
                <a:cubicBezTo>
                  <a:pt x="206" y="483"/>
                  <a:pt x="206" y="475"/>
                  <a:pt x="190" y="467"/>
                </a:cubicBezTo>
                <a:cubicBezTo>
                  <a:pt x="183" y="467"/>
                  <a:pt x="167" y="459"/>
                  <a:pt x="167" y="459"/>
                </a:cubicBezTo>
                <a:lnTo>
                  <a:pt x="159" y="459"/>
                </a:lnTo>
                <a:lnTo>
                  <a:pt x="151" y="459"/>
                </a:lnTo>
                <a:lnTo>
                  <a:pt x="135" y="443"/>
                </a:lnTo>
                <a:lnTo>
                  <a:pt x="119" y="443"/>
                </a:lnTo>
                <a:lnTo>
                  <a:pt x="111" y="419"/>
                </a:lnTo>
                <a:lnTo>
                  <a:pt x="103" y="394"/>
                </a:lnTo>
                <a:lnTo>
                  <a:pt x="87" y="378"/>
                </a:lnTo>
                <a:lnTo>
                  <a:pt x="71" y="370"/>
                </a:lnTo>
                <a:lnTo>
                  <a:pt x="63" y="362"/>
                </a:lnTo>
                <a:lnTo>
                  <a:pt x="47" y="354"/>
                </a:lnTo>
                <a:cubicBezTo>
                  <a:pt x="39" y="338"/>
                  <a:pt x="55" y="322"/>
                  <a:pt x="47" y="306"/>
                </a:cubicBezTo>
                <a:cubicBezTo>
                  <a:pt x="31" y="290"/>
                  <a:pt x="0" y="274"/>
                  <a:pt x="8" y="274"/>
                </a:cubicBezTo>
                <a:cubicBezTo>
                  <a:pt x="16" y="258"/>
                  <a:pt x="47" y="266"/>
                  <a:pt x="63" y="258"/>
                </a:cubicBezTo>
                <a:cubicBezTo>
                  <a:pt x="71" y="258"/>
                  <a:pt x="71" y="242"/>
                  <a:pt x="79" y="233"/>
                </a:cubicBezTo>
                <a:cubicBezTo>
                  <a:pt x="87" y="233"/>
                  <a:pt x="103" y="242"/>
                  <a:pt x="103" y="225"/>
                </a:cubicBezTo>
                <a:cubicBezTo>
                  <a:pt x="103" y="209"/>
                  <a:pt x="119" y="209"/>
                  <a:pt x="127" y="217"/>
                </a:cubicBezTo>
                <a:cubicBezTo>
                  <a:pt x="127" y="217"/>
                  <a:pt x="135" y="217"/>
                  <a:pt x="151" y="201"/>
                </a:cubicBezTo>
                <a:cubicBezTo>
                  <a:pt x="175" y="193"/>
                  <a:pt x="159" y="193"/>
                  <a:pt x="159" y="193"/>
                </a:cubicBezTo>
                <a:lnTo>
                  <a:pt x="151" y="169"/>
                </a:lnTo>
                <a:lnTo>
                  <a:pt x="198" y="121"/>
                </a:lnTo>
                <a:lnTo>
                  <a:pt x="206" y="81"/>
                </a:lnTo>
                <a:cubicBezTo>
                  <a:pt x="206" y="81"/>
                  <a:pt x="198" y="72"/>
                  <a:pt x="190" y="64"/>
                </a:cubicBezTo>
                <a:cubicBezTo>
                  <a:pt x="175" y="48"/>
                  <a:pt x="183" y="48"/>
                  <a:pt x="183" y="40"/>
                </a:cubicBezTo>
                <a:cubicBezTo>
                  <a:pt x="190" y="32"/>
                  <a:pt x="198" y="32"/>
                  <a:pt x="198" y="32"/>
                </a:cubicBezTo>
                <a:cubicBezTo>
                  <a:pt x="206" y="24"/>
                  <a:pt x="222" y="24"/>
                  <a:pt x="238" y="8"/>
                </a:cubicBezTo>
                <a:cubicBezTo>
                  <a:pt x="254" y="0"/>
                  <a:pt x="254" y="16"/>
                  <a:pt x="254" y="16"/>
                </a:cubicBezTo>
                <a:cubicBezTo>
                  <a:pt x="254" y="16"/>
                  <a:pt x="262" y="40"/>
                  <a:pt x="286" y="48"/>
                </a:cubicBezTo>
                <a:cubicBezTo>
                  <a:pt x="302" y="56"/>
                  <a:pt x="310" y="56"/>
                  <a:pt x="310" y="56"/>
                </a:cubicBezTo>
                <a:lnTo>
                  <a:pt x="334" y="56"/>
                </a:lnTo>
                <a:lnTo>
                  <a:pt x="373" y="89"/>
                </a:lnTo>
                <a:lnTo>
                  <a:pt x="381" y="97"/>
                </a:lnTo>
                <a:cubicBezTo>
                  <a:pt x="389" y="105"/>
                  <a:pt x="397" y="137"/>
                  <a:pt x="397" y="137"/>
                </a:cubicBezTo>
                <a:lnTo>
                  <a:pt x="461" y="153"/>
                </a:lnTo>
                <a:lnTo>
                  <a:pt x="469" y="185"/>
                </a:lnTo>
                <a:cubicBezTo>
                  <a:pt x="469" y="185"/>
                  <a:pt x="501" y="185"/>
                  <a:pt x="517" y="193"/>
                </a:cubicBezTo>
                <a:cubicBezTo>
                  <a:pt x="532" y="193"/>
                  <a:pt x="532" y="209"/>
                  <a:pt x="532" y="209"/>
                </a:cubicBezTo>
                <a:lnTo>
                  <a:pt x="556" y="201"/>
                </a:lnTo>
                <a:lnTo>
                  <a:pt x="596" y="209"/>
                </a:lnTo>
                <a:cubicBezTo>
                  <a:pt x="596" y="209"/>
                  <a:pt x="596" y="217"/>
                  <a:pt x="588" y="225"/>
                </a:cubicBezTo>
                <a:cubicBezTo>
                  <a:pt x="580" y="225"/>
                  <a:pt x="580" y="242"/>
                  <a:pt x="580" y="250"/>
                </a:cubicBezTo>
                <a:lnTo>
                  <a:pt x="580" y="282"/>
                </a:lnTo>
                <a:cubicBezTo>
                  <a:pt x="572" y="298"/>
                  <a:pt x="564" y="290"/>
                  <a:pt x="556" y="298"/>
                </a:cubicBezTo>
                <a:cubicBezTo>
                  <a:pt x="548" y="298"/>
                  <a:pt x="556" y="314"/>
                  <a:pt x="564" y="330"/>
                </a:cubicBezTo>
                <a:cubicBezTo>
                  <a:pt x="564" y="338"/>
                  <a:pt x="564" y="338"/>
                  <a:pt x="556" y="346"/>
                </a:cubicBezTo>
                <a:cubicBezTo>
                  <a:pt x="540" y="362"/>
                  <a:pt x="532" y="362"/>
                  <a:pt x="532" y="362"/>
                </a:cubicBezTo>
                <a:lnTo>
                  <a:pt x="556" y="386"/>
                </a:lnTo>
                <a:lnTo>
                  <a:pt x="564" y="38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5" name="Freeform 7">
            <a:extLst>
              <a:ext uri="{FF2B5EF4-FFF2-40B4-BE49-F238E27FC236}">
                <a16:creationId xmlns:a16="http://schemas.microsoft.com/office/drawing/2014/main" id="{59F45243-DB8F-826B-59F7-D58054B8824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396828" y="5183703"/>
            <a:ext cx="284360" cy="516196"/>
          </a:xfrm>
          <a:custGeom>
            <a:avLst/>
            <a:gdLst>
              <a:gd name="T0" fmla="*/ 463 w 692"/>
              <a:gd name="T1" fmla="*/ 1240 h 1257"/>
              <a:gd name="T2" fmla="*/ 472 w 692"/>
              <a:gd name="T3" fmla="*/ 1185 h 1257"/>
              <a:gd name="T4" fmla="*/ 512 w 692"/>
              <a:gd name="T5" fmla="*/ 1169 h 1257"/>
              <a:gd name="T6" fmla="*/ 463 w 692"/>
              <a:gd name="T7" fmla="*/ 1107 h 1257"/>
              <a:gd name="T8" fmla="*/ 504 w 692"/>
              <a:gd name="T9" fmla="*/ 1067 h 1257"/>
              <a:gd name="T10" fmla="*/ 626 w 692"/>
              <a:gd name="T11" fmla="*/ 902 h 1257"/>
              <a:gd name="T12" fmla="*/ 658 w 692"/>
              <a:gd name="T13" fmla="*/ 730 h 1257"/>
              <a:gd name="T14" fmla="*/ 642 w 692"/>
              <a:gd name="T15" fmla="*/ 706 h 1257"/>
              <a:gd name="T16" fmla="*/ 577 w 692"/>
              <a:gd name="T17" fmla="*/ 691 h 1257"/>
              <a:gd name="T18" fmla="*/ 536 w 692"/>
              <a:gd name="T19" fmla="*/ 651 h 1257"/>
              <a:gd name="T20" fmla="*/ 496 w 692"/>
              <a:gd name="T21" fmla="*/ 620 h 1257"/>
              <a:gd name="T22" fmla="*/ 455 w 692"/>
              <a:gd name="T23" fmla="*/ 549 h 1257"/>
              <a:gd name="T24" fmla="*/ 447 w 692"/>
              <a:gd name="T25" fmla="*/ 487 h 1257"/>
              <a:gd name="T26" fmla="*/ 447 w 692"/>
              <a:gd name="T27" fmla="*/ 424 h 1257"/>
              <a:gd name="T28" fmla="*/ 439 w 692"/>
              <a:gd name="T29" fmla="*/ 369 h 1257"/>
              <a:gd name="T30" fmla="*/ 455 w 692"/>
              <a:gd name="T31" fmla="*/ 259 h 1257"/>
              <a:gd name="T32" fmla="*/ 423 w 692"/>
              <a:gd name="T33" fmla="*/ 181 h 1257"/>
              <a:gd name="T34" fmla="*/ 342 w 692"/>
              <a:gd name="T35" fmla="*/ 133 h 1257"/>
              <a:gd name="T36" fmla="*/ 293 w 692"/>
              <a:gd name="T37" fmla="*/ 71 h 1257"/>
              <a:gd name="T38" fmla="*/ 236 w 692"/>
              <a:gd name="T39" fmla="*/ 31 h 1257"/>
              <a:gd name="T40" fmla="*/ 179 w 692"/>
              <a:gd name="T41" fmla="*/ 71 h 1257"/>
              <a:gd name="T42" fmla="*/ 147 w 692"/>
              <a:gd name="T43" fmla="*/ 55 h 1257"/>
              <a:gd name="T44" fmla="*/ 130 w 692"/>
              <a:gd name="T45" fmla="*/ 0 h 1257"/>
              <a:gd name="T46" fmla="*/ 82 w 692"/>
              <a:gd name="T47" fmla="*/ 55 h 1257"/>
              <a:gd name="T48" fmla="*/ 49 w 692"/>
              <a:gd name="T49" fmla="*/ 110 h 1257"/>
              <a:gd name="T50" fmla="*/ 33 w 692"/>
              <a:gd name="T51" fmla="*/ 157 h 1257"/>
              <a:gd name="T52" fmla="*/ 0 w 692"/>
              <a:gd name="T53" fmla="*/ 212 h 1257"/>
              <a:gd name="T54" fmla="*/ 41 w 692"/>
              <a:gd name="T55" fmla="*/ 251 h 1257"/>
              <a:gd name="T56" fmla="*/ 41 w 692"/>
              <a:gd name="T57" fmla="*/ 290 h 1257"/>
              <a:gd name="T58" fmla="*/ 41 w 692"/>
              <a:gd name="T59" fmla="*/ 337 h 1257"/>
              <a:gd name="T60" fmla="*/ 98 w 692"/>
              <a:gd name="T61" fmla="*/ 353 h 1257"/>
              <a:gd name="T62" fmla="*/ 122 w 692"/>
              <a:gd name="T63" fmla="*/ 408 h 1257"/>
              <a:gd name="T64" fmla="*/ 106 w 692"/>
              <a:gd name="T65" fmla="*/ 463 h 1257"/>
              <a:gd name="T66" fmla="*/ 114 w 692"/>
              <a:gd name="T67" fmla="*/ 479 h 1257"/>
              <a:gd name="T68" fmla="*/ 90 w 692"/>
              <a:gd name="T69" fmla="*/ 526 h 1257"/>
              <a:gd name="T70" fmla="*/ 90 w 692"/>
              <a:gd name="T71" fmla="*/ 557 h 1257"/>
              <a:gd name="T72" fmla="*/ 114 w 692"/>
              <a:gd name="T73" fmla="*/ 604 h 1257"/>
              <a:gd name="T74" fmla="*/ 114 w 692"/>
              <a:gd name="T75" fmla="*/ 683 h 1257"/>
              <a:gd name="T76" fmla="*/ 114 w 692"/>
              <a:gd name="T77" fmla="*/ 730 h 1257"/>
              <a:gd name="T78" fmla="*/ 106 w 692"/>
              <a:gd name="T79" fmla="*/ 761 h 1257"/>
              <a:gd name="T80" fmla="*/ 98 w 692"/>
              <a:gd name="T81" fmla="*/ 808 h 1257"/>
              <a:gd name="T82" fmla="*/ 114 w 692"/>
              <a:gd name="T83" fmla="*/ 895 h 1257"/>
              <a:gd name="T84" fmla="*/ 146 w 692"/>
              <a:gd name="T85" fmla="*/ 957 h 1257"/>
              <a:gd name="T86" fmla="*/ 138 w 692"/>
              <a:gd name="T87" fmla="*/ 981 h 1257"/>
              <a:gd name="T88" fmla="*/ 90 w 692"/>
              <a:gd name="T89" fmla="*/ 942 h 1257"/>
              <a:gd name="T90" fmla="*/ 122 w 692"/>
              <a:gd name="T91" fmla="*/ 981 h 1257"/>
              <a:gd name="T92" fmla="*/ 220 w 692"/>
              <a:gd name="T93" fmla="*/ 1059 h 1257"/>
              <a:gd name="T94" fmla="*/ 268 w 692"/>
              <a:gd name="T95" fmla="*/ 1091 h 1257"/>
              <a:gd name="T96" fmla="*/ 366 w 692"/>
              <a:gd name="T97" fmla="*/ 1169 h 1257"/>
              <a:gd name="T98" fmla="*/ 366 w 692"/>
              <a:gd name="T99" fmla="*/ 1208 h 1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92" h="1257">
                <a:moveTo>
                  <a:pt x="398" y="1240"/>
                </a:moveTo>
                <a:lnTo>
                  <a:pt x="423" y="1256"/>
                </a:lnTo>
                <a:lnTo>
                  <a:pt x="447" y="1248"/>
                </a:lnTo>
                <a:lnTo>
                  <a:pt x="463" y="1240"/>
                </a:lnTo>
                <a:lnTo>
                  <a:pt x="480" y="1224"/>
                </a:lnTo>
                <a:lnTo>
                  <a:pt x="480" y="1209"/>
                </a:lnTo>
                <a:lnTo>
                  <a:pt x="472" y="1201"/>
                </a:lnTo>
                <a:cubicBezTo>
                  <a:pt x="472" y="1201"/>
                  <a:pt x="463" y="1185"/>
                  <a:pt x="472" y="1185"/>
                </a:cubicBezTo>
                <a:cubicBezTo>
                  <a:pt x="480" y="1185"/>
                  <a:pt x="488" y="1177"/>
                  <a:pt x="488" y="1185"/>
                </a:cubicBezTo>
                <a:lnTo>
                  <a:pt x="496" y="1185"/>
                </a:lnTo>
                <a:cubicBezTo>
                  <a:pt x="504" y="1185"/>
                  <a:pt x="512" y="1177"/>
                  <a:pt x="512" y="1177"/>
                </a:cubicBezTo>
                <a:lnTo>
                  <a:pt x="512" y="1169"/>
                </a:lnTo>
                <a:cubicBezTo>
                  <a:pt x="504" y="1161"/>
                  <a:pt x="480" y="1146"/>
                  <a:pt x="472" y="1146"/>
                </a:cubicBezTo>
                <a:cubicBezTo>
                  <a:pt x="472" y="1138"/>
                  <a:pt x="463" y="1130"/>
                  <a:pt x="463" y="1130"/>
                </a:cubicBezTo>
                <a:cubicBezTo>
                  <a:pt x="463" y="1122"/>
                  <a:pt x="472" y="1114"/>
                  <a:pt x="472" y="1114"/>
                </a:cubicBezTo>
                <a:lnTo>
                  <a:pt x="463" y="1107"/>
                </a:lnTo>
                <a:cubicBezTo>
                  <a:pt x="463" y="1107"/>
                  <a:pt x="472" y="1099"/>
                  <a:pt x="480" y="1099"/>
                </a:cubicBezTo>
                <a:lnTo>
                  <a:pt x="488" y="1099"/>
                </a:lnTo>
                <a:lnTo>
                  <a:pt x="496" y="1075"/>
                </a:lnTo>
                <a:cubicBezTo>
                  <a:pt x="496" y="1075"/>
                  <a:pt x="496" y="1067"/>
                  <a:pt x="504" y="1067"/>
                </a:cubicBezTo>
                <a:lnTo>
                  <a:pt x="512" y="1067"/>
                </a:lnTo>
                <a:lnTo>
                  <a:pt x="569" y="1036"/>
                </a:lnTo>
                <a:lnTo>
                  <a:pt x="610" y="973"/>
                </a:lnTo>
                <a:lnTo>
                  <a:pt x="626" y="902"/>
                </a:lnTo>
                <a:lnTo>
                  <a:pt x="650" y="840"/>
                </a:lnTo>
                <a:cubicBezTo>
                  <a:pt x="650" y="840"/>
                  <a:pt x="683" y="808"/>
                  <a:pt x="683" y="816"/>
                </a:cubicBezTo>
                <a:cubicBezTo>
                  <a:pt x="691" y="824"/>
                  <a:pt x="683" y="753"/>
                  <a:pt x="683" y="753"/>
                </a:cubicBezTo>
                <a:lnTo>
                  <a:pt x="658" y="730"/>
                </a:lnTo>
                <a:lnTo>
                  <a:pt x="658" y="714"/>
                </a:lnTo>
                <a:lnTo>
                  <a:pt x="650" y="714"/>
                </a:lnTo>
                <a:lnTo>
                  <a:pt x="642" y="714"/>
                </a:lnTo>
                <a:lnTo>
                  <a:pt x="642" y="706"/>
                </a:lnTo>
                <a:lnTo>
                  <a:pt x="626" y="691"/>
                </a:lnTo>
                <a:cubicBezTo>
                  <a:pt x="626" y="691"/>
                  <a:pt x="618" y="698"/>
                  <a:pt x="610" y="698"/>
                </a:cubicBezTo>
                <a:cubicBezTo>
                  <a:pt x="602" y="698"/>
                  <a:pt x="602" y="691"/>
                  <a:pt x="593" y="691"/>
                </a:cubicBezTo>
                <a:lnTo>
                  <a:pt x="577" y="691"/>
                </a:lnTo>
                <a:cubicBezTo>
                  <a:pt x="569" y="691"/>
                  <a:pt x="561" y="706"/>
                  <a:pt x="553" y="706"/>
                </a:cubicBezTo>
                <a:lnTo>
                  <a:pt x="553" y="698"/>
                </a:lnTo>
                <a:cubicBezTo>
                  <a:pt x="553" y="691"/>
                  <a:pt x="553" y="691"/>
                  <a:pt x="545" y="683"/>
                </a:cubicBezTo>
                <a:cubicBezTo>
                  <a:pt x="545" y="675"/>
                  <a:pt x="545" y="659"/>
                  <a:pt x="536" y="651"/>
                </a:cubicBezTo>
                <a:cubicBezTo>
                  <a:pt x="528" y="644"/>
                  <a:pt x="528" y="636"/>
                  <a:pt x="528" y="636"/>
                </a:cubicBezTo>
                <a:lnTo>
                  <a:pt x="504" y="636"/>
                </a:lnTo>
                <a:lnTo>
                  <a:pt x="496" y="636"/>
                </a:lnTo>
                <a:cubicBezTo>
                  <a:pt x="496" y="636"/>
                  <a:pt x="488" y="620"/>
                  <a:pt x="496" y="620"/>
                </a:cubicBezTo>
                <a:cubicBezTo>
                  <a:pt x="496" y="612"/>
                  <a:pt x="488" y="604"/>
                  <a:pt x="480" y="596"/>
                </a:cubicBezTo>
                <a:lnTo>
                  <a:pt x="463" y="573"/>
                </a:lnTo>
                <a:cubicBezTo>
                  <a:pt x="463" y="573"/>
                  <a:pt x="455" y="573"/>
                  <a:pt x="455" y="565"/>
                </a:cubicBezTo>
                <a:lnTo>
                  <a:pt x="455" y="549"/>
                </a:lnTo>
                <a:lnTo>
                  <a:pt x="447" y="534"/>
                </a:lnTo>
                <a:cubicBezTo>
                  <a:pt x="447" y="534"/>
                  <a:pt x="463" y="526"/>
                  <a:pt x="463" y="518"/>
                </a:cubicBezTo>
                <a:cubicBezTo>
                  <a:pt x="463" y="518"/>
                  <a:pt x="472" y="510"/>
                  <a:pt x="463" y="502"/>
                </a:cubicBezTo>
                <a:cubicBezTo>
                  <a:pt x="463" y="494"/>
                  <a:pt x="447" y="487"/>
                  <a:pt x="447" y="487"/>
                </a:cubicBezTo>
                <a:cubicBezTo>
                  <a:pt x="439" y="479"/>
                  <a:pt x="431" y="471"/>
                  <a:pt x="423" y="463"/>
                </a:cubicBezTo>
                <a:lnTo>
                  <a:pt x="423" y="447"/>
                </a:lnTo>
                <a:cubicBezTo>
                  <a:pt x="423" y="447"/>
                  <a:pt x="423" y="439"/>
                  <a:pt x="431" y="439"/>
                </a:cubicBezTo>
                <a:cubicBezTo>
                  <a:pt x="439" y="432"/>
                  <a:pt x="447" y="432"/>
                  <a:pt x="447" y="424"/>
                </a:cubicBezTo>
                <a:cubicBezTo>
                  <a:pt x="447" y="424"/>
                  <a:pt x="455" y="424"/>
                  <a:pt x="455" y="416"/>
                </a:cubicBezTo>
                <a:cubicBezTo>
                  <a:pt x="447" y="408"/>
                  <a:pt x="439" y="400"/>
                  <a:pt x="439" y="400"/>
                </a:cubicBezTo>
                <a:lnTo>
                  <a:pt x="447" y="377"/>
                </a:lnTo>
                <a:lnTo>
                  <a:pt x="439" y="369"/>
                </a:lnTo>
                <a:lnTo>
                  <a:pt x="439" y="330"/>
                </a:lnTo>
                <a:lnTo>
                  <a:pt x="447" y="314"/>
                </a:lnTo>
                <a:lnTo>
                  <a:pt x="447" y="283"/>
                </a:lnTo>
                <a:lnTo>
                  <a:pt x="455" y="259"/>
                </a:lnTo>
                <a:lnTo>
                  <a:pt x="439" y="235"/>
                </a:lnTo>
                <a:lnTo>
                  <a:pt x="439" y="228"/>
                </a:lnTo>
                <a:cubicBezTo>
                  <a:pt x="431" y="220"/>
                  <a:pt x="431" y="204"/>
                  <a:pt x="431" y="204"/>
                </a:cubicBezTo>
                <a:lnTo>
                  <a:pt x="423" y="181"/>
                </a:lnTo>
                <a:cubicBezTo>
                  <a:pt x="423" y="181"/>
                  <a:pt x="407" y="165"/>
                  <a:pt x="398" y="157"/>
                </a:cubicBezTo>
                <a:cubicBezTo>
                  <a:pt x="398" y="157"/>
                  <a:pt x="398" y="149"/>
                  <a:pt x="382" y="141"/>
                </a:cubicBezTo>
                <a:cubicBezTo>
                  <a:pt x="374" y="141"/>
                  <a:pt x="358" y="133"/>
                  <a:pt x="358" y="133"/>
                </a:cubicBezTo>
                <a:lnTo>
                  <a:pt x="342" y="133"/>
                </a:lnTo>
                <a:lnTo>
                  <a:pt x="325" y="118"/>
                </a:lnTo>
                <a:lnTo>
                  <a:pt x="309" y="118"/>
                </a:lnTo>
                <a:lnTo>
                  <a:pt x="301" y="94"/>
                </a:lnTo>
                <a:lnTo>
                  <a:pt x="293" y="71"/>
                </a:lnTo>
                <a:lnTo>
                  <a:pt x="277" y="55"/>
                </a:lnTo>
                <a:lnTo>
                  <a:pt x="260" y="47"/>
                </a:lnTo>
                <a:lnTo>
                  <a:pt x="252" y="39"/>
                </a:lnTo>
                <a:lnTo>
                  <a:pt x="236" y="31"/>
                </a:lnTo>
                <a:lnTo>
                  <a:pt x="228" y="31"/>
                </a:lnTo>
                <a:lnTo>
                  <a:pt x="220" y="47"/>
                </a:lnTo>
                <a:lnTo>
                  <a:pt x="195" y="55"/>
                </a:lnTo>
                <a:lnTo>
                  <a:pt x="179" y="71"/>
                </a:lnTo>
                <a:lnTo>
                  <a:pt x="163" y="79"/>
                </a:lnTo>
                <a:lnTo>
                  <a:pt x="163" y="71"/>
                </a:lnTo>
                <a:lnTo>
                  <a:pt x="155" y="71"/>
                </a:lnTo>
                <a:cubicBezTo>
                  <a:pt x="155" y="71"/>
                  <a:pt x="147" y="63"/>
                  <a:pt x="147" y="55"/>
                </a:cubicBezTo>
                <a:lnTo>
                  <a:pt x="138" y="47"/>
                </a:lnTo>
                <a:lnTo>
                  <a:pt x="138" y="16"/>
                </a:lnTo>
                <a:lnTo>
                  <a:pt x="130" y="8"/>
                </a:lnTo>
                <a:lnTo>
                  <a:pt x="130" y="0"/>
                </a:lnTo>
                <a:lnTo>
                  <a:pt x="114" y="0"/>
                </a:lnTo>
                <a:lnTo>
                  <a:pt x="82" y="31"/>
                </a:lnTo>
                <a:lnTo>
                  <a:pt x="90" y="39"/>
                </a:lnTo>
                <a:lnTo>
                  <a:pt x="82" y="55"/>
                </a:lnTo>
                <a:lnTo>
                  <a:pt x="73" y="71"/>
                </a:lnTo>
                <a:lnTo>
                  <a:pt x="65" y="86"/>
                </a:lnTo>
                <a:cubicBezTo>
                  <a:pt x="65" y="86"/>
                  <a:pt x="57" y="94"/>
                  <a:pt x="57" y="102"/>
                </a:cubicBezTo>
                <a:lnTo>
                  <a:pt x="49" y="110"/>
                </a:lnTo>
                <a:lnTo>
                  <a:pt x="41" y="118"/>
                </a:lnTo>
                <a:lnTo>
                  <a:pt x="33" y="126"/>
                </a:lnTo>
                <a:lnTo>
                  <a:pt x="33" y="141"/>
                </a:lnTo>
                <a:lnTo>
                  <a:pt x="33" y="157"/>
                </a:lnTo>
                <a:lnTo>
                  <a:pt x="25" y="165"/>
                </a:lnTo>
                <a:lnTo>
                  <a:pt x="16" y="181"/>
                </a:lnTo>
                <a:lnTo>
                  <a:pt x="0" y="196"/>
                </a:lnTo>
                <a:lnTo>
                  <a:pt x="0" y="212"/>
                </a:lnTo>
                <a:lnTo>
                  <a:pt x="8" y="220"/>
                </a:lnTo>
                <a:lnTo>
                  <a:pt x="25" y="228"/>
                </a:lnTo>
                <a:lnTo>
                  <a:pt x="41" y="235"/>
                </a:lnTo>
                <a:lnTo>
                  <a:pt x="41" y="251"/>
                </a:lnTo>
                <a:lnTo>
                  <a:pt x="41" y="259"/>
                </a:lnTo>
                <a:lnTo>
                  <a:pt x="33" y="275"/>
                </a:lnTo>
                <a:lnTo>
                  <a:pt x="41" y="283"/>
                </a:lnTo>
                <a:lnTo>
                  <a:pt x="41" y="290"/>
                </a:lnTo>
                <a:lnTo>
                  <a:pt x="41" y="306"/>
                </a:lnTo>
                <a:lnTo>
                  <a:pt x="33" y="314"/>
                </a:lnTo>
                <a:cubicBezTo>
                  <a:pt x="33" y="314"/>
                  <a:pt x="41" y="322"/>
                  <a:pt x="41" y="330"/>
                </a:cubicBezTo>
                <a:lnTo>
                  <a:pt x="41" y="337"/>
                </a:lnTo>
                <a:cubicBezTo>
                  <a:pt x="33" y="337"/>
                  <a:pt x="49" y="353"/>
                  <a:pt x="49" y="353"/>
                </a:cubicBezTo>
                <a:cubicBezTo>
                  <a:pt x="49" y="353"/>
                  <a:pt x="57" y="345"/>
                  <a:pt x="65" y="345"/>
                </a:cubicBezTo>
                <a:lnTo>
                  <a:pt x="81" y="345"/>
                </a:lnTo>
                <a:lnTo>
                  <a:pt x="98" y="353"/>
                </a:lnTo>
                <a:lnTo>
                  <a:pt x="114" y="353"/>
                </a:lnTo>
                <a:lnTo>
                  <a:pt x="122" y="369"/>
                </a:lnTo>
                <a:lnTo>
                  <a:pt x="122" y="385"/>
                </a:lnTo>
                <a:lnTo>
                  <a:pt x="122" y="408"/>
                </a:lnTo>
                <a:lnTo>
                  <a:pt x="114" y="424"/>
                </a:lnTo>
                <a:lnTo>
                  <a:pt x="130" y="432"/>
                </a:lnTo>
                <a:lnTo>
                  <a:pt x="130" y="455"/>
                </a:lnTo>
                <a:cubicBezTo>
                  <a:pt x="122" y="455"/>
                  <a:pt x="114" y="455"/>
                  <a:pt x="106" y="463"/>
                </a:cubicBezTo>
                <a:lnTo>
                  <a:pt x="90" y="463"/>
                </a:lnTo>
                <a:lnTo>
                  <a:pt x="90" y="471"/>
                </a:lnTo>
                <a:lnTo>
                  <a:pt x="106" y="479"/>
                </a:lnTo>
                <a:lnTo>
                  <a:pt x="114" y="479"/>
                </a:lnTo>
                <a:lnTo>
                  <a:pt x="114" y="502"/>
                </a:lnTo>
                <a:cubicBezTo>
                  <a:pt x="114" y="502"/>
                  <a:pt x="114" y="510"/>
                  <a:pt x="106" y="510"/>
                </a:cubicBezTo>
                <a:lnTo>
                  <a:pt x="98" y="518"/>
                </a:lnTo>
                <a:lnTo>
                  <a:pt x="90" y="526"/>
                </a:lnTo>
                <a:lnTo>
                  <a:pt x="81" y="534"/>
                </a:lnTo>
                <a:lnTo>
                  <a:pt x="65" y="542"/>
                </a:lnTo>
                <a:lnTo>
                  <a:pt x="81" y="557"/>
                </a:lnTo>
                <a:lnTo>
                  <a:pt x="90" y="557"/>
                </a:lnTo>
                <a:lnTo>
                  <a:pt x="98" y="565"/>
                </a:lnTo>
                <a:lnTo>
                  <a:pt x="122" y="581"/>
                </a:lnTo>
                <a:lnTo>
                  <a:pt x="114" y="589"/>
                </a:lnTo>
                <a:lnTo>
                  <a:pt x="114" y="604"/>
                </a:lnTo>
                <a:lnTo>
                  <a:pt x="114" y="636"/>
                </a:lnTo>
                <a:lnTo>
                  <a:pt x="106" y="644"/>
                </a:lnTo>
                <a:cubicBezTo>
                  <a:pt x="106" y="651"/>
                  <a:pt x="114" y="675"/>
                  <a:pt x="114" y="675"/>
                </a:cubicBezTo>
                <a:lnTo>
                  <a:pt x="114" y="683"/>
                </a:lnTo>
                <a:lnTo>
                  <a:pt x="106" y="691"/>
                </a:lnTo>
                <a:lnTo>
                  <a:pt x="138" y="706"/>
                </a:lnTo>
                <a:lnTo>
                  <a:pt x="130" y="722"/>
                </a:lnTo>
                <a:lnTo>
                  <a:pt x="114" y="730"/>
                </a:lnTo>
                <a:lnTo>
                  <a:pt x="106" y="730"/>
                </a:lnTo>
                <a:lnTo>
                  <a:pt x="106" y="746"/>
                </a:lnTo>
                <a:lnTo>
                  <a:pt x="114" y="753"/>
                </a:lnTo>
                <a:lnTo>
                  <a:pt x="106" y="761"/>
                </a:lnTo>
                <a:lnTo>
                  <a:pt x="106" y="777"/>
                </a:lnTo>
                <a:cubicBezTo>
                  <a:pt x="106" y="777"/>
                  <a:pt x="106" y="785"/>
                  <a:pt x="98" y="785"/>
                </a:cubicBezTo>
                <a:lnTo>
                  <a:pt x="90" y="793"/>
                </a:lnTo>
                <a:lnTo>
                  <a:pt x="98" y="808"/>
                </a:lnTo>
                <a:lnTo>
                  <a:pt x="90" y="840"/>
                </a:lnTo>
                <a:lnTo>
                  <a:pt x="90" y="848"/>
                </a:lnTo>
                <a:lnTo>
                  <a:pt x="98" y="871"/>
                </a:lnTo>
                <a:lnTo>
                  <a:pt x="114" y="895"/>
                </a:lnTo>
                <a:lnTo>
                  <a:pt x="130" y="910"/>
                </a:lnTo>
                <a:lnTo>
                  <a:pt x="138" y="926"/>
                </a:lnTo>
                <a:lnTo>
                  <a:pt x="155" y="934"/>
                </a:lnTo>
                <a:lnTo>
                  <a:pt x="146" y="957"/>
                </a:lnTo>
                <a:lnTo>
                  <a:pt x="155" y="965"/>
                </a:lnTo>
                <a:lnTo>
                  <a:pt x="155" y="981"/>
                </a:lnTo>
                <a:lnTo>
                  <a:pt x="146" y="989"/>
                </a:lnTo>
                <a:lnTo>
                  <a:pt x="138" y="981"/>
                </a:lnTo>
                <a:cubicBezTo>
                  <a:pt x="130" y="981"/>
                  <a:pt x="122" y="965"/>
                  <a:pt x="122" y="965"/>
                </a:cubicBezTo>
                <a:lnTo>
                  <a:pt x="114" y="950"/>
                </a:lnTo>
                <a:lnTo>
                  <a:pt x="106" y="942"/>
                </a:lnTo>
                <a:lnTo>
                  <a:pt x="90" y="942"/>
                </a:lnTo>
                <a:lnTo>
                  <a:pt x="90" y="950"/>
                </a:lnTo>
                <a:cubicBezTo>
                  <a:pt x="90" y="957"/>
                  <a:pt x="90" y="957"/>
                  <a:pt x="98" y="965"/>
                </a:cubicBezTo>
                <a:cubicBezTo>
                  <a:pt x="106" y="973"/>
                  <a:pt x="106" y="973"/>
                  <a:pt x="114" y="973"/>
                </a:cubicBezTo>
                <a:cubicBezTo>
                  <a:pt x="114" y="973"/>
                  <a:pt x="114" y="981"/>
                  <a:pt x="122" y="981"/>
                </a:cubicBezTo>
                <a:lnTo>
                  <a:pt x="122" y="1004"/>
                </a:lnTo>
                <a:lnTo>
                  <a:pt x="138" y="1020"/>
                </a:lnTo>
                <a:lnTo>
                  <a:pt x="155" y="1028"/>
                </a:lnTo>
                <a:lnTo>
                  <a:pt x="220" y="1059"/>
                </a:lnTo>
                <a:lnTo>
                  <a:pt x="244" y="1067"/>
                </a:lnTo>
                <a:lnTo>
                  <a:pt x="252" y="1067"/>
                </a:lnTo>
                <a:lnTo>
                  <a:pt x="260" y="1083"/>
                </a:lnTo>
                <a:lnTo>
                  <a:pt x="268" y="1091"/>
                </a:lnTo>
                <a:lnTo>
                  <a:pt x="309" y="1091"/>
                </a:lnTo>
                <a:cubicBezTo>
                  <a:pt x="309" y="1099"/>
                  <a:pt x="333" y="1138"/>
                  <a:pt x="333" y="1138"/>
                </a:cubicBezTo>
                <a:cubicBezTo>
                  <a:pt x="333" y="1138"/>
                  <a:pt x="333" y="1146"/>
                  <a:pt x="341" y="1154"/>
                </a:cubicBezTo>
                <a:cubicBezTo>
                  <a:pt x="350" y="1161"/>
                  <a:pt x="366" y="1169"/>
                  <a:pt x="366" y="1169"/>
                </a:cubicBezTo>
                <a:cubicBezTo>
                  <a:pt x="366" y="1169"/>
                  <a:pt x="358" y="1177"/>
                  <a:pt x="358" y="1185"/>
                </a:cubicBezTo>
                <a:cubicBezTo>
                  <a:pt x="366" y="1193"/>
                  <a:pt x="358" y="1193"/>
                  <a:pt x="366" y="1193"/>
                </a:cubicBezTo>
                <a:lnTo>
                  <a:pt x="366" y="1201"/>
                </a:lnTo>
                <a:lnTo>
                  <a:pt x="366" y="1208"/>
                </a:lnTo>
                <a:cubicBezTo>
                  <a:pt x="374" y="1208"/>
                  <a:pt x="374" y="1216"/>
                  <a:pt x="374" y="1216"/>
                </a:cubicBezTo>
                <a:lnTo>
                  <a:pt x="374" y="1240"/>
                </a:lnTo>
                <a:lnTo>
                  <a:pt x="398" y="1240"/>
                </a:lnTo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6" name="Freeform 8">
            <a:extLst>
              <a:ext uri="{FF2B5EF4-FFF2-40B4-BE49-F238E27FC236}">
                <a16:creationId xmlns:a16="http://schemas.microsoft.com/office/drawing/2014/main" id="{FF6B1576-3C5A-1C95-861F-4C102EF8B7EC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396828" y="5183703"/>
            <a:ext cx="284360" cy="516196"/>
          </a:xfrm>
          <a:custGeom>
            <a:avLst/>
            <a:gdLst>
              <a:gd name="T0" fmla="*/ 463 w 692"/>
              <a:gd name="T1" fmla="*/ 1240 h 1257"/>
              <a:gd name="T2" fmla="*/ 472 w 692"/>
              <a:gd name="T3" fmla="*/ 1185 h 1257"/>
              <a:gd name="T4" fmla="*/ 512 w 692"/>
              <a:gd name="T5" fmla="*/ 1169 h 1257"/>
              <a:gd name="T6" fmla="*/ 463 w 692"/>
              <a:gd name="T7" fmla="*/ 1107 h 1257"/>
              <a:gd name="T8" fmla="*/ 504 w 692"/>
              <a:gd name="T9" fmla="*/ 1067 h 1257"/>
              <a:gd name="T10" fmla="*/ 626 w 692"/>
              <a:gd name="T11" fmla="*/ 902 h 1257"/>
              <a:gd name="T12" fmla="*/ 658 w 692"/>
              <a:gd name="T13" fmla="*/ 730 h 1257"/>
              <a:gd name="T14" fmla="*/ 642 w 692"/>
              <a:gd name="T15" fmla="*/ 706 h 1257"/>
              <a:gd name="T16" fmla="*/ 577 w 692"/>
              <a:gd name="T17" fmla="*/ 691 h 1257"/>
              <a:gd name="T18" fmla="*/ 536 w 692"/>
              <a:gd name="T19" fmla="*/ 651 h 1257"/>
              <a:gd name="T20" fmla="*/ 496 w 692"/>
              <a:gd name="T21" fmla="*/ 620 h 1257"/>
              <a:gd name="T22" fmla="*/ 455 w 692"/>
              <a:gd name="T23" fmla="*/ 549 h 1257"/>
              <a:gd name="T24" fmla="*/ 447 w 692"/>
              <a:gd name="T25" fmla="*/ 487 h 1257"/>
              <a:gd name="T26" fmla="*/ 447 w 692"/>
              <a:gd name="T27" fmla="*/ 424 h 1257"/>
              <a:gd name="T28" fmla="*/ 439 w 692"/>
              <a:gd name="T29" fmla="*/ 369 h 1257"/>
              <a:gd name="T30" fmla="*/ 455 w 692"/>
              <a:gd name="T31" fmla="*/ 259 h 1257"/>
              <a:gd name="T32" fmla="*/ 423 w 692"/>
              <a:gd name="T33" fmla="*/ 181 h 1257"/>
              <a:gd name="T34" fmla="*/ 342 w 692"/>
              <a:gd name="T35" fmla="*/ 133 h 1257"/>
              <a:gd name="T36" fmla="*/ 293 w 692"/>
              <a:gd name="T37" fmla="*/ 71 h 1257"/>
              <a:gd name="T38" fmla="*/ 236 w 692"/>
              <a:gd name="T39" fmla="*/ 31 h 1257"/>
              <a:gd name="T40" fmla="*/ 179 w 692"/>
              <a:gd name="T41" fmla="*/ 71 h 1257"/>
              <a:gd name="T42" fmla="*/ 147 w 692"/>
              <a:gd name="T43" fmla="*/ 55 h 1257"/>
              <a:gd name="T44" fmla="*/ 130 w 692"/>
              <a:gd name="T45" fmla="*/ 0 h 1257"/>
              <a:gd name="T46" fmla="*/ 82 w 692"/>
              <a:gd name="T47" fmla="*/ 55 h 1257"/>
              <a:gd name="T48" fmla="*/ 49 w 692"/>
              <a:gd name="T49" fmla="*/ 110 h 1257"/>
              <a:gd name="T50" fmla="*/ 33 w 692"/>
              <a:gd name="T51" fmla="*/ 157 h 1257"/>
              <a:gd name="T52" fmla="*/ 0 w 692"/>
              <a:gd name="T53" fmla="*/ 212 h 1257"/>
              <a:gd name="T54" fmla="*/ 41 w 692"/>
              <a:gd name="T55" fmla="*/ 251 h 1257"/>
              <a:gd name="T56" fmla="*/ 41 w 692"/>
              <a:gd name="T57" fmla="*/ 290 h 1257"/>
              <a:gd name="T58" fmla="*/ 41 w 692"/>
              <a:gd name="T59" fmla="*/ 337 h 1257"/>
              <a:gd name="T60" fmla="*/ 98 w 692"/>
              <a:gd name="T61" fmla="*/ 353 h 1257"/>
              <a:gd name="T62" fmla="*/ 122 w 692"/>
              <a:gd name="T63" fmla="*/ 408 h 1257"/>
              <a:gd name="T64" fmla="*/ 106 w 692"/>
              <a:gd name="T65" fmla="*/ 463 h 1257"/>
              <a:gd name="T66" fmla="*/ 114 w 692"/>
              <a:gd name="T67" fmla="*/ 479 h 1257"/>
              <a:gd name="T68" fmla="*/ 90 w 692"/>
              <a:gd name="T69" fmla="*/ 526 h 1257"/>
              <a:gd name="T70" fmla="*/ 90 w 692"/>
              <a:gd name="T71" fmla="*/ 557 h 1257"/>
              <a:gd name="T72" fmla="*/ 114 w 692"/>
              <a:gd name="T73" fmla="*/ 604 h 1257"/>
              <a:gd name="T74" fmla="*/ 114 w 692"/>
              <a:gd name="T75" fmla="*/ 683 h 1257"/>
              <a:gd name="T76" fmla="*/ 114 w 692"/>
              <a:gd name="T77" fmla="*/ 730 h 1257"/>
              <a:gd name="T78" fmla="*/ 106 w 692"/>
              <a:gd name="T79" fmla="*/ 761 h 1257"/>
              <a:gd name="T80" fmla="*/ 98 w 692"/>
              <a:gd name="T81" fmla="*/ 808 h 1257"/>
              <a:gd name="T82" fmla="*/ 114 w 692"/>
              <a:gd name="T83" fmla="*/ 895 h 1257"/>
              <a:gd name="T84" fmla="*/ 146 w 692"/>
              <a:gd name="T85" fmla="*/ 957 h 1257"/>
              <a:gd name="T86" fmla="*/ 138 w 692"/>
              <a:gd name="T87" fmla="*/ 981 h 1257"/>
              <a:gd name="T88" fmla="*/ 90 w 692"/>
              <a:gd name="T89" fmla="*/ 942 h 1257"/>
              <a:gd name="T90" fmla="*/ 122 w 692"/>
              <a:gd name="T91" fmla="*/ 981 h 1257"/>
              <a:gd name="T92" fmla="*/ 220 w 692"/>
              <a:gd name="T93" fmla="*/ 1059 h 1257"/>
              <a:gd name="T94" fmla="*/ 268 w 692"/>
              <a:gd name="T95" fmla="*/ 1091 h 1257"/>
              <a:gd name="T96" fmla="*/ 366 w 692"/>
              <a:gd name="T97" fmla="*/ 1169 h 1257"/>
              <a:gd name="T98" fmla="*/ 366 w 692"/>
              <a:gd name="T99" fmla="*/ 1208 h 1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92" h="1257">
                <a:moveTo>
                  <a:pt x="398" y="1240"/>
                </a:moveTo>
                <a:lnTo>
                  <a:pt x="423" y="1256"/>
                </a:lnTo>
                <a:lnTo>
                  <a:pt x="447" y="1248"/>
                </a:lnTo>
                <a:lnTo>
                  <a:pt x="463" y="1240"/>
                </a:lnTo>
                <a:lnTo>
                  <a:pt x="480" y="1224"/>
                </a:lnTo>
                <a:lnTo>
                  <a:pt x="480" y="1209"/>
                </a:lnTo>
                <a:lnTo>
                  <a:pt x="472" y="1201"/>
                </a:lnTo>
                <a:cubicBezTo>
                  <a:pt x="472" y="1201"/>
                  <a:pt x="463" y="1185"/>
                  <a:pt x="472" y="1185"/>
                </a:cubicBezTo>
                <a:cubicBezTo>
                  <a:pt x="480" y="1185"/>
                  <a:pt x="488" y="1177"/>
                  <a:pt x="488" y="1185"/>
                </a:cubicBezTo>
                <a:lnTo>
                  <a:pt x="496" y="1185"/>
                </a:lnTo>
                <a:cubicBezTo>
                  <a:pt x="504" y="1185"/>
                  <a:pt x="512" y="1177"/>
                  <a:pt x="512" y="1177"/>
                </a:cubicBezTo>
                <a:lnTo>
                  <a:pt x="512" y="1169"/>
                </a:lnTo>
                <a:cubicBezTo>
                  <a:pt x="504" y="1161"/>
                  <a:pt x="480" y="1146"/>
                  <a:pt x="472" y="1146"/>
                </a:cubicBezTo>
                <a:cubicBezTo>
                  <a:pt x="472" y="1138"/>
                  <a:pt x="463" y="1130"/>
                  <a:pt x="463" y="1130"/>
                </a:cubicBezTo>
                <a:cubicBezTo>
                  <a:pt x="463" y="1122"/>
                  <a:pt x="472" y="1114"/>
                  <a:pt x="472" y="1114"/>
                </a:cubicBezTo>
                <a:lnTo>
                  <a:pt x="463" y="1107"/>
                </a:lnTo>
                <a:cubicBezTo>
                  <a:pt x="463" y="1107"/>
                  <a:pt x="472" y="1099"/>
                  <a:pt x="480" y="1099"/>
                </a:cubicBezTo>
                <a:lnTo>
                  <a:pt x="488" y="1099"/>
                </a:lnTo>
                <a:lnTo>
                  <a:pt x="496" y="1075"/>
                </a:lnTo>
                <a:cubicBezTo>
                  <a:pt x="496" y="1075"/>
                  <a:pt x="496" y="1067"/>
                  <a:pt x="504" y="1067"/>
                </a:cubicBezTo>
                <a:lnTo>
                  <a:pt x="512" y="1067"/>
                </a:lnTo>
                <a:lnTo>
                  <a:pt x="569" y="1036"/>
                </a:lnTo>
                <a:lnTo>
                  <a:pt x="610" y="973"/>
                </a:lnTo>
                <a:lnTo>
                  <a:pt x="626" y="902"/>
                </a:lnTo>
                <a:lnTo>
                  <a:pt x="650" y="840"/>
                </a:lnTo>
                <a:cubicBezTo>
                  <a:pt x="650" y="840"/>
                  <a:pt x="683" y="808"/>
                  <a:pt x="683" y="816"/>
                </a:cubicBezTo>
                <a:cubicBezTo>
                  <a:pt x="691" y="824"/>
                  <a:pt x="683" y="753"/>
                  <a:pt x="683" y="753"/>
                </a:cubicBezTo>
                <a:lnTo>
                  <a:pt x="658" y="730"/>
                </a:lnTo>
                <a:lnTo>
                  <a:pt x="658" y="714"/>
                </a:lnTo>
                <a:lnTo>
                  <a:pt x="650" y="714"/>
                </a:lnTo>
                <a:lnTo>
                  <a:pt x="642" y="714"/>
                </a:lnTo>
                <a:lnTo>
                  <a:pt x="642" y="706"/>
                </a:lnTo>
                <a:lnTo>
                  <a:pt x="626" y="691"/>
                </a:lnTo>
                <a:cubicBezTo>
                  <a:pt x="626" y="691"/>
                  <a:pt x="618" y="698"/>
                  <a:pt x="610" y="698"/>
                </a:cubicBezTo>
                <a:cubicBezTo>
                  <a:pt x="602" y="698"/>
                  <a:pt x="602" y="691"/>
                  <a:pt x="593" y="691"/>
                </a:cubicBezTo>
                <a:lnTo>
                  <a:pt x="577" y="691"/>
                </a:lnTo>
                <a:cubicBezTo>
                  <a:pt x="569" y="691"/>
                  <a:pt x="561" y="706"/>
                  <a:pt x="553" y="706"/>
                </a:cubicBezTo>
                <a:lnTo>
                  <a:pt x="553" y="698"/>
                </a:lnTo>
                <a:cubicBezTo>
                  <a:pt x="553" y="691"/>
                  <a:pt x="553" y="691"/>
                  <a:pt x="545" y="683"/>
                </a:cubicBezTo>
                <a:cubicBezTo>
                  <a:pt x="545" y="675"/>
                  <a:pt x="545" y="659"/>
                  <a:pt x="536" y="651"/>
                </a:cubicBezTo>
                <a:cubicBezTo>
                  <a:pt x="528" y="644"/>
                  <a:pt x="528" y="636"/>
                  <a:pt x="528" y="636"/>
                </a:cubicBezTo>
                <a:lnTo>
                  <a:pt x="504" y="636"/>
                </a:lnTo>
                <a:lnTo>
                  <a:pt x="496" y="636"/>
                </a:lnTo>
                <a:cubicBezTo>
                  <a:pt x="496" y="636"/>
                  <a:pt x="488" y="620"/>
                  <a:pt x="496" y="620"/>
                </a:cubicBezTo>
                <a:cubicBezTo>
                  <a:pt x="496" y="612"/>
                  <a:pt x="488" y="604"/>
                  <a:pt x="480" y="596"/>
                </a:cubicBezTo>
                <a:lnTo>
                  <a:pt x="463" y="573"/>
                </a:lnTo>
                <a:cubicBezTo>
                  <a:pt x="463" y="573"/>
                  <a:pt x="455" y="573"/>
                  <a:pt x="455" y="565"/>
                </a:cubicBezTo>
                <a:lnTo>
                  <a:pt x="455" y="549"/>
                </a:lnTo>
                <a:lnTo>
                  <a:pt x="447" y="534"/>
                </a:lnTo>
                <a:cubicBezTo>
                  <a:pt x="447" y="534"/>
                  <a:pt x="463" y="526"/>
                  <a:pt x="463" y="518"/>
                </a:cubicBezTo>
                <a:cubicBezTo>
                  <a:pt x="463" y="518"/>
                  <a:pt x="472" y="510"/>
                  <a:pt x="463" y="502"/>
                </a:cubicBezTo>
                <a:cubicBezTo>
                  <a:pt x="463" y="494"/>
                  <a:pt x="447" y="487"/>
                  <a:pt x="447" y="487"/>
                </a:cubicBezTo>
                <a:cubicBezTo>
                  <a:pt x="439" y="479"/>
                  <a:pt x="431" y="471"/>
                  <a:pt x="423" y="463"/>
                </a:cubicBezTo>
                <a:lnTo>
                  <a:pt x="423" y="447"/>
                </a:lnTo>
                <a:cubicBezTo>
                  <a:pt x="423" y="447"/>
                  <a:pt x="423" y="439"/>
                  <a:pt x="431" y="439"/>
                </a:cubicBezTo>
                <a:cubicBezTo>
                  <a:pt x="439" y="432"/>
                  <a:pt x="447" y="432"/>
                  <a:pt x="447" y="424"/>
                </a:cubicBezTo>
                <a:cubicBezTo>
                  <a:pt x="447" y="424"/>
                  <a:pt x="455" y="424"/>
                  <a:pt x="455" y="416"/>
                </a:cubicBezTo>
                <a:cubicBezTo>
                  <a:pt x="447" y="408"/>
                  <a:pt x="439" y="400"/>
                  <a:pt x="439" y="400"/>
                </a:cubicBezTo>
                <a:lnTo>
                  <a:pt x="447" y="377"/>
                </a:lnTo>
                <a:lnTo>
                  <a:pt x="439" y="369"/>
                </a:lnTo>
                <a:lnTo>
                  <a:pt x="439" y="330"/>
                </a:lnTo>
                <a:lnTo>
                  <a:pt x="447" y="314"/>
                </a:lnTo>
                <a:lnTo>
                  <a:pt x="447" y="283"/>
                </a:lnTo>
                <a:lnTo>
                  <a:pt x="455" y="259"/>
                </a:lnTo>
                <a:lnTo>
                  <a:pt x="439" y="235"/>
                </a:lnTo>
                <a:lnTo>
                  <a:pt x="439" y="228"/>
                </a:lnTo>
                <a:cubicBezTo>
                  <a:pt x="431" y="220"/>
                  <a:pt x="431" y="204"/>
                  <a:pt x="431" y="204"/>
                </a:cubicBezTo>
                <a:lnTo>
                  <a:pt x="423" y="181"/>
                </a:lnTo>
                <a:cubicBezTo>
                  <a:pt x="423" y="181"/>
                  <a:pt x="407" y="165"/>
                  <a:pt x="398" y="157"/>
                </a:cubicBezTo>
                <a:cubicBezTo>
                  <a:pt x="398" y="157"/>
                  <a:pt x="398" y="149"/>
                  <a:pt x="382" y="141"/>
                </a:cubicBezTo>
                <a:cubicBezTo>
                  <a:pt x="374" y="141"/>
                  <a:pt x="358" y="133"/>
                  <a:pt x="358" y="133"/>
                </a:cubicBezTo>
                <a:lnTo>
                  <a:pt x="342" y="133"/>
                </a:lnTo>
                <a:lnTo>
                  <a:pt x="325" y="118"/>
                </a:lnTo>
                <a:lnTo>
                  <a:pt x="309" y="118"/>
                </a:lnTo>
                <a:lnTo>
                  <a:pt x="301" y="94"/>
                </a:lnTo>
                <a:lnTo>
                  <a:pt x="293" y="71"/>
                </a:lnTo>
                <a:lnTo>
                  <a:pt x="277" y="55"/>
                </a:lnTo>
                <a:lnTo>
                  <a:pt x="260" y="47"/>
                </a:lnTo>
                <a:lnTo>
                  <a:pt x="252" y="39"/>
                </a:lnTo>
                <a:lnTo>
                  <a:pt x="236" y="31"/>
                </a:lnTo>
                <a:lnTo>
                  <a:pt x="228" y="31"/>
                </a:lnTo>
                <a:lnTo>
                  <a:pt x="220" y="47"/>
                </a:lnTo>
                <a:lnTo>
                  <a:pt x="195" y="55"/>
                </a:lnTo>
                <a:lnTo>
                  <a:pt x="179" y="71"/>
                </a:lnTo>
                <a:lnTo>
                  <a:pt x="163" y="79"/>
                </a:lnTo>
                <a:lnTo>
                  <a:pt x="163" y="71"/>
                </a:lnTo>
                <a:lnTo>
                  <a:pt x="155" y="71"/>
                </a:lnTo>
                <a:cubicBezTo>
                  <a:pt x="155" y="71"/>
                  <a:pt x="147" y="63"/>
                  <a:pt x="147" y="55"/>
                </a:cubicBezTo>
                <a:lnTo>
                  <a:pt x="138" y="47"/>
                </a:lnTo>
                <a:lnTo>
                  <a:pt x="138" y="16"/>
                </a:lnTo>
                <a:lnTo>
                  <a:pt x="130" y="8"/>
                </a:lnTo>
                <a:lnTo>
                  <a:pt x="130" y="0"/>
                </a:lnTo>
                <a:lnTo>
                  <a:pt x="114" y="0"/>
                </a:lnTo>
                <a:lnTo>
                  <a:pt x="82" y="31"/>
                </a:lnTo>
                <a:lnTo>
                  <a:pt x="90" y="39"/>
                </a:lnTo>
                <a:lnTo>
                  <a:pt x="82" y="55"/>
                </a:lnTo>
                <a:lnTo>
                  <a:pt x="73" y="71"/>
                </a:lnTo>
                <a:lnTo>
                  <a:pt x="65" y="86"/>
                </a:lnTo>
                <a:cubicBezTo>
                  <a:pt x="65" y="86"/>
                  <a:pt x="57" y="94"/>
                  <a:pt x="57" y="102"/>
                </a:cubicBezTo>
                <a:lnTo>
                  <a:pt x="49" y="110"/>
                </a:lnTo>
                <a:lnTo>
                  <a:pt x="41" y="118"/>
                </a:lnTo>
                <a:lnTo>
                  <a:pt x="33" y="126"/>
                </a:lnTo>
                <a:lnTo>
                  <a:pt x="33" y="141"/>
                </a:lnTo>
                <a:lnTo>
                  <a:pt x="33" y="157"/>
                </a:lnTo>
                <a:lnTo>
                  <a:pt x="25" y="165"/>
                </a:lnTo>
                <a:lnTo>
                  <a:pt x="16" y="181"/>
                </a:lnTo>
                <a:lnTo>
                  <a:pt x="0" y="196"/>
                </a:lnTo>
                <a:lnTo>
                  <a:pt x="0" y="212"/>
                </a:lnTo>
                <a:lnTo>
                  <a:pt x="8" y="220"/>
                </a:lnTo>
                <a:lnTo>
                  <a:pt x="25" y="228"/>
                </a:lnTo>
                <a:lnTo>
                  <a:pt x="41" y="235"/>
                </a:lnTo>
                <a:lnTo>
                  <a:pt x="41" y="251"/>
                </a:lnTo>
                <a:lnTo>
                  <a:pt x="41" y="259"/>
                </a:lnTo>
                <a:lnTo>
                  <a:pt x="33" y="275"/>
                </a:lnTo>
                <a:lnTo>
                  <a:pt x="41" y="283"/>
                </a:lnTo>
                <a:lnTo>
                  <a:pt x="41" y="290"/>
                </a:lnTo>
                <a:lnTo>
                  <a:pt x="41" y="306"/>
                </a:lnTo>
                <a:lnTo>
                  <a:pt x="33" y="314"/>
                </a:lnTo>
                <a:cubicBezTo>
                  <a:pt x="33" y="314"/>
                  <a:pt x="41" y="322"/>
                  <a:pt x="41" y="330"/>
                </a:cubicBezTo>
                <a:lnTo>
                  <a:pt x="41" y="337"/>
                </a:lnTo>
                <a:cubicBezTo>
                  <a:pt x="33" y="337"/>
                  <a:pt x="49" y="353"/>
                  <a:pt x="49" y="353"/>
                </a:cubicBezTo>
                <a:cubicBezTo>
                  <a:pt x="49" y="353"/>
                  <a:pt x="57" y="345"/>
                  <a:pt x="65" y="345"/>
                </a:cubicBezTo>
                <a:lnTo>
                  <a:pt x="81" y="345"/>
                </a:lnTo>
                <a:lnTo>
                  <a:pt x="98" y="353"/>
                </a:lnTo>
                <a:lnTo>
                  <a:pt x="114" y="353"/>
                </a:lnTo>
                <a:lnTo>
                  <a:pt x="122" y="369"/>
                </a:lnTo>
                <a:lnTo>
                  <a:pt x="122" y="385"/>
                </a:lnTo>
                <a:lnTo>
                  <a:pt x="122" y="408"/>
                </a:lnTo>
                <a:lnTo>
                  <a:pt x="114" y="424"/>
                </a:lnTo>
                <a:lnTo>
                  <a:pt x="130" y="432"/>
                </a:lnTo>
                <a:lnTo>
                  <a:pt x="130" y="455"/>
                </a:lnTo>
                <a:cubicBezTo>
                  <a:pt x="122" y="455"/>
                  <a:pt x="114" y="455"/>
                  <a:pt x="106" y="463"/>
                </a:cubicBezTo>
                <a:lnTo>
                  <a:pt x="90" y="463"/>
                </a:lnTo>
                <a:lnTo>
                  <a:pt x="90" y="471"/>
                </a:lnTo>
                <a:lnTo>
                  <a:pt x="106" y="479"/>
                </a:lnTo>
                <a:lnTo>
                  <a:pt x="114" y="479"/>
                </a:lnTo>
                <a:lnTo>
                  <a:pt x="114" y="502"/>
                </a:lnTo>
                <a:cubicBezTo>
                  <a:pt x="114" y="502"/>
                  <a:pt x="114" y="510"/>
                  <a:pt x="106" y="510"/>
                </a:cubicBezTo>
                <a:lnTo>
                  <a:pt x="98" y="518"/>
                </a:lnTo>
                <a:lnTo>
                  <a:pt x="90" y="526"/>
                </a:lnTo>
                <a:lnTo>
                  <a:pt x="81" y="534"/>
                </a:lnTo>
                <a:lnTo>
                  <a:pt x="65" y="542"/>
                </a:lnTo>
                <a:lnTo>
                  <a:pt x="81" y="557"/>
                </a:lnTo>
                <a:lnTo>
                  <a:pt x="90" y="557"/>
                </a:lnTo>
                <a:lnTo>
                  <a:pt x="98" y="565"/>
                </a:lnTo>
                <a:lnTo>
                  <a:pt x="122" y="581"/>
                </a:lnTo>
                <a:lnTo>
                  <a:pt x="114" y="589"/>
                </a:lnTo>
                <a:lnTo>
                  <a:pt x="114" y="604"/>
                </a:lnTo>
                <a:lnTo>
                  <a:pt x="114" y="636"/>
                </a:lnTo>
                <a:lnTo>
                  <a:pt x="106" y="644"/>
                </a:lnTo>
                <a:cubicBezTo>
                  <a:pt x="106" y="651"/>
                  <a:pt x="114" y="675"/>
                  <a:pt x="114" y="675"/>
                </a:cubicBezTo>
                <a:lnTo>
                  <a:pt x="114" y="683"/>
                </a:lnTo>
                <a:lnTo>
                  <a:pt x="106" y="691"/>
                </a:lnTo>
                <a:lnTo>
                  <a:pt x="138" y="706"/>
                </a:lnTo>
                <a:lnTo>
                  <a:pt x="130" y="722"/>
                </a:lnTo>
                <a:lnTo>
                  <a:pt x="114" y="730"/>
                </a:lnTo>
                <a:lnTo>
                  <a:pt x="106" y="730"/>
                </a:lnTo>
                <a:lnTo>
                  <a:pt x="106" y="746"/>
                </a:lnTo>
                <a:lnTo>
                  <a:pt x="114" y="753"/>
                </a:lnTo>
                <a:lnTo>
                  <a:pt x="106" y="761"/>
                </a:lnTo>
                <a:lnTo>
                  <a:pt x="106" y="777"/>
                </a:lnTo>
                <a:cubicBezTo>
                  <a:pt x="106" y="777"/>
                  <a:pt x="106" y="785"/>
                  <a:pt x="98" y="785"/>
                </a:cubicBezTo>
                <a:lnTo>
                  <a:pt x="90" y="793"/>
                </a:lnTo>
                <a:lnTo>
                  <a:pt x="98" y="808"/>
                </a:lnTo>
                <a:lnTo>
                  <a:pt x="90" y="840"/>
                </a:lnTo>
                <a:lnTo>
                  <a:pt x="90" y="848"/>
                </a:lnTo>
                <a:lnTo>
                  <a:pt x="98" y="871"/>
                </a:lnTo>
                <a:lnTo>
                  <a:pt x="114" y="895"/>
                </a:lnTo>
                <a:lnTo>
                  <a:pt x="130" y="910"/>
                </a:lnTo>
                <a:lnTo>
                  <a:pt x="138" y="926"/>
                </a:lnTo>
                <a:lnTo>
                  <a:pt x="155" y="934"/>
                </a:lnTo>
                <a:lnTo>
                  <a:pt x="146" y="957"/>
                </a:lnTo>
                <a:lnTo>
                  <a:pt x="155" y="965"/>
                </a:lnTo>
                <a:lnTo>
                  <a:pt x="155" y="981"/>
                </a:lnTo>
                <a:lnTo>
                  <a:pt x="146" y="989"/>
                </a:lnTo>
                <a:lnTo>
                  <a:pt x="138" y="981"/>
                </a:lnTo>
                <a:cubicBezTo>
                  <a:pt x="130" y="981"/>
                  <a:pt x="122" y="965"/>
                  <a:pt x="122" y="965"/>
                </a:cubicBezTo>
                <a:lnTo>
                  <a:pt x="114" y="950"/>
                </a:lnTo>
                <a:lnTo>
                  <a:pt x="106" y="942"/>
                </a:lnTo>
                <a:lnTo>
                  <a:pt x="90" y="942"/>
                </a:lnTo>
                <a:lnTo>
                  <a:pt x="90" y="950"/>
                </a:lnTo>
                <a:cubicBezTo>
                  <a:pt x="90" y="957"/>
                  <a:pt x="90" y="957"/>
                  <a:pt x="98" y="965"/>
                </a:cubicBezTo>
                <a:cubicBezTo>
                  <a:pt x="106" y="973"/>
                  <a:pt x="106" y="973"/>
                  <a:pt x="114" y="973"/>
                </a:cubicBezTo>
                <a:cubicBezTo>
                  <a:pt x="114" y="973"/>
                  <a:pt x="114" y="981"/>
                  <a:pt x="122" y="981"/>
                </a:cubicBezTo>
                <a:lnTo>
                  <a:pt x="122" y="1004"/>
                </a:lnTo>
                <a:lnTo>
                  <a:pt x="138" y="1020"/>
                </a:lnTo>
                <a:lnTo>
                  <a:pt x="155" y="1028"/>
                </a:lnTo>
                <a:lnTo>
                  <a:pt x="220" y="1059"/>
                </a:lnTo>
                <a:lnTo>
                  <a:pt x="244" y="1067"/>
                </a:lnTo>
                <a:lnTo>
                  <a:pt x="252" y="1067"/>
                </a:lnTo>
                <a:lnTo>
                  <a:pt x="260" y="1083"/>
                </a:lnTo>
                <a:lnTo>
                  <a:pt x="268" y="1091"/>
                </a:lnTo>
                <a:lnTo>
                  <a:pt x="309" y="1091"/>
                </a:lnTo>
                <a:cubicBezTo>
                  <a:pt x="309" y="1099"/>
                  <a:pt x="333" y="1138"/>
                  <a:pt x="333" y="1138"/>
                </a:cubicBezTo>
                <a:cubicBezTo>
                  <a:pt x="333" y="1138"/>
                  <a:pt x="333" y="1146"/>
                  <a:pt x="341" y="1154"/>
                </a:cubicBezTo>
                <a:cubicBezTo>
                  <a:pt x="350" y="1161"/>
                  <a:pt x="366" y="1169"/>
                  <a:pt x="366" y="1169"/>
                </a:cubicBezTo>
                <a:cubicBezTo>
                  <a:pt x="366" y="1169"/>
                  <a:pt x="358" y="1177"/>
                  <a:pt x="358" y="1185"/>
                </a:cubicBezTo>
                <a:cubicBezTo>
                  <a:pt x="366" y="1193"/>
                  <a:pt x="358" y="1193"/>
                  <a:pt x="366" y="1193"/>
                </a:cubicBezTo>
                <a:lnTo>
                  <a:pt x="366" y="1201"/>
                </a:lnTo>
                <a:lnTo>
                  <a:pt x="366" y="1208"/>
                </a:lnTo>
                <a:cubicBezTo>
                  <a:pt x="374" y="1208"/>
                  <a:pt x="374" y="1216"/>
                  <a:pt x="374" y="1216"/>
                </a:cubicBezTo>
                <a:lnTo>
                  <a:pt x="374" y="1240"/>
                </a:lnTo>
                <a:lnTo>
                  <a:pt x="398" y="124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7" name="Freeform 9">
            <a:extLst>
              <a:ext uri="{FF2B5EF4-FFF2-40B4-BE49-F238E27FC236}">
                <a16:creationId xmlns:a16="http://schemas.microsoft.com/office/drawing/2014/main" id="{1FE08024-C319-3BCE-F6A5-E4F97E887C2C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396828" y="5183703"/>
            <a:ext cx="284360" cy="516196"/>
          </a:xfrm>
          <a:custGeom>
            <a:avLst/>
            <a:gdLst>
              <a:gd name="T0" fmla="*/ 472 w 692"/>
              <a:gd name="T1" fmla="*/ 1209 h 1257"/>
              <a:gd name="T2" fmla="*/ 512 w 692"/>
              <a:gd name="T3" fmla="*/ 1169 h 1257"/>
              <a:gd name="T4" fmla="*/ 480 w 692"/>
              <a:gd name="T5" fmla="*/ 1099 h 1257"/>
              <a:gd name="T6" fmla="*/ 610 w 692"/>
              <a:gd name="T7" fmla="*/ 973 h 1257"/>
              <a:gd name="T8" fmla="*/ 658 w 692"/>
              <a:gd name="T9" fmla="*/ 714 h 1257"/>
              <a:gd name="T10" fmla="*/ 602 w 692"/>
              <a:gd name="T11" fmla="*/ 698 h 1257"/>
              <a:gd name="T12" fmla="*/ 536 w 692"/>
              <a:gd name="T13" fmla="*/ 651 h 1257"/>
              <a:gd name="T14" fmla="*/ 463 w 692"/>
              <a:gd name="T15" fmla="*/ 573 h 1257"/>
              <a:gd name="T16" fmla="*/ 423 w 692"/>
              <a:gd name="T17" fmla="*/ 463 h 1257"/>
              <a:gd name="T18" fmla="*/ 439 w 692"/>
              <a:gd name="T19" fmla="*/ 400 h 1257"/>
              <a:gd name="T20" fmla="*/ 455 w 692"/>
              <a:gd name="T21" fmla="*/ 259 h 1257"/>
              <a:gd name="T22" fmla="*/ 390 w 692"/>
              <a:gd name="T23" fmla="*/ 157 h 1257"/>
              <a:gd name="T24" fmla="*/ 293 w 692"/>
              <a:gd name="T25" fmla="*/ 94 h 1257"/>
              <a:gd name="T26" fmla="*/ 187 w 692"/>
              <a:gd name="T27" fmla="*/ 71 h 1257"/>
              <a:gd name="T28" fmla="*/ 138 w 692"/>
              <a:gd name="T29" fmla="*/ 16 h 1257"/>
              <a:gd name="T30" fmla="*/ 65 w 692"/>
              <a:gd name="T31" fmla="*/ 94 h 1257"/>
              <a:gd name="T32" fmla="*/ 33 w 692"/>
              <a:gd name="T33" fmla="*/ 157 h 1257"/>
              <a:gd name="T34" fmla="*/ 41 w 692"/>
              <a:gd name="T35" fmla="*/ 235 h 1257"/>
              <a:gd name="T36" fmla="*/ 41 w 692"/>
              <a:gd name="T37" fmla="*/ 306 h 1257"/>
              <a:gd name="T38" fmla="*/ 114 w 692"/>
              <a:gd name="T39" fmla="*/ 353 h 1257"/>
              <a:gd name="T40" fmla="*/ 130 w 692"/>
              <a:gd name="T41" fmla="*/ 432 h 1257"/>
              <a:gd name="T42" fmla="*/ 114 w 692"/>
              <a:gd name="T43" fmla="*/ 479 h 1257"/>
              <a:gd name="T44" fmla="*/ 81 w 692"/>
              <a:gd name="T45" fmla="*/ 557 h 1257"/>
              <a:gd name="T46" fmla="*/ 114 w 692"/>
              <a:gd name="T47" fmla="*/ 636 h 1257"/>
              <a:gd name="T48" fmla="*/ 114 w 692"/>
              <a:gd name="T49" fmla="*/ 730 h 1257"/>
              <a:gd name="T50" fmla="*/ 106 w 692"/>
              <a:gd name="T51" fmla="*/ 793 h 1257"/>
              <a:gd name="T52" fmla="*/ 155 w 692"/>
              <a:gd name="T53" fmla="*/ 934 h 1257"/>
              <a:gd name="T54" fmla="*/ 122 w 692"/>
              <a:gd name="T55" fmla="*/ 965 h 1257"/>
              <a:gd name="T56" fmla="*/ 114 w 692"/>
              <a:gd name="T57" fmla="*/ 973 h 1257"/>
              <a:gd name="T58" fmla="*/ 285 w 692"/>
              <a:gd name="T59" fmla="*/ 1083 h 1257"/>
              <a:gd name="T60" fmla="*/ 366 w 692"/>
              <a:gd name="T61" fmla="*/ 1185 h 1257"/>
              <a:gd name="T62" fmla="*/ 423 w 692"/>
              <a:gd name="T63" fmla="*/ 1256 h 1257"/>
              <a:gd name="T64" fmla="*/ 366 w 692"/>
              <a:gd name="T65" fmla="*/ 1193 h 1257"/>
              <a:gd name="T66" fmla="*/ 309 w 692"/>
              <a:gd name="T67" fmla="*/ 1091 h 1257"/>
              <a:gd name="T68" fmla="*/ 122 w 692"/>
              <a:gd name="T69" fmla="*/ 1005 h 1257"/>
              <a:gd name="T70" fmla="*/ 106 w 692"/>
              <a:gd name="T71" fmla="*/ 942 h 1257"/>
              <a:gd name="T72" fmla="*/ 147 w 692"/>
              <a:gd name="T73" fmla="*/ 957 h 1257"/>
              <a:gd name="T74" fmla="*/ 98 w 692"/>
              <a:gd name="T75" fmla="*/ 808 h 1257"/>
              <a:gd name="T76" fmla="*/ 98 w 692"/>
              <a:gd name="T77" fmla="*/ 746 h 1257"/>
              <a:gd name="T78" fmla="*/ 114 w 692"/>
              <a:gd name="T79" fmla="*/ 675 h 1257"/>
              <a:gd name="T80" fmla="*/ 90 w 692"/>
              <a:gd name="T81" fmla="*/ 557 h 1257"/>
              <a:gd name="T82" fmla="*/ 114 w 692"/>
              <a:gd name="T83" fmla="*/ 502 h 1257"/>
              <a:gd name="T84" fmla="*/ 130 w 692"/>
              <a:gd name="T85" fmla="*/ 432 h 1257"/>
              <a:gd name="T86" fmla="*/ 82 w 692"/>
              <a:gd name="T87" fmla="*/ 345 h 1257"/>
              <a:gd name="T88" fmla="*/ 33 w 692"/>
              <a:gd name="T89" fmla="*/ 306 h 1257"/>
              <a:gd name="T90" fmla="*/ 0 w 692"/>
              <a:gd name="T91" fmla="*/ 212 h 1257"/>
              <a:gd name="T92" fmla="*/ 33 w 692"/>
              <a:gd name="T93" fmla="*/ 118 h 1257"/>
              <a:gd name="T94" fmla="*/ 114 w 692"/>
              <a:gd name="T95" fmla="*/ 0 h 1257"/>
              <a:gd name="T96" fmla="*/ 138 w 692"/>
              <a:gd name="T97" fmla="*/ 47 h 1257"/>
              <a:gd name="T98" fmla="*/ 220 w 692"/>
              <a:gd name="T99" fmla="*/ 47 h 1257"/>
              <a:gd name="T100" fmla="*/ 301 w 692"/>
              <a:gd name="T101" fmla="*/ 94 h 1257"/>
              <a:gd name="T102" fmla="*/ 398 w 692"/>
              <a:gd name="T103" fmla="*/ 149 h 1257"/>
              <a:gd name="T104" fmla="*/ 455 w 692"/>
              <a:gd name="T105" fmla="*/ 283 h 1257"/>
              <a:gd name="T106" fmla="*/ 439 w 692"/>
              <a:gd name="T107" fmla="*/ 400 h 1257"/>
              <a:gd name="T108" fmla="*/ 423 w 692"/>
              <a:gd name="T109" fmla="*/ 463 h 1257"/>
              <a:gd name="T110" fmla="*/ 463 w 692"/>
              <a:gd name="T111" fmla="*/ 565 h 1257"/>
              <a:gd name="T112" fmla="*/ 528 w 692"/>
              <a:gd name="T113" fmla="*/ 636 h 1257"/>
              <a:gd name="T114" fmla="*/ 569 w 692"/>
              <a:gd name="T115" fmla="*/ 691 h 1257"/>
              <a:gd name="T116" fmla="*/ 683 w 692"/>
              <a:gd name="T117" fmla="*/ 753 h 1257"/>
              <a:gd name="T118" fmla="*/ 512 w 692"/>
              <a:gd name="T119" fmla="*/ 1067 h 1257"/>
              <a:gd name="T120" fmla="*/ 472 w 692"/>
              <a:gd name="T121" fmla="*/ 1114 h 1257"/>
              <a:gd name="T122" fmla="*/ 520 w 692"/>
              <a:gd name="T123" fmla="*/ 1177 h 1257"/>
              <a:gd name="T124" fmla="*/ 480 w 692"/>
              <a:gd name="T125" fmla="*/ 1224 h 1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92" h="1257">
                <a:moveTo>
                  <a:pt x="398" y="1240"/>
                </a:moveTo>
                <a:lnTo>
                  <a:pt x="423" y="1248"/>
                </a:lnTo>
                <a:lnTo>
                  <a:pt x="447" y="1248"/>
                </a:lnTo>
                <a:lnTo>
                  <a:pt x="463" y="1240"/>
                </a:lnTo>
                <a:cubicBezTo>
                  <a:pt x="472" y="1232"/>
                  <a:pt x="480" y="1224"/>
                  <a:pt x="480" y="1224"/>
                </a:cubicBezTo>
                <a:lnTo>
                  <a:pt x="472" y="1209"/>
                </a:lnTo>
                <a:lnTo>
                  <a:pt x="472" y="1201"/>
                </a:lnTo>
                <a:cubicBezTo>
                  <a:pt x="472" y="1201"/>
                  <a:pt x="463" y="1193"/>
                  <a:pt x="463" y="1185"/>
                </a:cubicBezTo>
                <a:lnTo>
                  <a:pt x="472" y="1177"/>
                </a:lnTo>
                <a:lnTo>
                  <a:pt x="488" y="1177"/>
                </a:lnTo>
                <a:lnTo>
                  <a:pt x="496" y="1185"/>
                </a:lnTo>
                <a:cubicBezTo>
                  <a:pt x="504" y="1185"/>
                  <a:pt x="512" y="1177"/>
                  <a:pt x="512" y="1169"/>
                </a:cubicBezTo>
                <a:cubicBezTo>
                  <a:pt x="504" y="1169"/>
                  <a:pt x="504" y="1161"/>
                  <a:pt x="496" y="1161"/>
                </a:cubicBezTo>
                <a:cubicBezTo>
                  <a:pt x="480" y="1154"/>
                  <a:pt x="472" y="1146"/>
                  <a:pt x="472" y="1146"/>
                </a:cubicBezTo>
                <a:lnTo>
                  <a:pt x="472" y="1138"/>
                </a:lnTo>
                <a:cubicBezTo>
                  <a:pt x="463" y="1138"/>
                  <a:pt x="463" y="1130"/>
                  <a:pt x="463" y="1130"/>
                </a:cubicBezTo>
                <a:lnTo>
                  <a:pt x="463" y="1107"/>
                </a:lnTo>
                <a:cubicBezTo>
                  <a:pt x="463" y="1107"/>
                  <a:pt x="472" y="1099"/>
                  <a:pt x="480" y="1099"/>
                </a:cubicBezTo>
                <a:lnTo>
                  <a:pt x="488" y="1099"/>
                </a:lnTo>
                <a:lnTo>
                  <a:pt x="496" y="1075"/>
                </a:lnTo>
                <a:cubicBezTo>
                  <a:pt x="496" y="1075"/>
                  <a:pt x="496" y="1067"/>
                  <a:pt x="504" y="1067"/>
                </a:cubicBezTo>
                <a:lnTo>
                  <a:pt x="512" y="1067"/>
                </a:lnTo>
                <a:lnTo>
                  <a:pt x="569" y="1036"/>
                </a:lnTo>
                <a:lnTo>
                  <a:pt x="610" y="973"/>
                </a:lnTo>
                <a:lnTo>
                  <a:pt x="618" y="902"/>
                </a:lnTo>
                <a:lnTo>
                  <a:pt x="642" y="840"/>
                </a:lnTo>
                <a:cubicBezTo>
                  <a:pt x="650" y="832"/>
                  <a:pt x="675" y="816"/>
                  <a:pt x="683" y="816"/>
                </a:cubicBezTo>
                <a:cubicBezTo>
                  <a:pt x="683" y="808"/>
                  <a:pt x="683" y="785"/>
                  <a:pt x="675" y="753"/>
                </a:cubicBezTo>
                <a:lnTo>
                  <a:pt x="658" y="730"/>
                </a:lnTo>
                <a:lnTo>
                  <a:pt x="658" y="714"/>
                </a:lnTo>
                <a:cubicBezTo>
                  <a:pt x="658" y="722"/>
                  <a:pt x="650" y="722"/>
                  <a:pt x="650" y="714"/>
                </a:cubicBezTo>
                <a:lnTo>
                  <a:pt x="642" y="714"/>
                </a:lnTo>
                <a:lnTo>
                  <a:pt x="642" y="706"/>
                </a:lnTo>
                <a:lnTo>
                  <a:pt x="618" y="698"/>
                </a:lnTo>
                <a:lnTo>
                  <a:pt x="610" y="698"/>
                </a:lnTo>
                <a:lnTo>
                  <a:pt x="602" y="698"/>
                </a:lnTo>
                <a:cubicBezTo>
                  <a:pt x="585" y="691"/>
                  <a:pt x="577" y="691"/>
                  <a:pt x="577" y="698"/>
                </a:cubicBezTo>
                <a:cubicBezTo>
                  <a:pt x="569" y="698"/>
                  <a:pt x="569" y="698"/>
                  <a:pt x="561" y="706"/>
                </a:cubicBezTo>
                <a:cubicBezTo>
                  <a:pt x="553" y="714"/>
                  <a:pt x="553" y="706"/>
                  <a:pt x="553" y="706"/>
                </a:cubicBezTo>
                <a:lnTo>
                  <a:pt x="545" y="706"/>
                </a:lnTo>
                <a:lnTo>
                  <a:pt x="545" y="683"/>
                </a:lnTo>
                <a:cubicBezTo>
                  <a:pt x="545" y="675"/>
                  <a:pt x="536" y="659"/>
                  <a:pt x="536" y="651"/>
                </a:cubicBezTo>
                <a:cubicBezTo>
                  <a:pt x="528" y="644"/>
                  <a:pt x="528" y="644"/>
                  <a:pt x="528" y="636"/>
                </a:cubicBezTo>
                <a:lnTo>
                  <a:pt x="512" y="636"/>
                </a:lnTo>
                <a:lnTo>
                  <a:pt x="496" y="636"/>
                </a:lnTo>
                <a:cubicBezTo>
                  <a:pt x="488" y="628"/>
                  <a:pt x="488" y="620"/>
                  <a:pt x="496" y="612"/>
                </a:cubicBezTo>
                <a:cubicBezTo>
                  <a:pt x="496" y="612"/>
                  <a:pt x="488" y="604"/>
                  <a:pt x="480" y="596"/>
                </a:cubicBezTo>
                <a:lnTo>
                  <a:pt x="463" y="573"/>
                </a:lnTo>
                <a:cubicBezTo>
                  <a:pt x="463" y="573"/>
                  <a:pt x="455" y="573"/>
                  <a:pt x="455" y="565"/>
                </a:cubicBezTo>
                <a:lnTo>
                  <a:pt x="447" y="534"/>
                </a:lnTo>
                <a:cubicBezTo>
                  <a:pt x="455" y="526"/>
                  <a:pt x="455" y="518"/>
                  <a:pt x="455" y="518"/>
                </a:cubicBezTo>
                <a:cubicBezTo>
                  <a:pt x="463" y="510"/>
                  <a:pt x="463" y="502"/>
                  <a:pt x="463" y="502"/>
                </a:cubicBezTo>
                <a:cubicBezTo>
                  <a:pt x="463" y="502"/>
                  <a:pt x="447" y="487"/>
                  <a:pt x="439" y="487"/>
                </a:cubicBezTo>
                <a:cubicBezTo>
                  <a:pt x="439" y="487"/>
                  <a:pt x="423" y="471"/>
                  <a:pt x="423" y="463"/>
                </a:cubicBezTo>
                <a:cubicBezTo>
                  <a:pt x="415" y="455"/>
                  <a:pt x="415" y="447"/>
                  <a:pt x="415" y="447"/>
                </a:cubicBezTo>
                <a:cubicBezTo>
                  <a:pt x="423" y="439"/>
                  <a:pt x="423" y="439"/>
                  <a:pt x="431" y="439"/>
                </a:cubicBezTo>
                <a:lnTo>
                  <a:pt x="439" y="432"/>
                </a:lnTo>
                <a:lnTo>
                  <a:pt x="447" y="424"/>
                </a:lnTo>
                <a:lnTo>
                  <a:pt x="447" y="416"/>
                </a:lnTo>
                <a:lnTo>
                  <a:pt x="439" y="400"/>
                </a:lnTo>
                <a:lnTo>
                  <a:pt x="447" y="377"/>
                </a:lnTo>
                <a:lnTo>
                  <a:pt x="439" y="369"/>
                </a:lnTo>
                <a:lnTo>
                  <a:pt x="439" y="314"/>
                </a:lnTo>
                <a:cubicBezTo>
                  <a:pt x="439" y="306"/>
                  <a:pt x="447" y="298"/>
                  <a:pt x="447" y="290"/>
                </a:cubicBezTo>
                <a:lnTo>
                  <a:pt x="447" y="275"/>
                </a:lnTo>
                <a:lnTo>
                  <a:pt x="455" y="259"/>
                </a:lnTo>
                <a:lnTo>
                  <a:pt x="439" y="235"/>
                </a:lnTo>
                <a:lnTo>
                  <a:pt x="431" y="228"/>
                </a:lnTo>
                <a:cubicBezTo>
                  <a:pt x="431" y="220"/>
                  <a:pt x="423" y="204"/>
                  <a:pt x="423" y="204"/>
                </a:cubicBezTo>
                <a:lnTo>
                  <a:pt x="415" y="188"/>
                </a:lnTo>
                <a:cubicBezTo>
                  <a:pt x="415" y="181"/>
                  <a:pt x="398" y="165"/>
                  <a:pt x="398" y="165"/>
                </a:cubicBezTo>
                <a:cubicBezTo>
                  <a:pt x="398" y="157"/>
                  <a:pt x="390" y="157"/>
                  <a:pt x="390" y="157"/>
                </a:cubicBezTo>
                <a:cubicBezTo>
                  <a:pt x="390" y="149"/>
                  <a:pt x="390" y="149"/>
                  <a:pt x="382" y="149"/>
                </a:cubicBezTo>
                <a:cubicBezTo>
                  <a:pt x="374" y="141"/>
                  <a:pt x="358" y="133"/>
                  <a:pt x="358" y="133"/>
                </a:cubicBezTo>
                <a:lnTo>
                  <a:pt x="341" y="133"/>
                </a:lnTo>
                <a:lnTo>
                  <a:pt x="325" y="118"/>
                </a:lnTo>
                <a:lnTo>
                  <a:pt x="317" y="126"/>
                </a:lnTo>
                <a:lnTo>
                  <a:pt x="293" y="94"/>
                </a:lnTo>
                <a:lnTo>
                  <a:pt x="293" y="71"/>
                </a:lnTo>
                <a:lnTo>
                  <a:pt x="236" y="31"/>
                </a:lnTo>
                <a:lnTo>
                  <a:pt x="228" y="39"/>
                </a:lnTo>
                <a:lnTo>
                  <a:pt x="220" y="47"/>
                </a:lnTo>
                <a:cubicBezTo>
                  <a:pt x="220" y="55"/>
                  <a:pt x="195" y="55"/>
                  <a:pt x="195" y="55"/>
                </a:cubicBezTo>
                <a:lnTo>
                  <a:pt x="187" y="71"/>
                </a:lnTo>
                <a:lnTo>
                  <a:pt x="163" y="79"/>
                </a:lnTo>
                <a:lnTo>
                  <a:pt x="155" y="79"/>
                </a:lnTo>
                <a:cubicBezTo>
                  <a:pt x="155" y="71"/>
                  <a:pt x="146" y="71"/>
                  <a:pt x="146" y="71"/>
                </a:cubicBezTo>
                <a:lnTo>
                  <a:pt x="146" y="63"/>
                </a:lnTo>
                <a:cubicBezTo>
                  <a:pt x="138" y="55"/>
                  <a:pt x="138" y="47"/>
                  <a:pt x="138" y="47"/>
                </a:cubicBezTo>
                <a:lnTo>
                  <a:pt x="138" y="16"/>
                </a:lnTo>
                <a:lnTo>
                  <a:pt x="122" y="8"/>
                </a:lnTo>
                <a:lnTo>
                  <a:pt x="114" y="0"/>
                </a:lnTo>
                <a:cubicBezTo>
                  <a:pt x="114" y="8"/>
                  <a:pt x="98" y="16"/>
                  <a:pt x="90" y="31"/>
                </a:cubicBezTo>
                <a:lnTo>
                  <a:pt x="90" y="39"/>
                </a:lnTo>
                <a:lnTo>
                  <a:pt x="73" y="71"/>
                </a:lnTo>
                <a:lnTo>
                  <a:pt x="65" y="94"/>
                </a:lnTo>
                <a:cubicBezTo>
                  <a:pt x="65" y="94"/>
                  <a:pt x="65" y="102"/>
                  <a:pt x="57" y="102"/>
                </a:cubicBezTo>
                <a:cubicBezTo>
                  <a:pt x="57" y="110"/>
                  <a:pt x="49" y="118"/>
                  <a:pt x="49" y="118"/>
                </a:cubicBezTo>
                <a:lnTo>
                  <a:pt x="41" y="118"/>
                </a:lnTo>
                <a:lnTo>
                  <a:pt x="33" y="126"/>
                </a:lnTo>
                <a:lnTo>
                  <a:pt x="41" y="141"/>
                </a:lnTo>
                <a:cubicBezTo>
                  <a:pt x="33" y="141"/>
                  <a:pt x="33" y="149"/>
                  <a:pt x="33" y="157"/>
                </a:cubicBezTo>
                <a:lnTo>
                  <a:pt x="25" y="165"/>
                </a:lnTo>
                <a:lnTo>
                  <a:pt x="25" y="181"/>
                </a:lnTo>
                <a:lnTo>
                  <a:pt x="0" y="204"/>
                </a:lnTo>
                <a:lnTo>
                  <a:pt x="0" y="212"/>
                </a:lnTo>
                <a:lnTo>
                  <a:pt x="8" y="220"/>
                </a:lnTo>
                <a:lnTo>
                  <a:pt x="41" y="235"/>
                </a:lnTo>
                <a:cubicBezTo>
                  <a:pt x="49" y="235"/>
                  <a:pt x="49" y="243"/>
                  <a:pt x="49" y="251"/>
                </a:cubicBezTo>
                <a:lnTo>
                  <a:pt x="41" y="259"/>
                </a:lnTo>
                <a:lnTo>
                  <a:pt x="41" y="275"/>
                </a:lnTo>
                <a:lnTo>
                  <a:pt x="41" y="283"/>
                </a:lnTo>
                <a:lnTo>
                  <a:pt x="49" y="290"/>
                </a:lnTo>
                <a:cubicBezTo>
                  <a:pt x="49" y="298"/>
                  <a:pt x="41" y="306"/>
                  <a:pt x="41" y="306"/>
                </a:cubicBezTo>
                <a:lnTo>
                  <a:pt x="33" y="314"/>
                </a:lnTo>
                <a:lnTo>
                  <a:pt x="41" y="322"/>
                </a:lnTo>
                <a:lnTo>
                  <a:pt x="41" y="337"/>
                </a:lnTo>
                <a:cubicBezTo>
                  <a:pt x="41" y="337"/>
                  <a:pt x="49" y="345"/>
                  <a:pt x="57" y="345"/>
                </a:cubicBezTo>
                <a:lnTo>
                  <a:pt x="81" y="345"/>
                </a:lnTo>
                <a:lnTo>
                  <a:pt x="114" y="353"/>
                </a:lnTo>
                <a:lnTo>
                  <a:pt x="122" y="361"/>
                </a:lnTo>
                <a:lnTo>
                  <a:pt x="122" y="385"/>
                </a:lnTo>
                <a:lnTo>
                  <a:pt x="130" y="408"/>
                </a:lnTo>
                <a:lnTo>
                  <a:pt x="122" y="424"/>
                </a:lnTo>
                <a:lnTo>
                  <a:pt x="130" y="424"/>
                </a:lnTo>
                <a:lnTo>
                  <a:pt x="130" y="432"/>
                </a:lnTo>
                <a:lnTo>
                  <a:pt x="130" y="455"/>
                </a:lnTo>
                <a:cubicBezTo>
                  <a:pt x="122" y="455"/>
                  <a:pt x="114" y="463"/>
                  <a:pt x="106" y="463"/>
                </a:cubicBezTo>
                <a:lnTo>
                  <a:pt x="90" y="463"/>
                </a:lnTo>
                <a:lnTo>
                  <a:pt x="90" y="471"/>
                </a:lnTo>
                <a:lnTo>
                  <a:pt x="106" y="479"/>
                </a:lnTo>
                <a:lnTo>
                  <a:pt x="114" y="479"/>
                </a:lnTo>
                <a:cubicBezTo>
                  <a:pt x="122" y="487"/>
                  <a:pt x="122" y="502"/>
                  <a:pt x="122" y="502"/>
                </a:cubicBezTo>
                <a:cubicBezTo>
                  <a:pt x="114" y="502"/>
                  <a:pt x="114" y="510"/>
                  <a:pt x="114" y="510"/>
                </a:cubicBezTo>
                <a:cubicBezTo>
                  <a:pt x="106" y="510"/>
                  <a:pt x="98" y="518"/>
                  <a:pt x="98" y="518"/>
                </a:cubicBezTo>
                <a:lnTo>
                  <a:pt x="81" y="534"/>
                </a:lnTo>
                <a:lnTo>
                  <a:pt x="73" y="541"/>
                </a:lnTo>
                <a:lnTo>
                  <a:pt x="81" y="557"/>
                </a:lnTo>
                <a:lnTo>
                  <a:pt x="90" y="557"/>
                </a:lnTo>
                <a:cubicBezTo>
                  <a:pt x="98" y="557"/>
                  <a:pt x="98" y="557"/>
                  <a:pt x="98" y="565"/>
                </a:cubicBezTo>
                <a:lnTo>
                  <a:pt x="122" y="573"/>
                </a:lnTo>
                <a:lnTo>
                  <a:pt x="122" y="589"/>
                </a:lnTo>
                <a:lnTo>
                  <a:pt x="122" y="604"/>
                </a:lnTo>
                <a:cubicBezTo>
                  <a:pt x="122" y="612"/>
                  <a:pt x="114" y="636"/>
                  <a:pt x="114" y="636"/>
                </a:cubicBezTo>
                <a:lnTo>
                  <a:pt x="106" y="651"/>
                </a:lnTo>
                <a:cubicBezTo>
                  <a:pt x="106" y="651"/>
                  <a:pt x="114" y="659"/>
                  <a:pt x="114" y="675"/>
                </a:cubicBezTo>
                <a:lnTo>
                  <a:pt x="106" y="698"/>
                </a:lnTo>
                <a:lnTo>
                  <a:pt x="138" y="706"/>
                </a:lnTo>
                <a:lnTo>
                  <a:pt x="138" y="722"/>
                </a:lnTo>
                <a:lnTo>
                  <a:pt x="114" y="730"/>
                </a:lnTo>
                <a:cubicBezTo>
                  <a:pt x="114" y="730"/>
                  <a:pt x="106" y="730"/>
                  <a:pt x="106" y="738"/>
                </a:cubicBezTo>
                <a:lnTo>
                  <a:pt x="106" y="746"/>
                </a:lnTo>
                <a:lnTo>
                  <a:pt x="122" y="746"/>
                </a:lnTo>
                <a:lnTo>
                  <a:pt x="106" y="761"/>
                </a:lnTo>
                <a:lnTo>
                  <a:pt x="106" y="777"/>
                </a:lnTo>
                <a:lnTo>
                  <a:pt x="106" y="793"/>
                </a:lnTo>
                <a:lnTo>
                  <a:pt x="98" y="793"/>
                </a:lnTo>
                <a:lnTo>
                  <a:pt x="98" y="808"/>
                </a:lnTo>
                <a:lnTo>
                  <a:pt x="90" y="848"/>
                </a:lnTo>
                <a:lnTo>
                  <a:pt x="114" y="895"/>
                </a:lnTo>
                <a:lnTo>
                  <a:pt x="138" y="918"/>
                </a:lnTo>
                <a:lnTo>
                  <a:pt x="155" y="934"/>
                </a:lnTo>
                <a:lnTo>
                  <a:pt x="146" y="957"/>
                </a:lnTo>
                <a:lnTo>
                  <a:pt x="155" y="965"/>
                </a:lnTo>
                <a:lnTo>
                  <a:pt x="155" y="981"/>
                </a:lnTo>
                <a:cubicBezTo>
                  <a:pt x="155" y="981"/>
                  <a:pt x="155" y="989"/>
                  <a:pt x="146" y="989"/>
                </a:cubicBezTo>
                <a:lnTo>
                  <a:pt x="138" y="989"/>
                </a:lnTo>
                <a:cubicBezTo>
                  <a:pt x="130" y="981"/>
                  <a:pt x="122" y="965"/>
                  <a:pt x="122" y="965"/>
                </a:cubicBezTo>
                <a:cubicBezTo>
                  <a:pt x="122" y="965"/>
                  <a:pt x="114" y="957"/>
                  <a:pt x="114" y="950"/>
                </a:cubicBezTo>
                <a:lnTo>
                  <a:pt x="106" y="942"/>
                </a:lnTo>
                <a:lnTo>
                  <a:pt x="90" y="942"/>
                </a:lnTo>
                <a:lnTo>
                  <a:pt x="90" y="950"/>
                </a:lnTo>
                <a:cubicBezTo>
                  <a:pt x="90" y="950"/>
                  <a:pt x="98" y="957"/>
                  <a:pt x="98" y="965"/>
                </a:cubicBezTo>
                <a:cubicBezTo>
                  <a:pt x="106" y="965"/>
                  <a:pt x="114" y="973"/>
                  <a:pt x="114" y="973"/>
                </a:cubicBezTo>
                <a:lnTo>
                  <a:pt x="122" y="981"/>
                </a:lnTo>
                <a:lnTo>
                  <a:pt x="130" y="1004"/>
                </a:lnTo>
                <a:lnTo>
                  <a:pt x="220" y="1059"/>
                </a:lnTo>
                <a:lnTo>
                  <a:pt x="252" y="1067"/>
                </a:lnTo>
                <a:lnTo>
                  <a:pt x="260" y="1083"/>
                </a:lnTo>
                <a:lnTo>
                  <a:pt x="285" y="1083"/>
                </a:lnTo>
                <a:lnTo>
                  <a:pt x="301" y="1091"/>
                </a:lnTo>
                <a:lnTo>
                  <a:pt x="309" y="1091"/>
                </a:lnTo>
                <a:cubicBezTo>
                  <a:pt x="309" y="1099"/>
                  <a:pt x="325" y="1122"/>
                  <a:pt x="333" y="1138"/>
                </a:cubicBezTo>
                <a:cubicBezTo>
                  <a:pt x="333" y="1138"/>
                  <a:pt x="341" y="1146"/>
                  <a:pt x="341" y="1154"/>
                </a:cubicBezTo>
                <a:cubicBezTo>
                  <a:pt x="350" y="1154"/>
                  <a:pt x="366" y="1161"/>
                  <a:pt x="366" y="1161"/>
                </a:cubicBezTo>
                <a:lnTo>
                  <a:pt x="366" y="1185"/>
                </a:lnTo>
                <a:lnTo>
                  <a:pt x="366" y="1193"/>
                </a:lnTo>
                <a:cubicBezTo>
                  <a:pt x="366" y="1201"/>
                  <a:pt x="374" y="1201"/>
                  <a:pt x="374" y="1201"/>
                </a:cubicBezTo>
                <a:cubicBezTo>
                  <a:pt x="374" y="1208"/>
                  <a:pt x="382" y="1216"/>
                  <a:pt x="382" y="1216"/>
                </a:cubicBezTo>
                <a:lnTo>
                  <a:pt x="382" y="1240"/>
                </a:lnTo>
                <a:lnTo>
                  <a:pt x="398" y="1240"/>
                </a:lnTo>
                <a:close/>
                <a:moveTo>
                  <a:pt x="423" y="1256"/>
                </a:moveTo>
                <a:lnTo>
                  <a:pt x="398" y="1240"/>
                </a:lnTo>
                <a:lnTo>
                  <a:pt x="390" y="1248"/>
                </a:lnTo>
                <a:lnTo>
                  <a:pt x="374" y="1240"/>
                </a:lnTo>
                <a:lnTo>
                  <a:pt x="374" y="1216"/>
                </a:lnTo>
                <a:cubicBezTo>
                  <a:pt x="374" y="1216"/>
                  <a:pt x="366" y="1216"/>
                  <a:pt x="366" y="1209"/>
                </a:cubicBezTo>
                <a:lnTo>
                  <a:pt x="366" y="1193"/>
                </a:lnTo>
                <a:lnTo>
                  <a:pt x="358" y="1201"/>
                </a:lnTo>
                <a:lnTo>
                  <a:pt x="358" y="1185"/>
                </a:lnTo>
                <a:cubicBezTo>
                  <a:pt x="358" y="1177"/>
                  <a:pt x="358" y="1169"/>
                  <a:pt x="366" y="1169"/>
                </a:cubicBezTo>
                <a:cubicBezTo>
                  <a:pt x="358" y="1169"/>
                  <a:pt x="342" y="1161"/>
                  <a:pt x="342" y="1154"/>
                </a:cubicBezTo>
                <a:cubicBezTo>
                  <a:pt x="333" y="1154"/>
                  <a:pt x="333" y="1138"/>
                  <a:pt x="333" y="1138"/>
                </a:cubicBezTo>
                <a:cubicBezTo>
                  <a:pt x="325" y="1138"/>
                  <a:pt x="309" y="1107"/>
                  <a:pt x="309" y="1091"/>
                </a:cubicBezTo>
                <a:lnTo>
                  <a:pt x="285" y="1091"/>
                </a:lnTo>
                <a:lnTo>
                  <a:pt x="268" y="1091"/>
                </a:lnTo>
                <a:lnTo>
                  <a:pt x="260" y="1083"/>
                </a:lnTo>
                <a:lnTo>
                  <a:pt x="252" y="1075"/>
                </a:lnTo>
                <a:lnTo>
                  <a:pt x="220" y="1059"/>
                </a:lnTo>
                <a:lnTo>
                  <a:pt x="122" y="1005"/>
                </a:lnTo>
                <a:cubicBezTo>
                  <a:pt x="122" y="1005"/>
                  <a:pt x="114" y="989"/>
                  <a:pt x="114" y="981"/>
                </a:cubicBezTo>
                <a:lnTo>
                  <a:pt x="114" y="973"/>
                </a:lnTo>
                <a:cubicBezTo>
                  <a:pt x="106" y="973"/>
                  <a:pt x="98" y="973"/>
                  <a:pt x="98" y="965"/>
                </a:cubicBezTo>
                <a:cubicBezTo>
                  <a:pt x="90" y="965"/>
                  <a:pt x="90" y="957"/>
                  <a:pt x="82" y="950"/>
                </a:cubicBezTo>
                <a:lnTo>
                  <a:pt x="82" y="942"/>
                </a:lnTo>
                <a:lnTo>
                  <a:pt x="106" y="942"/>
                </a:lnTo>
                <a:lnTo>
                  <a:pt x="114" y="950"/>
                </a:lnTo>
                <a:cubicBezTo>
                  <a:pt x="122" y="950"/>
                  <a:pt x="122" y="965"/>
                  <a:pt x="122" y="965"/>
                </a:cubicBezTo>
                <a:cubicBezTo>
                  <a:pt x="122" y="965"/>
                  <a:pt x="130" y="981"/>
                  <a:pt x="138" y="981"/>
                </a:cubicBezTo>
                <a:lnTo>
                  <a:pt x="147" y="981"/>
                </a:lnTo>
                <a:lnTo>
                  <a:pt x="155" y="965"/>
                </a:lnTo>
                <a:lnTo>
                  <a:pt x="147" y="957"/>
                </a:lnTo>
                <a:lnTo>
                  <a:pt x="147" y="934"/>
                </a:lnTo>
                <a:lnTo>
                  <a:pt x="138" y="926"/>
                </a:lnTo>
                <a:lnTo>
                  <a:pt x="130" y="910"/>
                </a:lnTo>
                <a:lnTo>
                  <a:pt x="98" y="871"/>
                </a:lnTo>
                <a:lnTo>
                  <a:pt x="82" y="848"/>
                </a:lnTo>
                <a:lnTo>
                  <a:pt x="98" y="808"/>
                </a:lnTo>
                <a:lnTo>
                  <a:pt x="90" y="793"/>
                </a:lnTo>
                <a:lnTo>
                  <a:pt x="98" y="785"/>
                </a:lnTo>
                <a:lnTo>
                  <a:pt x="106" y="777"/>
                </a:lnTo>
                <a:lnTo>
                  <a:pt x="106" y="761"/>
                </a:lnTo>
                <a:lnTo>
                  <a:pt x="114" y="746"/>
                </a:lnTo>
                <a:lnTo>
                  <a:pt x="98" y="746"/>
                </a:lnTo>
                <a:cubicBezTo>
                  <a:pt x="98" y="738"/>
                  <a:pt x="106" y="730"/>
                  <a:pt x="106" y="730"/>
                </a:cubicBezTo>
                <a:lnTo>
                  <a:pt x="114" y="730"/>
                </a:lnTo>
                <a:lnTo>
                  <a:pt x="130" y="714"/>
                </a:lnTo>
                <a:lnTo>
                  <a:pt x="130" y="706"/>
                </a:lnTo>
                <a:lnTo>
                  <a:pt x="106" y="698"/>
                </a:lnTo>
                <a:lnTo>
                  <a:pt x="114" y="675"/>
                </a:lnTo>
                <a:cubicBezTo>
                  <a:pt x="106" y="667"/>
                  <a:pt x="98" y="651"/>
                  <a:pt x="98" y="651"/>
                </a:cubicBezTo>
                <a:lnTo>
                  <a:pt x="106" y="636"/>
                </a:lnTo>
                <a:cubicBezTo>
                  <a:pt x="106" y="636"/>
                  <a:pt x="114" y="612"/>
                  <a:pt x="114" y="604"/>
                </a:cubicBezTo>
                <a:lnTo>
                  <a:pt x="114" y="581"/>
                </a:lnTo>
                <a:cubicBezTo>
                  <a:pt x="106" y="573"/>
                  <a:pt x="98" y="565"/>
                  <a:pt x="98" y="565"/>
                </a:cubicBezTo>
                <a:cubicBezTo>
                  <a:pt x="98" y="565"/>
                  <a:pt x="90" y="565"/>
                  <a:pt x="90" y="557"/>
                </a:cubicBezTo>
                <a:lnTo>
                  <a:pt x="82" y="557"/>
                </a:lnTo>
                <a:lnTo>
                  <a:pt x="65" y="542"/>
                </a:lnTo>
                <a:lnTo>
                  <a:pt x="90" y="526"/>
                </a:lnTo>
                <a:lnTo>
                  <a:pt x="90" y="518"/>
                </a:lnTo>
                <a:cubicBezTo>
                  <a:pt x="98" y="510"/>
                  <a:pt x="106" y="510"/>
                  <a:pt x="106" y="510"/>
                </a:cubicBezTo>
                <a:lnTo>
                  <a:pt x="114" y="502"/>
                </a:lnTo>
                <a:lnTo>
                  <a:pt x="114" y="479"/>
                </a:lnTo>
                <a:lnTo>
                  <a:pt x="90" y="471"/>
                </a:lnTo>
                <a:lnTo>
                  <a:pt x="90" y="463"/>
                </a:lnTo>
                <a:cubicBezTo>
                  <a:pt x="90" y="463"/>
                  <a:pt x="98" y="463"/>
                  <a:pt x="106" y="455"/>
                </a:cubicBezTo>
                <a:cubicBezTo>
                  <a:pt x="114" y="455"/>
                  <a:pt x="122" y="447"/>
                  <a:pt x="122" y="447"/>
                </a:cubicBezTo>
                <a:cubicBezTo>
                  <a:pt x="130" y="447"/>
                  <a:pt x="130" y="440"/>
                  <a:pt x="130" y="432"/>
                </a:cubicBezTo>
                <a:lnTo>
                  <a:pt x="114" y="424"/>
                </a:lnTo>
                <a:lnTo>
                  <a:pt x="122" y="408"/>
                </a:lnTo>
                <a:lnTo>
                  <a:pt x="114" y="385"/>
                </a:lnTo>
                <a:lnTo>
                  <a:pt x="122" y="369"/>
                </a:lnTo>
                <a:lnTo>
                  <a:pt x="114" y="361"/>
                </a:lnTo>
                <a:lnTo>
                  <a:pt x="82" y="345"/>
                </a:lnTo>
                <a:lnTo>
                  <a:pt x="73" y="345"/>
                </a:lnTo>
                <a:cubicBezTo>
                  <a:pt x="65" y="345"/>
                  <a:pt x="57" y="353"/>
                  <a:pt x="57" y="353"/>
                </a:cubicBezTo>
                <a:cubicBezTo>
                  <a:pt x="33" y="345"/>
                  <a:pt x="33" y="338"/>
                  <a:pt x="33" y="338"/>
                </a:cubicBezTo>
                <a:cubicBezTo>
                  <a:pt x="41" y="338"/>
                  <a:pt x="41" y="330"/>
                  <a:pt x="41" y="330"/>
                </a:cubicBezTo>
                <a:lnTo>
                  <a:pt x="33" y="322"/>
                </a:lnTo>
                <a:lnTo>
                  <a:pt x="33" y="306"/>
                </a:lnTo>
                <a:lnTo>
                  <a:pt x="41" y="290"/>
                </a:lnTo>
                <a:cubicBezTo>
                  <a:pt x="33" y="283"/>
                  <a:pt x="33" y="275"/>
                  <a:pt x="33" y="275"/>
                </a:cubicBezTo>
                <a:lnTo>
                  <a:pt x="41" y="259"/>
                </a:lnTo>
                <a:lnTo>
                  <a:pt x="41" y="236"/>
                </a:lnTo>
                <a:lnTo>
                  <a:pt x="8" y="220"/>
                </a:lnTo>
                <a:lnTo>
                  <a:pt x="0" y="212"/>
                </a:lnTo>
                <a:lnTo>
                  <a:pt x="0" y="196"/>
                </a:lnTo>
                <a:lnTo>
                  <a:pt x="17" y="181"/>
                </a:lnTo>
                <a:lnTo>
                  <a:pt x="25" y="165"/>
                </a:lnTo>
                <a:lnTo>
                  <a:pt x="25" y="149"/>
                </a:lnTo>
                <a:lnTo>
                  <a:pt x="33" y="141"/>
                </a:lnTo>
                <a:lnTo>
                  <a:pt x="33" y="118"/>
                </a:lnTo>
                <a:lnTo>
                  <a:pt x="41" y="110"/>
                </a:lnTo>
                <a:cubicBezTo>
                  <a:pt x="41" y="110"/>
                  <a:pt x="49" y="102"/>
                  <a:pt x="57" y="102"/>
                </a:cubicBezTo>
                <a:lnTo>
                  <a:pt x="57" y="86"/>
                </a:lnTo>
                <a:lnTo>
                  <a:pt x="90" y="39"/>
                </a:lnTo>
                <a:lnTo>
                  <a:pt x="82" y="32"/>
                </a:lnTo>
                <a:cubicBezTo>
                  <a:pt x="106" y="0"/>
                  <a:pt x="114" y="0"/>
                  <a:pt x="114" y="0"/>
                </a:cubicBezTo>
                <a:lnTo>
                  <a:pt x="130" y="0"/>
                </a:lnTo>
                <a:lnTo>
                  <a:pt x="138" y="8"/>
                </a:lnTo>
                <a:lnTo>
                  <a:pt x="147" y="16"/>
                </a:lnTo>
                <a:lnTo>
                  <a:pt x="147" y="24"/>
                </a:lnTo>
                <a:cubicBezTo>
                  <a:pt x="147" y="32"/>
                  <a:pt x="138" y="32"/>
                  <a:pt x="138" y="39"/>
                </a:cubicBezTo>
                <a:cubicBezTo>
                  <a:pt x="147" y="39"/>
                  <a:pt x="138" y="47"/>
                  <a:pt x="138" y="47"/>
                </a:cubicBezTo>
                <a:cubicBezTo>
                  <a:pt x="147" y="47"/>
                  <a:pt x="147" y="55"/>
                  <a:pt x="147" y="55"/>
                </a:cubicBezTo>
                <a:lnTo>
                  <a:pt x="155" y="63"/>
                </a:lnTo>
                <a:cubicBezTo>
                  <a:pt x="155" y="71"/>
                  <a:pt x="163" y="71"/>
                  <a:pt x="163" y="71"/>
                </a:cubicBezTo>
                <a:lnTo>
                  <a:pt x="179" y="63"/>
                </a:lnTo>
                <a:lnTo>
                  <a:pt x="195" y="55"/>
                </a:lnTo>
                <a:cubicBezTo>
                  <a:pt x="195" y="55"/>
                  <a:pt x="212" y="47"/>
                  <a:pt x="220" y="47"/>
                </a:cubicBezTo>
                <a:cubicBezTo>
                  <a:pt x="220" y="47"/>
                  <a:pt x="220" y="39"/>
                  <a:pt x="228" y="32"/>
                </a:cubicBezTo>
                <a:lnTo>
                  <a:pt x="252" y="32"/>
                </a:lnTo>
                <a:lnTo>
                  <a:pt x="260" y="47"/>
                </a:lnTo>
                <a:lnTo>
                  <a:pt x="277" y="55"/>
                </a:lnTo>
                <a:lnTo>
                  <a:pt x="293" y="71"/>
                </a:lnTo>
                <a:lnTo>
                  <a:pt x="301" y="94"/>
                </a:lnTo>
                <a:lnTo>
                  <a:pt x="317" y="118"/>
                </a:lnTo>
                <a:lnTo>
                  <a:pt x="325" y="110"/>
                </a:lnTo>
                <a:lnTo>
                  <a:pt x="342" y="126"/>
                </a:lnTo>
                <a:lnTo>
                  <a:pt x="358" y="134"/>
                </a:lnTo>
                <a:cubicBezTo>
                  <a:pt x="358" y="134"/>
                  <a:pt x="374" y="134"/>
                  <a:pt x="390" y="141"/>
                </a:cubicBezTo>
                <a:cubicBezTo>
                  <a:pt x="398" y="141"/>
                  <a:pt x="398" y="149"/>
                  <a:pt x="398" y="149"/>
                </a:cubicBezTo>
                <a:cubicBezTo>
                  <a:pt x="407" y="165"/>
                  <a:pt x="423" y="181"/>
                  <a:pt x="423" y="181"/>
                </a:cubicBezTo>
                <a:lnTo>
                  <a:pt x="431" y="204"/>
                </a:lnTo>
                <a:cubicBezTo>
                  <a:pt x="431" y="204"/>
                  <a:pt x="439" y="220"/>
                  <a:pt x="439" y="228"/>
                </a:cubicBezTo>
                <a:lnTo>
                  <a:pt x="439" y="236"/>
                </a:lnTo>
                <a:lnTo>
                  <a:pt x="463" y="259"/>
                </a:lnTo>
                <a:lnTo>
                  <a:pt x="455" y="283"/>
                </a:lnTo>
                <a:lnTo>
                  <a:pt x="447" y="298"/>
                </a:lnTo>
                <a:lnTo>
                  <a:pt x="447" y="314"/>
                </a:lnTo>
                <a:lnTo>
                  <a:pt x="447" y="330"/>
                </a:lnTo>
                <a:lnTo>
                  <a:pt x="439" y="338"/>
                </a:lnTo>
                <a:lnTo>
                  <a:pt x="447" y="377"/>
                </a:lnTo>
                <a:lnTo>
                  <a:pt x="439" y="400"/>
                </a:lnTo>
                <a:cubicBezTo>
                  <a:pt x="447" y="400"/>
                  <a:pt x="455" y="408"/>
                  <a:pt x="455" y="416"/>
                </a:cubicBezTo>
                <a:cubicBezTo>
                  <a:pt x="463" y="416"/>
                  <a:pt x="455" y="424"/>
                  <a:pt x="455" y="424"/>
                </a:cubicBezTo>
                <a:cubicBezTo>
                  <a:pt x="447" y="432"/>
                  <a:pt x="447" y="432"/>
                  <a:pt x="439" y="440"/>
                </a:cubicBezTo>
                <a:lnTo>
                  <a:pt x="431" y="440"/>
                </a:lnTo>
                <a:cubicBezTo>
                  <a:pt x="431" y="447"/>
                  <a:pt x="423" y="447"/>
                  <a:pt x="423" y="447"/>
                </a:cubicBezTo>
                <a:lnTo>
                  <a:pt x="423" y="463"/>
                </a:lnTo>
                <a:cubicBezTo>
                  <a:pt x="431" y="471"/>
                  <a:pt x="447" y="479"/>
                  <a:pt x="447" y="479"/>
                </a:cubicBezTo>
                <a:cubicBezTo>
                  <a:pt x="447" y="479"/>
                  <a:pt x="463" y="494"/>
                  <a:pt x="463" y="502"/>
                </a:cubicBezTo>
                <a:cubicBezTo>
                  <a:pt x="472" y="502"/>
                  <a:pt x="463" y="510"/>
                  <a:pt x="463" y="518"/>
                </a:cubicBezTo>
                <a:cubicBezTo>
                  <a:pt x="463" y="518"/>
                  <a:pt x="463" y="526"/>
                  <a:pt x="447" y="534"/>
                </a:cubicBezTo>
                <a:lnTo>
                  <a:pt x="455" y="542"/>
                </a:lnTo>
                <a:lnTo>
                  <a:pt x="463" y="565"/>
                </a:lnTo>
                <a:lnTo>
                  <a:pt x="463" y="573"/>
                </a:lnTo>
                <a:cubicBezTo>
                  <a:pt x="472" y="581"/>
                  <a:pt x="480" y="596"/>
                  <a:pt x="488" y="596"/>
                </a:cubicBezTo>
                <a:cubicBezTo>
                  <a:pt x="488" y="596"/>
                  <a:pt x="496" y="612"/>
                  <a:pt x="496" y="620"/>
                </a:cubicBezTo>
                <a:lnTo>
                  <a:pt x="496" y="628"/>
                </a:lnTo>
                <a:lnTo>
                  <a:pt x="504" y="628"/>
                </a:lnTo>
                <a:cubicBezTo>
                  <a:pt x="512" y="636"/>
                  <a:pt x="528" y="636"/>
                  <a:pt x="528" y="636"/>
                </a:cubicBezTo>
                <a:cubicBezTo>
                  <a:pt x="528" y="636"/>
                  <a:pt x="537" y="644"/>
                  <a:pt x="537" y="651"/>
                </a:cubicBezTo>
                <a:cubicBezTo>
                  <a:pt x="545" y="659"/>
                  <a:pt x="553" y="675"/>
                  <a:pt x="553" y="683"/>
                </a:cubicBezTo>
                <a:lnTo>
                  <a:pt x="553" y="691"/>
                </a:lnTo>
                <a:lnTo>
                  <a:pt x="553" y="698"/>
                </a:lnTo>
                <a:cubicBezTo>
                  <a:pt x="553" y="706"/>
                  <a:pt x="561" y="698"/>
                  <a:pt x="561" y="698"/>
                </a:cubicBezTo>
                <a:lnTo>
                  <a:pt x="569" y="691"/>
                </a:lnTo>
                <a:lnTo>
                  <a:pt x="626" y="691"/>
                </a:lnTo>
                <a:lnTo>
                  <a:pt x="642" y="698"/>
                </a:lnTo>
                <a:lnTo>
                  <a:pt x="650" y="714"/>
                </a:lnTo>
                <a:lnTo>
                  <a:pt x="658" y="714"/>
                </a:lnTo>
                <a:lnTo>
                  <a:pt x="667" y="730"/>
                </a:lnTo>
                <a:lnTo>
                  <a:pt x="683" y="753"/>
                </a:lnTo>
                <a:lnTo>
                  <a:pt x="691" y="816"/>
                </a:lnTo>
                <a:cubicBezTo>
                  <a:pt x="675" y="816"/>
                  <a:pt x="658" y="832"/>
                  <a:pt x="650" y="840"/>
                </a:cubicBezTo>
                <a:lnTo>
                  <a:pt x="626" y="903"/>
                </a:lnTo>
                <a:lnTo>
                  <a:pt x="610" y="973"/>
                </a:lnTo>
                <a:lnTo>
                  <a:pt x="569" y="1036"/>
                </a:lnTo>
                <a:lnTo>
                  <a:pt x="512" y="1067"/>
                </a:lnTo>
                <a:lnTo>
                  <a:pt x="504" y="1067"/>
                </a:lnTo>
                <a:lnTo>
                  <a:pt x="496" y="1075"/>
                </a:lnTo>
                <a:lnTo>
                  <a:pt x="488" y="1099"/>
                </a:lnTo>
                <a:lnTo>
                  <a:pt x="480" y="1107"/>
                </a:lnTo>
                <a:lnTo>
                  <a:pt x="472" y="1107"/>
                </a:lnTo>
                <a:lnTo>
                  <a:pt x="472" y="1114"/>
                </a:lnTo>
                <a:lnTo>
                  <a:pt x="472" y="1130"/>
                </a:lnTo>
                <a:lnTo>
                  <a:pt x="472" y="1138"/>
                </a:lnTo>
                <a:cubicBezTo>
                  <a:pt x="472" y="1138"/>
                  <a:pt x="480" y="1138"/>
                  <a:pt x="480" y="1146"/>
                </a:cubicBezTo>
                <a:cubicBezTo>
                  <a:pt x="480" y="1146"/>
                  <a:pt x="488" y="1154"/>
                  <a:pt x="496" y="1154"/>
                </a:cubicBezTo>
                <a:cubicBezTo>
                  <a:pt x="504" y="1162"/>
                  <a:pt x="512" y="1162"/>
                  <a:pt x="512" y="1162"/>
                </a:cubicBezTo>
                <a:lnTo>
                  <a:pt x="520" y="1177"/>
                </a:lnTo>
                <a:cubicBezTo>
                  <a:pt x="512" y="1185"/>
                  <a:pt x="504" y="1185"/>
                  <a:pt x="496" y="1185"/>
                </a:cubicBezTo>
                <a:lnTo>
                  <a:pt x="488" y="1185"/>
                </a:lnTo>
                <a:lnTo>
                  <a:pt x="472" y="1185"/>
                </a:lnTo>
                <a:lnTo>
                  <a:pt x="472" y="1201"/>
                </a:lnTo>
                <a:lnTo>
                  <a:pt x="480" y="1209"/>
                </a:lnTo>
                <a:lnTo>
                  <a:pt x="480" y="1224"/>
                </a:lnTo>
                <a:cubicBezTo>
                  <a:pt x="480" y="1224"/>
                  <a:pt x="480" y="1232"/>
                  <a:pt x="463" y="1240"/>
                </a:cubicBezTo>
                <a:lnTo>
                  <a:pt x="455" y="1256"/>
                </a:lnTo>
                <a:lnTo>
                  <a:pt x="423" y="1256"/>
                </a:lnTo>
                <a:close/>
              </a:path>
            </a:pathLst>
          </a:custGeom>
          <a:solidFill>
            <a:srgbClr val="EAEBED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8" name="Freeform 10">
            <a:extLst>
              <a:ext uri="{FF2B5EF4-FFF2-40B4-BE49-F238E27FC236}">
                <a16:creationId xmlns:a16="http://schemas.microsoft.com/office/drawing/2014/main" id="{BD0FB790-3522-CCAF-508D-DA1F493ADB9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396828" y="5183703"/>
            <a:ext cx="280738" cy="512574"/>
          </a:xfrm>
          <a:custGeom>
            <a:avLst/>
            <a:gdLst>
              <a:gd name="T0" fmla="*/ 447 w 684"/>
              <a:gd name="T1" fmla="*/ 1248 h 1249"/>
              <a:gd name="T2" fmla="*/ 472 w 684"/>
              <a:gd name="T3" fmla="*/ 1209 h 1249"/>
              <a:gd name="T4" fmla="*/ 472 w 684"/>
              <a:gd name="T5" fmla="*/ 1177 h 1249"/>
              <a:gd name="T6" fmla="*/ 512 w 684"/>
              <a:gd name="T7" fmla="*/ 1169 h 1249"/>
              <a:gd name="T8" fmla="*/ 472 w 684"/>
              <a:gd name="T9" fmla="*/ 1138 h 1249"/>
              <a:gd name="T10" fmla="*/ 480 w 684"/>
              <a:gd name="T11" fmla="*/ 1099 h 1249"/>
              <a:gd name="T12" fmla="*/ 504 w 684"/>
              <a:gd name="T13" fmla="*/ 1067 h 1249"/>
              <a:gd name="T14" fmla="*/ 610 w 684"/>
              <a:gd name="T15" fmla="*/ 973 h 1249"/>
              <a:gd name="T16" fmla="*/ 683 w 684"/>
              <a:gd name="T17" fmla="*/ 816 h 1249"/>
              <a:gd name="T18" fmla="*/ 658 w 684"/>
              <a:gd name="T19" fmla="*/ 714 h 1249"/>
              <a:gd name="T20" fmla="*/ 642 w 684"/>
              <a:gd name="T21" fmla="*/ 706 h 1249"/>
              <a:gd name="T22" fmla="*/ 602 w 684"/>
              <a:gd name="T23" fmla="*/ 698 h 1249"/>
              <a:gd name="T24" fmla="*/ 553 w 684"/>
              <a:gd name="T25" fmla="*/ 706 h 1249"/>
              <a:gd name="T26" fmla="*/ 536 w 684"/>
              <a:gd name="T27" fmla="*/ 651 h 1249"/>
              <a:gd name="T28" fmla="*/ 496 w 684"/>
              <a:gd name="T29" fmla="*/ 636 h 1249"/>
              <a:gd name="T30" fmla="*/ 463 w 684"/>
              <a:gd name="T31" fmla="*/ 573 h 1249"/>
              <a:gd name="T32" fmla="*/ 455 w 684"/>
              <a:gd name="T33" fmla="*/ 518 h 1249"/>
              <a:gd name="T34" fmla="*/ 423 w 684"/>
              <a:gd name="T35" fmla="*/ 463 h 1249"/>
              <a:gd name="T36" fmla="*/ 439 w 684"/>
              <a:gd name="T37" fmla="*/ 432 h 1249"/>
              <a:gd name="T38" fmla="*/ 439 w 684"/>
              <a:gd name="T39" fmla="*/ 400 h 1249"/>
              <a:gd name="T40" fmla="*/ 439 w 684"/>
              <a:gd name="T41" fmla="*/ 314 h 1249"/>
              <a:gd name="T42" fmla="*/ 455 w 684"/>
              <a:gd name="T43" fmla="*/ 259 h 1249"/>
              <a:gd name="T44" fmla="*/ 423 w 684"/>
              <a:gd name="T45" fmla="*/ 204 h 1249"/>
              <a:gd name="T46" fmla="*/ 390 w 684"/>
              <a:gd name="T47" fmla="*/ 157 h 1249"/>
              <a:gd name="T48" fmla="*/ 341 w 684"/>
              <a:gd name="T49" fmla="*/ 133 h 1249"/>
              <a:gd name="T50" fmla="*/ 293 w 684"/>
              <a:gd name="T51" fmla="*/ 94 h 1249"/>
              <a:gd name="T52" fmla="*/ 228 w 684"/>
              <a:gd name="T53" fmla="*/ 39 h 1249"/>
              <a:gd name="T54" fmla="*/ 187 w 684"/>
              <a:gd name="T55" fmla="*/ 71 h 1249"/>
              <a:gd name="T56" fmla="*/ 146 w 684"/>
              <a:gd name="T57" fmla="*/ 71 h 1249"/>
              <a:gd name="T58" fmla="*/ 138 w 684"/>
              <a:gd name="T59" fmla="*/ 16 h 1249"/>
              <a:gd name="T60" fmla="*/ 90 w 684"/>
              <a:gd name="T61" fmla="*/ 31 h 1249"/>
              <a:gd name="T62" fmla="*/ 65 w 684"/>
              <a:gd name="T63" fmla="*/ 94 h 1249"/>
              <a:gd name="T64" fmla="*/ 41 w 684"/>
              <a:gd name="T65" fmla="*/ 118 h 1249"/>
              <a:gd name="T66" fmla="*/ 33 w 684"/>
              <a:gd name="T67" fmla="*/ 157 h 1249"/>
              <a:gd name="T68" fmla="*/ 0 w 684"/>
              <a:gd name="T69" fmla="*/ 204 h 1249"/>
              <a:gd name="T70" fmla="*/ 41 w 684"/>
              <a:gd name="T71" fmla="*/ 235 h 1249"/>
              <a:gd name="T72" fmla="*/ 41 w 684"/>
              <a:gd name="T73" fmla="*/ 275 h 1249"/>
              <a:gd name="T74" fmla="*/ 41 w 684"/>
              <a:gd name="T75" fmla="*/ 306 h 1249"/>
              <a:gd name="T76" fmla="*/ 41 w 684"/>
              <a:gd name="T77" fmla="*/ 337 h 1249"/>
              <a:gd name="T78" fmla="*/ 114 w 684"/>
              <a:gd name="T79" fmla="*/ 353 h 1249"/>
              <a:gd name="T80" fmla="*/ 130 w 684"/>
              <a:gd name="T81" fmla="*/ 408 h 1249"/>
              <a:gd name="T82" fmla="*/ 130 w 684"/>
              <a:gd name="T83" fmla="*/ 432 h 1249"/>
              <a:gd name="T84" fmla="*/ 90 w 684"/>
              <a:gd name="T85" fmla="*/ 463 h 1249"/>
              <a:gd name="T86" fmla="*/ 114 w 684"/>
              <a:gd name="T87" fmla="*/ 479 h 1249"/>
              <a:gd name="T88" fmla="*/ 98 w 684"/>
              <a:gd name="T89" fmla="*/ 518 h 1249"/>
              <a:gd name="T90" fmla="*/ 81 w 684"/>
              <a:gd name="T91" fmla="*/ 557 h 1249"/>
              <a:gd name="T92" fmla="*/ 122 w 684"/>
              <a:gd name="T93" fmla="*/ 573 h 1249"/>
              <a:gd name="T94" fmla="*/ 114 w 684"/>
              <a:gd name="T95" fmla="*/ 636 h 1249"/>
              <a:gd name="T96" fmla="*/ 106 w 684"/>
              <a:gd name="T97" fmla="*/ 698 h 1249"/>
              <a:gd name="T98" fmla="*/ 114 w 684"/>
              <a:gd name="T99" fmla="*/ 730 h 1249"/>
              <a:gd name="T100" fmla="*/ 122 w 684"/>
              <a:gd name="T101" fmla="*/ 746 h 1249"/>
              <a:gd name="T102" fmla="*/ 106 w 684"/>
              <a:gd name="T103" fmla="*/ 793 h 1249"/>
              <a:gd name="T104" fmla="*/ 90 w 684"/>
              <a:gd name="T105" fmla="*/ 848 h 1249"/>
              <a:gd name="T106" fmla="*/ 155 w 684"/>
              <a:gd name="T107" fmla="*/ 934 h 1249"/>
              <a:gd name="T108" fmla="*/ 155 w 684"/>
              <a:gd name="T109" fmla="*/ 981 h 1249"/>
              <a:gd name="T110" fmla="*/ 122 w 684"/>
              <a:gd name="T111" fmla="*/ 965 h 1249"/>
              <a:gd name="T112" fmla="*/ 90 w 684"/>
              <a:gd name="T113" fmla="*/ 942 h 1249"/>
              <a:gd name="T114" fmla="*/ 114 w 684"/>
              <a:gd name="T115" fmla="*/ 973 h 1249"/>
              <a:gd name="T116" fmla="*/ 220 w 684"/>
              <a:gd name="T117" fmla="*/ 1059 h 1249"/>
              <a:gd name="T118" fmla="*/ 285 w 684"/>
              <a:gd name="T119" fmla="*/ 1083 h 1249"/>
              <a:gd name="T120" fmla="*/ 333 w 684"/>
              <a:gd name="T121" fmla="*/ 1138 h 1249"/>
              <a:gd name="T122" fmla="*/ 366 w 684"/>
              <a:gd name="T123" fmla="*/ 1185 h 1249"/>
              <a:gd name="T124" fmla="*/ 382 w 684"/>
              <a:gd name="T125" fmla="*/ 1216 h 1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84" h="1249">
                <a:moveTo>
                  <a:pt x="398" y="1240"/>
                </a:moveTo>
                <a:lnTo>
                  <a:pt x="423" y="1248"/>
                </a:lnTo>
                <a:lnTo>
                  <a:pt x="447" y="1248"/>
                </a:lnTo>
                <a:lnTo>
                  <a:pt x="463" y="1240"/>
                </a:lnTo>
                <a:cubicBezTo>
                  <a:pt x="472" y="1232"/>
                  <a:pt x="480" y="1224"/>
                  <a:pt x="480" y="1224"/>
                </a:cubicBezTo>
                <a:lnTo>
                  <a:pt x="472" y="1209"/>
                </a:lnTo>
                <a:lnTo>
                  <a:pt x="472" y="1201"/>
                </a:lnTo>
                <a:cubicBezTo>
                  <a:pt x="472" y="1201"/>
                  <a:pt x="463" y="1193"/>
                  <a:pt x="463" y="1185"/>
                </a:cubicBezTo>
                <a:lnTo>
                  <a:pt x="472" y="1177"/>
                </a:lnTo>
                <a:lnTo>
                  <a:pt x="488" y="1177"/>
                </a:lnTo>
                <a:lnTo>
                  <a:pt x="496" y="1185"/>
                </a:lnTo>
                <a:cubicBezTo>
                  <a:pt x="504" y="1185"/>
                  <a:pt x="512" y="1177"/>
                  <a:pt x="512" y="1169"/>
                </a:cubicBezTo>
                <a:cubicBezTo>
                  <a:pt x="504" y="1169"/>
                  <a:pt x="504" y="1161"/>
                  <a:pt x="496" y="1161"/>
                </a:cubicBezTo>
                <a:cubicBezTo>
                  <a:pt x="480" y="1154"/>
                  <a:pt x="472" y="1146"/>
                  <a:pt x="472" y="1146"/>
                </a:cubicBezTo>
                <a:lnTo>
                  <a:pt x="472" y="1138"/>
                </a:lnTo>
                <a:cubicBezTo>
                  <a:pt x="463" y="1138"/>
                  <a:pt x="463" y="1130"/>
                  <a:pt x="463" y="1130"/>
                </a:cubicBezTo>
                <a:lnTo>
                  <a:pt x="463" y="1107"/>
                </a:lnTo>
                <a:cubicBezTo>
                  <a:pt x="463" y="1107"/>
                  <a:pt x="472" y="1099"/>
                  <a:pt x="480" y="1099"/>
                </a:cubicBezTo>
                <a:lnTo>
                  <a:pt x="488" y="1099"/>
                </a:lnTo>
                <a:lnTo>
                  <a:pt x="496" y="1075"/>
                </a:lnTo>
                <a:cubicBezTo>
                  <a:pt x="496" y="1075"/>
                  <a:pt x="496" y="1067"/>
                  <a:pt x="504" y="1067"/>
                </a:cubicBezTo>
                <a:lnTo>
                  <a:pt x="512" y="1067"/>
                </a:lnTo>
                <a:lnTo>
                  <a:pt x="569" y="1036"/>
                </a:lnTo>
                <a:lnTo>
                  <a:pt x="610" y="973"/>
                </a:lnTo>
                <a:lnTo>
                  <a:pt x="618" y="902"/>
                </a:lnTo>
                <a:lnTo>
                  <a:pt x="642" y="840"/>
                </a:lnTo>
                <a:cubicBezTo>
                  <a:pt x="650" y="832"/>
                  <a:pt x="675" y="816"/>
                  <a:pt x="683" y="816"/>
                </a:cubicBezTo>
                <a:cubicBezTo>
                  <a:pt x="683" y="808"/>
                  <a:pt x="683" y="785"/>
                  <a:pt x="675" y="753"/>
                </a:cubicBezTo>
                <a:lnTo>
                  <a:pt x="658" y="730"/>
                </a:lnTo>
                <a:lnTo>
                  <a:pt x="658" y="714"/>
                </a:lnTo>
                <a:cubicBezTo>
                  <a:pt x="658" y="722"/>
                  <a:pt x="650" y="722"/>
                  <a:pt x="650" y="714"/>
                </a:cubicBezTo>
                <a:lnTo>
                  <a:pt x="642" y="714"/>
                </a:lnTo>
                <a:lnTo>
                  <a:pt x="642" y="706"/>
                </a:lnTo>
                <a:lnTo>
                  <a:pt x="618" y="698"/>
                </a:lnTo>
                <a:lnTo>
                  <a:pt x="610" y="698"/>
                </a:lnTo>
                <a:lnTo>
                  <a:pt x="602" y="698"/>
                </a:lnTo>
                <a:cubicBezTo>
                  <a:pt x="585" y="691"/>
                  <a:pt x="577" y="691"/>
                  <a:pt x="577" y="698"/>
                </a:cubicBezTo>
                <a:cubicBezTo>
                  <a:pt x="569" y="698"/>
                  <a:pt x="569" y="698"/>
                  <a:pt x="561" y="706"/>
                </a:cubicBezTo>
                <a:cubicBezTo>
                  <a:pt x="553" y="714"/>
                  <a:pt x="553" y="706"/>
                  <a:pt x="553" y="706"/>
                </a:cubicBezTo>
                <a:lnTo>
                  <a:pt x="545" y="706"/>
                </a:lnTo>
                <a:lnTo>
                  <a:pt x="545" y="683"/>
                </a:lnTo>
                <a:cubicBezTo>
                  <a:pt x="545" y="675"/>
                  <a:pt x="536" y="659"/>
                  <a:pt x="536" y="651"/>
                </a:cubicBezTo>
                <a:cubicBezTo>
                  <a:pt x="528" y="644"/>
                  <a:pt x="528" y="644"/>
                  <a:pt x="528" y="636"/>
                </a:cubicBezTo>
                <a:lnTo>
                  <a:pt x="512" y="636"/>
                </a:lnTo>
                <a:lnTo>
                  <a:pt x="496" y="636"/>
                </a:lnTo>
                <a:cubicBezTo>
                  <a:pt x="488" y="628"/>
                  <a:pt x="488" y="620"/>
                  <a:pt x="496" y="612"/>
                </a:cubicBezTo>
                <a:cubicBezTo>
                  <a:pt x="496" y="612"/>
                  <a:pt x="488" y="604"/>
                  <a:pt x="480" y="596"/>
                </a:cubicBezTo>
                <a:lnTo>
                  <a:pt x="463" y="573"/>
                </a:lnTo>
                <a:cubicBezTo>
                  <a:pt x="463" y="573"/>
                  <a:pt x="455" y="573"/>
                  <a:pt x="455" y="565"/>
                </a:cubicBezTo>
                <a:lnTo>
                  <a:pt x="447" y="534"/>
                </a:lnTo>
                <a:cubicBezTo>
                  <a:pt x="455" y="526"/>
                  <a:pt x="455" y="518"/>
                  <a:pt x="455" y="518"/>
                </a:cubicBezTo>
                <a:cubicBezTo>
                  <a:pt x="463" y="510"/>
                  <a:pt x="463" y="502"/>
                  <a:pt x="463" y="502"/>
                </a:cubicBezTo>
                <a:cubicBezTo>
                  <a:pt x="463" y="502"/>
                  <a:pt x="447" y="487"/>
                  <a:pt x="439" y="487"/>
                </a:cubicBezTo>
                <a:cubicBezTo>
                  <a:pt x="439" y="487"/>
                  <a:pt x="423" y="471"/>
                  <a:pt x="423" y="463"/>
                </a:cubicBezTo>
                <a:cubicBezTo>
                  <a:pt x="415" y="455"/>
                  <a:pt x="415" y="447"/>
                  <a:pt x="415" y="447"/>
                </a:cubicBezTo>
                <a:cubicBezTo>
                  <a:pt x="423" y="439"/>
                  <a:pt x="423" y="439"/>
                  <a:pt x="431" y="439"/>
                </a:cubicBezTo>
                <a:lnTo>
                  <a:pt x="439" y="432"/>
                </a:lnTo>
                <a:lnTo>
                  <a:pt x="447" y="424"/>
                </a:lnTo>
                <a:lnTo>
                  <a:pt x="447" y="416"/>
                </a:lnTo>
                <a:lnTo>
                  <a:pt x="439" y="400"/>
                </a:lnTo>
                <a:lnTo>
                  <a:pt x="447" y="377"/>
                </a:lnTo>
                <a:lnTo>
                  <a:pt x="439" y="369"/>
                </a:lnTo>
                <a:lnTo>
                  <a:pt x="439" y="314"/>
                </a:lnTo>
                <a:cubicBezTo>
                  <a:pt x="439" y="306"/>
                  <a:pt x="447" y="298"/>
                  <a:pt x="447" y="290"/>
                </a:cubicBezTo>
                <a:lnTo>
                  <a:pt x="447" y="275"/>
                </a:lnTo>
                <a:lnTo>
                  <a:pt x="455" y="259"/>
                </a:lnTo>
                <a:lnTo>
                  <a:pt x="439" y="235"/>
                </a:lnTo>
                <a:lnTo>
                  <a:pt x="431" y="228"/>
                </a:lnTo>
                <a:cubicBezTo>
                  <a:pt x="431" y="220"/>
                  <a:pt x="423" y="204"/>
                  <a:pt x="423" y="204"/>
                </a:cubicBezTo>
                <a:lnTo>
                  <a:pt x="415" y="188"/>
                </a:lnTo>
                <a:cubicBezTo>
                  <a:pt x="415" y="181"/>
                  <a:pt x="398" y="165"/>
                  <a:pt x="398" y="165"/>
                </a:cubicBezTo>
                <a:cubicBezTo>
                  <a:pt x="398" y="157"/>
                  <a:pt x="390" y="157"/>
                  <a:pt x="390" y="157"/>
                </a:cubicBezTo>
                <a:cubicBezTo>
                  <a:pt x="390" y="149"/>
                  <a:pt x="390" y="149"/>
                  <a:pt x="382" y="149"/>
                </a:cubicBezTo>
                <a:cubicBezTo>
                  <a:pt x="374" y="141"/>
                  <a:pt x="358" y="133"/>
                  <a:pt x="358" y="133"/>
                </a:cubicBezTo>
                <a:lnTo>
                  <a:pt x="341" y="133"/>
                </a:lnTo>
                <a:lnTo>
                  <a:pt x="325" y="118"/>
                </a:lnTo>
                <a:lnTo>
                  <a:pt x="317" y="126"/>
                </a:lnTo>
                <a:lnTo>
                  <a:pt x="293" y="94"/>
                </a:lnTo>
                <a:lnTo>
                  <a:pt x="293" y="71"/>
                </a:lnTo>
                <a:lnTo>
                  <a:pt x="236" y="31"/>
                </a:lnTo>
                <a:lnTo>
                  <a:pt x="228" y="39"/>
                </a:lnTo>
                <a:lnTo>
                  <a:pt x="220" y="47"/>
                </a:lnTo>
                <a:cubicBezTo>
                  <a:pt x="220" y="55"/>
                  <a:pt x="195" y="55"/>
                  <a:pt x="195" y="55"/>
                </a:cubicBezTo>
                <a:lnTo>
                  <a:pt x="187" y="71"/>
                </a:lnTo>
                <a:lnTo>
                  <a:pt x="163" y="79"/>
                </a:lnTo>
                <a:lnTo>
                  <a:pt x="155" y="79"/>
                </a:lnTo>
                <a:cubicBezTo>
                  <a:pt x="155" y="71"/>
                  <a:pt x="146" y="71"/>
                  <a:pt x="146" y="71"/>
                </a:cubicBezTo>
                <a:lnTo>
                  <a:pt x="146" y="63"/>
                </a:lnTo>
                <a:cubicBezTo>
                  <a:pt x="138" y="55"/>
                  <a:pt x="138" y="47"/>
                  <a:pt x="138" y="47"/>
                </a:cubicBezTo>
                <a:lnTo>
                  <a:pt x="138" y="16"/>
                </a:lnTo>
                <a:lnTo>
                  <a:pt x="122" y="8"/>
                </a:lnTo>
                <a:lnTo>
                  <a:pt x="114" y="0"/>
                </a:lnTo>
                <a:cubicBezTo>
                  <a:pt x="114" y="8"/>
                  <a:pt x="98" y="16"/>
                  <a:pt x="90" y="31"/>
                </a:cubicBezTo>
                <a:lnTo>
                  <a:pt x="90" y="39"/>
                </a:lnTo>
                <a:lnTo>
                  <a:pt x="73" y="71"/>
                </a:lnTo>
                <a:lnTo>
                  <a:pt x="65" y="94"/>
                </a:lnTo>
                <a:cubicBezTo>
                  <a:pt x="65" y="94"/>
                  <a:pt x="65" y="102"/>
                  <a:pt x="57" y="102"/>
                </a:cubicBezTo>
                <a:cubicBezTo>
                  <a:pt x="57" y="110"/>
                  <a:pt x="49" y="118"/>
                  <a:pt x="49" y="118"/>
                </a:cubicBezTo>
                <a:lnTo>
                  <a:pt x="41" y="118"/>
                </a:lnTo>
                <a:lnTo>
                  <a:pt x="33" y="126"/>
                </a:lnTo>
                <a:lnTo>
                  <a:pt x="41" y="141"/>
                </a:lnTo>
                <a:cubicBezTo>
                  <a:pt x="33" y="141"/>
                  <a:pt x="33" y="149"/>
                  <a:pt x="33" y="157"/>
                </a:cubicBezTo>
                <a:lnTo>
                  <a:pt x="25" y="165"/>
                </a:lnTo>
                <a:lnTo>
                  <a:pt x="25" y="181"/>
                </a:lnTo>
                <a:lnTo>
                  <a:pt x="0" y="204"/>
                </a:lnTo>
                <a:lnTo>
                  <a:pt x="0" y="212"/>
                </a:lnTo>
                <a:lnTo>
                  <a:pt x="8" y="220"/>
                </a:lnTo>
                <a:lnTo>
                  <a:pt x="41" y="235"/>
                </a:lnTo>
                <a:cubicBezTo>
                  <a:pt x="49" y="235"/>
                  <a:pt x="49" y="243"/>
                  <a:pt x="49" y="251"/>
                </a:cubicBezTo>
                <a:lnTo>
                  <a:pt x="41" y="259"/>
                </a:lnTo>
                <a:lnTo>
                  <a:pt x="41" y="275"/>
                </a:lnTo>
                <a:lnTo>
                  <a:pt x="41" y="283"/>
                </a:lnTo>
                <a:lnTo>
                  <a:pt x="49" y="290"/>
                </a:lnTo>
                <a:cubicBezTo>
                  <a:pt x="49" y="298"/>
                  <a:pt x="41" y="306"/>
                  <a:pt x="41" y="306"/>
                </a:cubicBezTo>
                <a:lnTo>
                  <a:pt x="33" y="314"/>
                </a:lnTo>
                <a:lnTo>
                  <a:pt x="41" y="322"/>
                </a:lnTo>
                <a:lnTo>
                  <a:pt x="41" y="337"/>
                </a:lnTo>
                <a:cubicBezTo>
                  <a:pt x="41" y="337"/>
                  <a:pt x="49" y="345"/>
                  <a:pt x="57" y="345"/>
                </a:cubicBezTo>
                <a:lnTo>
                  <a:pt x="81" y="345"/>
                </a:lnTo>
                <a:lnTo>
                  <a:pt x="114" y="353"/>
                </a:lnTo>
                <a:lnTo>
                  <a:pt x="122" y="361"/>
                </a:lnTo>
                <a:lnTo>
                  <a:pt x="122" y="385"/>
                </a:lnTo>
                <a:lnTo>
                  <a:pt x="130" y="408"/>
                </a:lnTo>
                <a:lnTo>
                  <a:pt x="122" y="424"/>
                </a:lnTo>
                <a:lnTo>
                  <a:pt x="130" y="424"/>
                </a:lnTo>
                <a:lnTo>
                  <a:pt x="130" y="432"/>
                </a:lnTo>
                <a:lnTo>
                  <a:pt x="130" y="455"/>
                </a:lnTo>
                <a:cubicBezTo>
                  <a:pt x="122" y="455"/>
                  <a:pt x="114" y="463"/>
                  <a:pt x="106" y="463"/>
                </a:cubicBezTo>
                <a:lnTo>
                  <a:pt x="90" y="463"/>
                </a:lnTo>
                <a:lnTo>
                  <a:pt x="90" y="471"/>
                </a:lnTo>
                <a:lnTo>
                  <a:pt x="106" y="479"/>
                </a:lnTo>
                <a:lnTo>
                  <a:pt x="114" y="479"/>
                </a:lnTo>
                <a:cubicBezTo>
                  <a:pt x="122" y="487"/>
                  <a:pt x="122" y="502"/>
                  <a:pt x="122" y="502"/>
                </a:cubicBezTo>
                <a:cubicBezTo>
                  <a:pt x="114" y="502"/>
                  <a:pt x="114" y="510"/>
                  <a:pt x="114" y="510"/>
                </a:cubicBezTo>
                <a:cubicBezTo>
                  <a:pt x="106" y="510"/>
                  <a:pt x="98" y="518"/>
                  <a:pt x="98" y="518"/>
                </a:cubicBezTo>
                <a:lnTo>
                  <a:pt x="81" y="534"/>
                </a:lnTo>
                <a:lnTo>
                  <a:pt x="73" y="541"/>
                </a:lnTo>
                <a:lnTo>
                  <a:pt x="81" y="557"/>
                </a:lnTo>
                <a:lnTo>
                  <a:pt x="90" y="557"/>
                </a:lnTo>
                <a:cubicBezTo>
                  <a:pt x="98" y="557"/>
                  <a:pt x="98" y="557"/>
                  <a:pt x="98" y="565"/>
                </a:cubicBezTo>
                <a:lnTo>
                  <a:pt x="122" y="573"/>
                </a:lnTo>
                <a:lnTo>
                  <a:pt x="122" y="589"/>
                </a:lnTo>
                <a:lnTo>
                  <a:pt x="122" y="604"/>
                </a:lnTo>
                <a:cubicBezTo>
                  <a:pt x="122" y="612"/>
                  <a:pt x="114" y="636"/>
                  <a:pt x="114" y="636"/>
                </a:cubicBezTo>
                <a:lnTo>
                  <a:pt x="106" y="651"/>
                </a:lnTo>
                <a:cubicBezTo>
                  <a:pt x="106" y="651"/>
                  <a:pt x="114" y="659"/>
                  <a:pt x="114" y="675"/>
                </a:cubicBezTo>
                <a:lnTo>
                  <a:pt x="106" y="698"/>
                </a:lnTo>
                <a:lnTo>
                  <a:pt x="138" y="706"/>
                </a:lnTo>
                <a:lnTo>
                  <a:pt x="138" y="722"/>
                </a:lnTo>
                <a:lnTo>
                  <a:pt x="114" y="730"/>
                </a:lnTo>
                <a:cubicBezTo>
                  <a:pt x="114" y="730"/>
                  <a:pt x="106" y="730"/>
                  <a:pt x="106" y="738"/>
                </a:cubicBezTo>
                <a:lnTo>
                  <a:pt x="106" y="746"/>
                </a:lnTo>
                <a:lnTo>
                  <a:pt x="122" y="746"/>
                </a:lnTo>
                <a:lnTo>
                  <a:pt x="106" y="761"/>
                </a:lnTo>
                <a:lnTo>
                  <a:pt x="106" y="777"/>
                </a:lnTo>
                <a:lnTo>
                  <a:pt x="106" y="793"/>
                </a:lnTo>
                <a:lnTo>
                  <a:pt x="98" y="793"/>
                </a:lnTo>
                <a:lnTo>
                  <a:pt x="98" y="808"/>
                </a:lnTo>
                <a:lnTo>
                  <a:pt x="90" y="848"/>
                </a:lnTo>
                <a:lnTo>
                  <a:pt x="114" y="895"/>
                </a:lnTo>
                <a:lnTo>
                  <a:pt x="138" y="918"/>
                </a:lnTo>
                <a:lnTo>
                  <a:pt x="155" y="934"/>
                </a:lnTo>
                <a:lnTo>
                  <a:pt x="146" y="957"/>
                </a:lnTo>
                <a:lnTo>
                  <a:pt x="155" y="965"/>
                </a:lnTo>
                <a:lnTo>
                  <a:pt x="155" y="981"/>
                </a:lnTo>
                <a:cubicBezTo>
                  <a:pt x="155" y="981"/>
                  <a:pt x="155" y="989"/>
                  <a:pt x="146" y="989"/>
                </a:cubicBezTo>
                <a:lnTo>
                  <a:pt x="138" y="989"/>
                </a:lnTo>
                <a:cubicBezTo>
                  <a:pt x="130" y="981"/>
                  <a:pt x="122" y="965"/>
                  <a:pt x="122" y="965"/>
                </a:cubicBezTo>
                <a:cubicBezTo>
                  <a:pt x="122" y="965"/>
                  <a:pt x="114" y="957"/>
                  <a:pt x="114" y="950"/>
                </a:cubicBezTo>
                <a:lnTo>
                  <a:pt x="106" y="942"/>
                </a:lnTo>
                <a:lnTo>
                  <a:pt x="90" y="942"/>
                </a:lnTo>
                <a:lnTo>
                  <a:pt x="90" y="950"/>
                </a:lnTo>
                <a:cubicBezTo>
                  <a:pt x="90" y="950"/>
                  <a:pt x="98" y="957"/>
                  <a:pt x="98" y="965"/>
                </a:cubicBezTo>
                <a:cubicBezTo>
                  <a:pt x="106" y="965"/>
                  <a:pt x="114" y="973"/>
                  <a:pt x="114" y="973"/>
                </a:cubicBezTo>
                <a:lnTo>
                  <a:pt x="122" y="981"/>
                </a:lnTo>
                <a:lnTo>
                  <a:pt x="130" y="1004"/>
                </a:lnTo>
                <a:lnTo>
                  <a:pt x="220" y="1059"/>
                </a:lnTo>
                <a:lnTo>
                  <a:pt x="252" y="1067"/>
                </a:lnTo>
                <a:lnTo>
                  <a:pt x="260" y="1083"/>
                </a:lnTo>
                <a:lnTo>
                  <a:pt x="285" y="1083"/>
                </a:lnTo>
                <a:lnTo>
                  <a:pt x="301" y="1091"/>
                </a:lnTo>
                <a:lnTo>
                  <a:pt x="309" y="1091"/>
                </a:lnTo>
                <a:cubicBezTo>
                  <a:pt x="309" y="1099"/>
                  <a:pt x="325" y="1122"/>
                  <a:pt x="333" y="1138"/>
                </a:cubicBezTo>
                <a:cubicBezTo>
                  <a:pt x="333" y="1138"/>
                  <a:pt x="341" y="1146"/>
                  <a:pt x="341" y="1154"/>
                </a:cubicBezTo>
                <a:cubicBezTo>
                  <a:pt x="350" y="1154"/>
                  <a:pt x="366" y="1161"/>
                  <a:pt x="366" y="1161"/>
                </a:cubicBezTo>
                <a:lnTo>
                  <a:pt x="366" y="1185"/>
                </a:lnTo>
                <a:lnTo>
                  <a:pt x="366" y="1193"/>
                </a:lnTo>
                <a:cubicBezTo>
                  <a:pt x="366" y="1201"/>
                  <a:pt x="374" y="1201"/>
                  <a:pt x="374" y="1201"/>
                </a:cubicBezTo>
                <a:cubicBezTo>
                  <a:pt x="374" y="1208"/>
                  <a:pt x="382" y="1216"/>
                  <a:pt x="382" y="1216"/>
                </a:cubicBezTo>
                <a:lnTo>
                  <a:pt x="382" y="1240"/>
                </a:lnTo>
                <a:lnTo>
                  <a:pt x="398" y="124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9" name="Freeform 11">
            <a:extLst>
              <a:ext uri="{FF2B5EF4-FFF2-40B4-BE49-F238E27FC236}">
                <a16:creationId xmlns:a16="http://schemas.microsoft.com/office/drawing/2014/main" id="{A41C3E97-A40D-675D-580D-F7DD0BB4111D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396828" y="5183703"/>
            <a:ext cx="284360" cy="516196"/>
          </a:xfrm>
          <a:custGeom>
            <a:avLst/>
            <a:gdLst>
              <a:gd name="T0" fmla="*/ 390 w 692"/>
              <a:gd name="T1" fmla="*/ 1248 h 1257"/>
              <a:gd name="T2" fmla="*/ 366 w 692"/>
              <a:gd name="T3" fmla="*/ 1209 h 1257"/>
              <a:gd name="T4" fmla="*/ 358 w 692"/>
              <a:gd name="T5" fmla="*/ 1185 h 1257"/>
              <a:gd name="T6" fmla="*/ 333 w 692"/>
              <a:gd name="T7" fmla="*/ 1138 h 1257"/>
              <a:gd name="T8" fmla="*/ 268 w 692"/>
              <a:gd name="T9" fmla="*/ 1091 h 1257"/>
              <a:gd name="T10" fmla="*/ 220 w 692"/>
              <a:gd name="T11" fmla="*/ 1059 h 1257"/>
              <a:gd name="T12" fmla="*/ 114 w 692"/>
              <a:gd name="T13" fmla="*/ 973 h 1257"/>
              <a:gd name="T14" fmla="*/ 82 w 692"/>
              <a:gd name="T15" fmla="*/ 942 h 1257"/>
              <a:gd name="T16" fmla="*/ 122 w 692"/>
              <a:gd name="T17" fmla="*/ 965 h 1257"/>
              <a:gd name="T18" fmla="*/ 155 w 692"/>
              <a:gd name="T19" fmla="*/ 965 h 1257"/>
              <a:gd name="T20" fmla="*/ 138 w 692"/>
              <a:gd name="T21" fmla="*/ 926 h 1257"/>
              <a:gd name="T22" fmla="*/ 82 w 692"/>
              <a:gd name="T23" fmla="*/ 848 h 1257"/>
              <a:gd name="T24" fmla="*/ 98 w 692"/>
              <a:gd name="T25" fmla="*/ 785 h 1257"/>
              <a:gd name="T26" fmla="*/ 114 w 692"/>
              <a:gd name="T27" fmla="*/ 746 h 1257"/>
              <a:gd name="T28" fmla="*/ 114 w 692"/>
              <a:gd name="T29" fmla="*/ 730 h 1257"/>
              <a:gd name="T30" fmla="*/ 106 w 692"/>
              <a:gd name="T31" fmla="*/ 698 h 1257"/>
              <a:gd name="T32" fmla="*/ 106 w 692"/>
              <a:gd name="T33" fmla="*/ 636 h 1257"/>
              <a:gd name="T34" fmla="*/ 98 w 692"/>
              <a:gd name="T35" fmla="*/ 565 h 1257"/>
              <a:gd name="T36" fmla="*/ 65 w 692"/>
              <a:gd name="T37" fmla="*/ 542 h 1257"/>
              <a:gd name="T38" fmla="*/ 106 w 692"/>
              <a:gd name="T39" fmla="*/ 510 h 1257"/>
              <a:gd name="T40" fmla="*/ 90 w 692"/>
              <a:gd name="T41" fmla="*/ 471 h 1257"/>
              <a:gd name="T42" fmla="*/ 122 w 692"/>
              <a:gd name="T43" fmla="*/ 447 h 1257"/>
              <a:gd name="T44" fmla="*/ 122 w 692"/>
              <a:gd name="T45" fmla="*/ 408 h 1257"/>
              <a:gd name="T46" fmla="*/ 114 w 692"/>
              <a:gd name="T47" fmla="*/ 361 h 1257"/>
              <a:gd name="T48" fmla="*/ 57 w 692"/>
              <a:gd name="T49" fmla="*/ 353 h 1257"/>
              <a:gd name="T50" fmla="*/ 33 w 692"/>
              <a:gd name="T51" fmla="*/ 322 h 1257"/>
              <a:gd name="T52" fmla="*/ 33 w 692"/>
              <a:gd name="T53" fmla="*/ 275 h 1257"/>
              <a:gd name="T54" fmla="*/ 8 w 692"/>
              <a:gd name="T55" fmla="*/ 220 h 1257"/>
              <a:gd name="T56" fmla="*/ 17 w 692"/>
              <a:gd name="T57" fmla="*/ 181 h 1257"/>
              <a:gd name="T58" fmla="*/ 33 w 692"/>
              <a:gd name="T59" fmla="*/ 141 h 1257"/>
              <a:gd name="T60" fmla="*/ 57 w 692"/>
              <a:gd name="T61" fmla="*/ 102 h 1257"/>
              <a:gd name="T62" fmla="*/ 82 w 692"/>
              <a:gd name="T63" fmla="*/ 32 h 1257"/>
              <a:gd name="T64" fmla="*/ 138 w 692"/>
              <a:gd name="T65" fmla="*/ 8 h 1257"/>
              <a:gd name="T66" fmla="*/ 138 w 692"/>
              <a:gd name="T67" fmla="*/ 39 h 1257"/>
              <a:gd name="T68" fmla="*/ 155 w 692"/>
              <a:gd name="T69" fmla="*/ 63 h 1257"/>
              <a:gd name="T70" fmla="*/ 195 w 692"/>
              <a:gd name="T71" fmla="*/ 55 h 1257"/>
              <a:gd name="T72" fmla="*/ 252 w 692"/>
              <a:gd name="T73" fmla="*/ 32 h 1257"/>
              <a:gd name="T74" fmla="*/ 293 w 692"/>
              <a:gd name="T75" fmla="*/ 71 h 1257"/>
              <a:gd name="T76" fmla="*/ 325 w 692"/>
              <a:gd name="T77" fmla="*/ 110 h 1257"/>
              <a:gd name="T78" fmla="*/ 390 w 692"/>
              <a:gd name="T79" fmla="*/ 141 h 1257"/>
              <a:gd name="T80" fmla="*/ 431 w 692"/>
              <a:gd name="T81" fmla="*/ 204 h 1257"/>
              <a:gd name="T82" fmla="*/ 463 w 692"/>
              <a:gd name="T83" fmla="*/ 259 h 1257"/>
              <a:gd name="T84" fmla="*/ 447 w 692"/>
              <a:gd name="T85" fmla="*/ 314 h 1257"/>
              <a:gd name="T86" fmla="*/ 447 w 692"/>
              <a:gd name="T87" fmla="*/ 377 h 1257"/>
              <a:gd name="T88" fmla="*/ 455 w 692"/>
              <a:gd name="T89" fmla="*/ 424 h 1257"/>
              <a:gd name="T90" fmla="*/ 423 w 692"/>
              <a:gd name="T91" fmla="*/ 447 h 1257"/>
              <a:gd name="T92" fmla="*/ 463 w 692"/>
              <a:gd name="T93" fmla="*/ 502 h 1257"/>
              <a:gd name="T94" fmla="*/ 455 w 692"/>
              <a:gd name="T95" fmla="*/ 542 h 1257"/>
              <a:gd name="T96" fmla="*/ 488 w 692"/>
              <a:gd name="T97" fmla="*/ 596 h 1257"/>
              <a:gd name="T98" fmla="*/ 504 w 692"/>
              <a:gd name="T99" fmla="*/ 628 h 1257"/>
              <a:gd name="T100" fmla="*/ 553 w 692"/>
              <a:gd name="T101" fmla="*/ 683 h 1257"/>
              <a:gd name="T102" fmla="*/ 561 w 692"/>
              <a:gd name="T103" fmla="*/ 698 h 1257"/>
              <a:gd name="T104" fmla="*/ 642 w 692"/>
              <a:gd name="T105" fmla="*/ 698 h 1257"/>
              <a:gd name="T106" fmla="*/ 667 w 692"/>
              <a:gd name="T107" fmla="*/ 730 h 1257"/>
              <a:gd name="T108" fmla="*/ 650 w 692"/>
              <a:gd name="T109" fmla="*/ 840 h 1257"/>
              <a:gd name="T110" fmla="*/ 569 w 692"/>
              <a:gd name="T111" fmla="*/ 1036 h 1257"/>
              <a:gd name="T112" fmla="*/ 496 w 692"/>
              <a:gd name="T113" fmla="*/ 1075 h 1257"/>
              <a:gd name="T114" fmla="*/ 472 w 692"/>
              <a:gd name="T115" fmla="*/ 1107 h 1257"/>
              <a:gd name="T116" fmla="*/ 472 w 692"/>
              <a:gd name="T117" fmla="*/ 1138 h 1257"/>
              <a:gd name="T118" fmla="*/ 512 w 692"/>
              <a:gd name="T119" fmla="*/ 1162 h 1257"/>
              <a:gd name="T120" fmla="*/ 488 w 692"/>
              <a:gd name="T121" fmla="*/ 1185 h 1257"/>
              <a:gd name="T122" fmla="*/ 480 w 692"/>
              <a:gd name="T123" fmla="*/ 1209 h 1257"/>
              <a:gd name="T124" fmla="*/ 455 w 692"/>
              <a:gd name="T125" fmla="*/ 1256 h 1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92" h="1257">
                <a:moveTo>
                  <a:pt x="423" y="1256"/>
                </a:moveTo>
                <a:lnTo>
                  <a:pt x="398" y="1240"/>
                </a:lnTo>
                <a:lnTo>
                  <a:pt x="390" y="1248"/>
                </a:lnTo>
                <a:lnTo>
                  <a:pt x="374" y="1240"/>
                </a:lnTo>
                <a:lnTo>
                  <a:pt x="374" y="1216"/>
                </a:lnTo>
                <a:cubicBezTo>
                  <a:pt x="374" y="1216"/>
                  <a:pt x="366" y="1216"/>
                  <a:pt x="366" y="1209"/>
                </a:cubicBezTo>
                <a:lnTo>
                  <a:pt x="366" y="1193"/>
                </a:lnTo>
                <a:lnTo>
                  <a:pt x="358" y="1201"/>
                </a:lnTo>
                <a:lnTo>
                  <a:pt x="358" y="1185"/>
                </a:lnTo>
                <a:cubicBezTo>
                  <a:pt x="358" y="1177"/>
                  <a:pt x="358" y="1169"/>
                  <a:pt x="366" y="1169"/>
                </a:cubicBezTo>
                <a:cubicBezTo>
                  <a:pt x="358" y="1169"/>
                  <a:pt x="342" y="1161"/>
                  <a:pt x="342" y="1154"/>
                </a:cubicBezTo>
                <a:cubicBezTo>
                  <a:pt x="333" y="1154"/>
                  <a:pt x="333" y="1138"/>
                  <a:pt x="333" y="1138"/>
                </a:cubicBezTo>
                <a:cubicBezTo>
                  <a:pt x="325" y="1138"/>
                  <a:pt x="309" y="1107"/>
                  <a:pt x="309" y="1091"/>
                </a:cubicBezTo>
                <a:lnTo>
                  <a:pt x="285" y="1091"/>
                </a:lnTo>
                <a:lnTo>
                  <a:pt x="268" y="1091"/>
                </a:lnTo>
                <a:lnTo>
                  <a:pt x="260" y="1083"/>
                </a:lnTo>
                <a:lnTo>
                  <a:pt x="252" y="1075"/>
                </a:lnTo>
                <a:lnTo>
                  <a:pt x="220" y="1059"/>
                </a:lnTo>
                <a:lnTo>
                  <a:pt x="122" y="1005"/>
                </a:lnTo>
                <a:cubicBezTo>
                  <a:pt x="122" y="1005"/>
                  <a:pt x="114" y="989"/>
                  <a:pt x="114" y="981"/>
                </a:cubicBezTo>
                <a:lnTo>
                  <a:pt x="114" y="973"/>
                </a:lnTo>
                <a:cubicBezTo>
                  <a:pt x="106" y="973"/>
                  <a:pt x="98" y="973"/>
                  <a:pt x="98" y="965"/>
                </a:cubicBezTo>
                <a:cubicBezTo>
                  <a:pt x="90" y="965"/>
                  <a:pt x="90" y="957"/>
                  <a:pt x="82" y="950"/>
                </a:cubicBezTo>
                <a:lnTo>
                  <a:pt x="82" y="942"/>
                </a:lnTo>
                <a:lnTo>
                  <a:pt x="106" y="942"/>
                </a:lnTo>
                <a:lnTo>
                  <a:pt x="114" y="950"/>
                </a:lnTo>
                <a:cubicBezTo>
                  <a:pt x="122" y="950"/>
                  <a:pt x="122" y="965"/>
                  <a:pt x="122" y="965"/>
                </a:cubicBezTo>
                <a:cubicBezTo>
                  <a:pt x="122" y="965"/>
                  <a:pt x="130" y="981"/>
                  <a:pt x="138" y="981"/>
                </a:cubicBezTo>
                <a:lnTo>
                  <a:pt x="147" y="981"/>
                </a:lnTo>
                <a:lnTo>
                  <a:pt x="155" y="965"/>
                </a:lnTo>
                <a:lnTo>
                  <a:pt x="147" y="957"/>
                </a:lnTo>
                <a:lnTo>
                  <a:pt x="147" y="934"/>
                </a:lnTo>
                <a:lnTo>
                  <a:pt x="138" y="926"/>
                </a:lnTo>
                <a:lnTo>
                  <a:pt x="130" y="910"/>
                </a:lnTo>
                <a:lnTo>
                  <a:pt x="98" y="871"/>
                </a:lnTo>
                <a:lnTo>
                  <a:pt x="82" y="848"/>
                </a:lnTo>
                <a:lnTo>
                  <a:pt x="98" y="808"/>
                </a:lnTo>
                <a:lnTo>
                  <a:pt x="90" y="793"/>
                </a:lnTo>
                <a:lnTo>
                  <a:pt x="98" y="785"/>
                </a:lnTo>
                <a:lnTo>
                  <a:pt x="106" y="777"/>
                </a:lnTo>
                <a:lnTo>
                  <a:pt x="106" y="761"/>
                </a:lnTo>
                <a:lnTo>
                  <a:pt x="114" y="746"/>
                </a:lnTo>
                <a:lnTo>
                  <a:pt x="98" y="746"/>
                </a:lnTo>
                <a:cubicBezTo>
                  <a:pt x="98" y="738"/>
                  <a:pt x="106" y="730"/>
                  <a:pt x="106" y="730"/>
                </a:cubicBezTo>
                <a:lnTo>
                  <a:pt x="114" y="730"/>
                </a:lnTo>
                <a:lnTo>
                  <a:pt x="130" y="714"/>
                </a:lnTo>
                <a:lnTo>
                  <a:pt x="130" y="706"/>
                </a:lnTo>
                <a:lnTo>
                  <a:pt x="106" y="698"/>
                </a:lnTo>
                <a:lnTo>
                  <a:pt x="114" y="675"/>
                </a:lnTo>
                <a:cubicBezTo>
                  <a:pt x="106" y="667"/>
                  <a:pt x="98" y="651"/>
                  <a:pt x="98" y="651"/>
                </a:cubicBezTo>
                <a:lnTo>
                  <a:pt x="106" y="636"/>
                </a:lnTo>
                <a:cubicBezTo>
                  <a:pt x="106" y="636"/>
                  <a:pt x="114" y="612"/>
                  <a:pt x="114" y="604"/>
                </a:cubicBezTo>
                <a:lnTo>
                  <a:pt x="114" y="581"/>
                </a:lnTo>
                <a:cubicBezTo>
                  <a:pt x="106" y="573"/>
                  <a:pt x="98" y="565"/>
                  <a:pt x="98" y="565"/>
                </a:cubicBezTo>
                <a:cubicBezTo>
                  <a:pt x="98" y="565"/>
                  <a:pt x="90" y="565"/>
                  <a:pt x="90" y="557"/>
                </a:cubicBezTo>
                <a:lnTo>
                  <a:pt x="82" y="557"/>
                </a:lnTo>
                <a:lnTo>
                  <a:pt x="65" y="542"/>
                </a:lnTo>
                <a:lnTo>
                  <a:pt x="90" y="526"/>
                </a:lnTo>
                <a:lnTo>
                  <a:pt x="90" y="518"/>
                </a:lnTo>
                <a:cubicBezTo>
                  <a:pt x="98" y="510"/>
                  <a:pt x="106" y="510"/>
                  <a:pt x="106" y="510"/>
                </a:cubicBezTo>
                <a:lnTo>
                  <a:pt x="114" y="502"/>
                </a:lnTo>
                <a:lnTo>
                  <a:pt x="114" y="479"/>
                </a:lnTo>
                <a:lnTo>
                  <a:pt x="90" y="471"/>
                </a:lnTo>
                <a:lnTo>
                  <a:pt x="90" y="463"/>
                </a:lnTo>
                <a:cubicBezTo>
                  <a:pt x="90" y="463"/>
                  <a:pt x="98" y="463"/>
                  <a:pt x="106" y="455"/>
                </a:cubicBezTo>
                <a:cubicBezTo>
                  <a:pt x="114" y="455"/>
                  <a:pt x="122" y="447"/>
                  <a:pt x="122" y="447"/>
                </a:cubicBezTo>
                <a:cubicBezTo>
                  <a:pt x="130" y="447"/>
                  <a:pt x="130" y="440"/>
                  <a:pt x="130" y="432"/>
                </a:cubicBezTo>
                <a:lnTo>
                  <a:pt x="114" y="424"/>
                </a:lnTo>
                <a:lnTo>
                  <a:pt x="122" y="408"/>
                </a:lnTo>
                <a:lnTo>
                  <a:pt x="114" y="385"/>
                </a:lnTo>
                <a:lnTo>
                  <a:pt x="122" y="369"/>
                </a:lnTo>
                <a:lnTo>
                  <a:pt x="114" y="361"/>
                </a:lnTo>
                <a:lnTo>
                  <a:pt x="82" y="345"/>
                </a:lnTo>
                <a:lnTo>
                  <a:pt x="73" y="345"/>
                </a:lnTo>
                <a:cubicBezTo>
                  <a:pt x="65" y="345"/>
                  <a:pt x="57" y="353"/>
                  <a:pt x="57" y="353"/>
                </a:cubicBezTo>
                <a:cubicBezTo>
                  <a:pt x="33" y="345"/>
                  <a:pt x="33" y="338"/>
                  <a:pt x="33" y="338"/>
                </a:cubicBezTo>
                <a:cubicBezTo>
                  <a:pt x="41" y="338"/>
                  <a:pt x="41" y="330"/>
                  <a:pt x="41" y="330"/>
                </a:cubicBezTo>
                <a:lnTo>
                  <a:pt x="33" y="322"/>
                </a:lnTo>
                <a:lnTo>
                  <a:pt x="33" y="306"/>
                </a:lnTo>
                <a:lnTo>
                  <a:pt x="41" y="290"/>
                </a:lnTo>
                <a:cubicBezTo>
                  <a:pt x="33" y="283"/>
                  <a:pt x="33" y="275"/>
                  <a:pt x="33" y="275"/>
                </a:cubicBezTo>
                <a:lnTo>
                  <a:pt x="41" y="259"/>
                </a:lnTo>
                <a:lnTo>
                  <a:pt x="41" y="236"/>
                </a:lnTo>
                <a:lnTo>
                  <a:pt x="8" y="220"/>
                </a:lnTo>
                <a:lnTo>
                  <a:pt x="0" y="212"/>
                </a:lnTo>
                <a:lnTo>
                  <a:pt x="0" y="196"/>
                </a:lnTo>
                <a:lnTo>
                  <a:pt x="17" y="181"/>
                </a:lnTo>
                <a:lnTo>
                  <a:pt x="25" y="165"/>
                </a:lnTo>
                <a:lnTo>
                  <a:pt x="25" y="149"/>
                </a:lnTo>
                <a:lnTo>
                  <a:pt x="33" y="141"/>
                </a:lnTo>
                <a:lnTo>
                  <a:pt x="33" y="118"/>
                </a:lnTo>
                <a:lnTo>
                  <a:pt x="41" y="110"/>
                </a:lnTo>
                <a:cubicBezTo>
                  <a:pt x="41" y="110"/>
                  <a:pt x="49" y="102"/>
                  <a:pt x="57" y="102"/>
                </a:cubicBezTo>
                <a:lnTo>
                  <a:pt x="57" y="86"/>
                </a:lnTo>
                <a:lnTo>
                  <a:pt x="90" y="39"/>
                </a:lnTo>
                <a:lnTo>
                  <a:pt x="82" y="32"/>
                </a:lnTo>
                <a:cubicBezTo>
                  <a:pt x="106" y="0"/>
                  <a:pt x="114" y="0"/>
                  <a:pt x="114" y="0"/>
                </a:cubicBezTo>
                <a:lnTo>
                  <a:pt x="130" y="0"/>
                </a:lnTo>
                <a:lnTo>
                  <a:pt x="138" y="8"/>
                </a:lnTo>
                <a:lnTo>
                  <a:pt x="147" y="16"/>
                </a:lnTo>
                <a:lnTo>
                  <a:pt x="147" y="24"/>
                </a:lnTo>
                <a:cubicBezTo>
                  <a:pt x="147" y="32"/>
                  <a:pt x="138" y="32"/>
                  <a:pt x="138" y="39"/>
                </a:cubicBezTo>
                <a:cubicBezTo>
                  <a:pt x="147" y="39"/>
                  <a:pt x="138" y="47"/>
                  <a:pt x="138" y="47"/>
                </a:cubicBezTo>
                <a:cubicBezTo>
                  <a:pt x="147" y="47"/>
                  <a:pt x="147" y="55"/>
                  <a:pt x="147" y="55"/>
                </a:cubicBezTo>
                <a:lnTo>
                  <a:pt x="155" y="63"/>
                </a:lnTo>
                <a:cubicBezTo>
                  <a:pt x="155" y="71"/>
                  <a:pt x="163" y="71"/>
                  <a:pt x="163" y="71"/>
                </a:cubicBezTo>
                <a:lnTo>
                  <a:pt x="179" y="63"/>
                </a:lnTo>
                <a:lnTo>
                  <a:pt x="195" y="55"/>
                </a:lnTo>
                <a:cubicBezTo>
                  <a:pt x="195" y="55"/>
                  <a:pt x="212" y="47"/>
                  <a:pt x="220" y="47"/>
                </a:cubicBezTo>
                <a:cubicBezTo>
                  <a:pt x="220" y="47"/>
                  <a:pt x="220" y="39"/>
                  <a:pt x="228" y="32"/>
                </a:cubicBezTo>
                <a:lnTo>
                  <a:pt x="252" y="32"/>
                </a:lnTo>
                <a:lnTo>
                  <a:pt x="260" y="47"/>
                </a:lnTo>
                <a:lnTo>
                  <a:pt x="277" y="55"/>
                </a:lnTo>
                <a:lnTo>
                  <a:pt x="293" y="71"/>
                </a:lnTo>
                <a:lnTo>
                  <a:pt x="301" y="94"/>
                </a:lnTo>
                <a:lnTo>
                  <a:pt x="317" y="118"/>
                </a:lnTo>
                <a:lnTo>
                  <a:pt x="325" y="110"/>
                </a:lnTo>
                <a:lnTo>
                  <a:pt x="342" y="126"/>
                </a:lnTo>
                <a:lnTo>
                  <a:pt x="358" y="134"/>
                </a:lnTo>
                <a:cubicBezTo>
                  <a:pt x="358" y="134"/>
                  <a:pt x="374" y="134"/>
                  <a:pt x="390" y="141"/>
                </a:cubicBezTo>
                <a:cubicBezTo>
                  <a:pt x="398" y="141"/>
                  <a:pt x="398" y="149"/>
                  <a:pt x="398" y="149"/>
                </a:cubicBezTo>
                <a:cubicBezTo>
                  <a:pt x="407" y="165"/>
                  <a:pt x="423" y="181"/>
                  <a:pt x="423" y="181"/>
                </a:cubicBezTo>
                <a:lnTo>
                  <a:pt x="431" y="204"/>
                </a:lnTo>
                <a:cubicBezTo>
                  <a:pt x="431" y="204"/>
                  <a:pt x="439" y="220"/>
                  <a:pt x="439" y="228"/>
                </a:cubicBezTo>
                <a:lnTo>
                  <a:pt x="439" y="236"/>
                </a:lnTo>
                <a:lnTo>
                  <a:pt x="463" y="259"/>
                </a:lnTo>
                <a:lnTo>
                  <a:pt x="455" y="283"/>
                </a:lnTo>
                <a:lnTo>
                  <a:pt x="447" y="298"/>
                </a:lnTo>
                <a:lnTo>
                  <a:pt x="447" y="314"/>
                </a:lnTo>
                <a:lnTo>
                  <a:pt x="447" y="330"/>
                </a:lnTo>
                <a:lnTo>
                  <a:pt x="439" y="338"/>
                </a:lnTo>
                <a:lnTo>
                  <a:pt x="447" y="377"/>
                </a:lnTo>
                <a:lnTo>
                  <a:pt x="439" y="400"/>
                </a:lnTo>
                <a:cubicBezTo>
                  <a:pt x="447" y="400"/>
                  <a:pt x="455" y="408"/>
                  <a:pt x="455" y="416"/>
                </a:cubicBezTo>
                <a:cubicBezTo>
                  <a:pt x="463" y="416"/>
                  <a:pt x="455" y="424"/>
                  <a:pt x="455" y="424"/>
                </a:cubicBezTo>
                <a:cubicBezTo>
                  <a:pt x="447" y="432"/>
                  <a:pt x="447" y="432"/>
                  <a:pt x="439" y="440"/>
                </a:cubicBezTo>
                <a:lnTo>
                  <a:pt x="431" y="440"/>
                </a:lnTo>
                <a:cubicBezTo>
                  <a:pt x="431" y="447"/>
                  <a:pt x="423" y="447"/>
                  <a:pt x="423" y="447"/>
                </a:cubicBezTo>
                <a:lnTo>
                  <a:pt x="423" y="463"/>
                </a:lnTo>
                <a:cubicBezTo>
                  <a:pt x="431" y="471"/>
                  <a:pt x="447" y="479"/>
                  <a:pt x="447" y="479"/>
                </a:cubicBezTo>
                <a:cubicBezTo>
                  <a:pt x="447" y="479"/>
                  <a:pt x="463" y="494"/>
                  <a:pt x="463" y="502"/>
                </a:cubicBezTo>
                <a:cubicBezTo>
                  <a:pt x="472" y="502"/>
                  <a:pt x="463" y="510"/>
                  <a:pt x="463" y="518"/>
                </a:cubicBezTo>
                <a:cubicBezTo>
                  <a:pt x="463" y="518"/>
                  <a:pt x="463" y="526"/>
                  <a:pt x="447" y="534"/>
                </a:cubicBezTo>
                <a:lnTo>
                  <a:pt x="455" y="542"/>
                </a:lnTo>
                <a:lnTo>
                  <a:pt x="463" y="565"/>
                </a:lnTo>
                <a:lnTo>
                  <a:pt x="463" y="573"/>
                </a:lnTo>
                <a:cubicBezTo>
                  <a:pt x="472" y="581"/>
                  <a:pt x="480" y="596"/>
                  <a:pt x="488" y="596"/>
                </a:cubicBezTo>
                <a:cubicBezTo>
                  <a:pt x="488" y="596"/>
                  <a:pt x="496" y="612"/>
                  <a:pt x="496" y="620"/>
                </a:cubicBezTo>
                <a:lnTo>
                  <a:pt x="496" y="628"/>
                </a:lnTo>
                <a:lnTo>
                  <a:pt x="504" y="628"/>
                </a:lnTo>
                <a:cubicBezTo>
                  <a:pt x="512" y="636"/>
                  <a:pt x="528" y="636"/>
                  <a:pt x="528" y="636"/>
                </a:cubicBezTo>
                <a:cubicBezTo>
                  <a:pt x="528" y="636"/>
                  <a:pt x="537" y="644"/>
                  <a:pt x="537" y="651"/>
                </a:cubicBezTo>
                <a:cubicBezTo>
                  <a:pt x="545" y="659"/>
                  <a:pt x="553" y="675"/>
                  <a:pt x="553" y="683"/>
                </a:cubicBezTo>
                <a:lnTo>
                  <a:pt x="553" y="691"/>
                </a:lnTo>
                <a:lnTo>
                  <a:pt x="553" y="698"/>
                </a:lnTo>
                <a:cubicBezTo>
                  <a:pt x="553" y="706"/>
                  <a:pt x="561" y="698"/>
                  <a:pt x="561" y="698"/>
                </a:cubicBezTo>
                <a:lnTo>
                  <a:pt x="569" y="691"/>
                </a:lnTo>
                <a:lnTo>
                  <a:pt x="626" y="691"/>
                </a:lnTo>
                <a:lnTo>
                  <a:pt x="642" y="698"/>
                </a:lnTo>
                <a:lnTo>
                  <a:pt x="650" y="714"/>
                </a:lnTo>
                <a:lnTo>
                  <a:pt x="658" y="714"/>
                </a:lnTo>
                <a:lnTo>
                  <a:pt x="667" y="730"/>
                </a:lnTo>
                <a:lnTo>
                  <a:pt x="683" y="753"/>
                </a:lnTo>
                <a:lnTo>
                  <a:pt x="691" y="816"/>
                </a:lnTo>
                <a:cubicBezTo>
                  <a:pt x="675" y="816"/>
                  <a:pt x="658" y="832"/>
                  <a:pt x="650" y="840"/>
                </a:cubicBezTo>
                <a:lnTo>
                  <a:pt x="626" y="903"/>
                </a:lnTo>
                <a:lnTo>
                  <a:pt x="610" y="973"/>
                </a:lnTo>
                <a:lnTo>
                  <a:pt x="569" y="1036"/>
                </a:lnTo>
                <a:lnTo>
                  <a:pt x="512" y="1067"/>
                </a:lnTo>
                <a:lnTo>
                  <a:pt x="504" y="1067"/>
                </a:lnTo>
                <a:lnTo>
                  <a:pt x="496" y="1075"/>
                </a:lnTo>
                <a:lnTo>
                  <a:pt x="488" y="1099"/>
                </a:lnTo>
                <a:lnTo>
                  <a:pt x="480" y="1107"/>
                </a:lnTo>
                <a:lnTo>
                  <a:pt x="472" y="1107"/>
                </a:lnTo>
                <a:lnTo>
                  <a:pt x="472" y="1114"/>
                </a:lnTo>
                <a:lnTo>
                  <a:pt x="472" y="1130"/>
                </a:lnTo>
                <a:lnTo>
                  <a:pt x="472" y="1138"/>
                </a:lnTo>
                <a:cubicBezTo>
                  <a:pt x="472" y="1138"/>
                  <a:pt x="480" y="1138"/>
                  <a:pt x="480" y="1146"/>
                </a:cubicBezTo>
                <a:cubicBezTo>
                  <a:pt x="480" y="1146"/>
                  <a:pt x="488" y="1154"/>
                  <a:pt x="496" y="1154"/>
                </a:cubicBezTo>
                <a:cubicBezTo>
                  <a:pt x="504" y="1162"/>
                  <a:pt x="512" y="1162"/>
                  <a:pt x="512" y="1162"/>
                </a:cubicBezTo>
                <a:lnTo>
                  <a:pt x="520" y="1177"/>
                </a:lnTo>
                <a:cubicBezTo>
                  <a:pt x="512" y="1185"/>
                  <a:pt x="504" y="1185"/>
                  <a:pt x="496" y="1185"/>
                </a:cubicBezTo>
                <a:lnTo>
                  <a:pt x="488" y="1185"/>
                </a:lnTo>
                <a:lnTo>
                  <a:pt x="472" y="1185"/>
                </a:lnTo>
                <a:lnTo>
                  <a:pt x="472" y="1201"/>
                </a:lnTo>
                <a:lnTo>
                  <a:pt x="480" y="1209"/>
                </a:lnTo>
                <a:lnTo>
                  <a:pt x="480" y="1224"/>
                </a:lnTo>
                <a:cubicBezTo>
                  <a:pt x="480" y="1224"/>
                  <a:pt x="480" y="1232"/>
                  <a:pt x="463" y="1240"/>
                </a:cubicBezTo>
                <a:lnTo>
                  <a:pt x="455" y="1256"/>
                </a:lnTo>
                <a:lnTo>
                  <a:pt x="423" y="125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0" name="Freeform 12">
            <a:extLst>
              <a:ext uri="{FF2B5EF4-FFF2-40B4-BE49-F238E27FC236}">
                <a16:creationId xmlns:a16="http://schemas.microsoft.com/office/drawing/2014/main" id="{4E3BAF25-C7F1-2B4F-1C48-A34DDC7AB1AB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268231" y="5042428"/>
            <a:ext cx="259005" cy="284361"/>
          </a:xfrm>
          <a:custGeom>
            <a:avLst/>
            <a:gdLst>
              <a:gd name="T0" fmla="*/ 371 w 629"/>
              <a:gd name="T1" fmla="*/ 682 h 691"/>
              <a:gd name="T2" fmla="*/ 355 w 629"/>
              <a:gd name="T3" fmla="*/ 667 h 691"/>
              <a:gd name="T4" fmla="*/ 355 w 629"/>
              <a:gd name="T5" fmla="*/ 620 h 691"/>
              <a:gd name="T6" fmla="*/ 355 w 629"/>
              <a:gd name="T7" fmla="*/ 574 h 691"/>
              <a:gd name="T8" fmla="*/ 314 w 629"/>
              <a:gd name="T9" fmla="*/ 551 h 691"/>
              <a:gd name="T10" fmla="*/ 338 w 629"/>
              <a:gd name="T11" fmla="*/ 504 h 691"/>
              <a:gd name="T12" fmla="*/ 355 w 629"/>
              <a:gd name="T13" fmla="*/ 458 h 691"/>
              <a:gd name="T14" fmla="*/ 379 w 629"/>
              <a:gd name="T15" fmla="*/ 426 h 691"/>
              <a:gd name="T16" fmla="*/ 403 w 629"/>
              <a:gd name="T17" fmla="*/ 380 h 691"/>
              <a:gd name="T18" fmla="*/ 443 w 629"/>
              <a:gd name="T19" fmla="*/ 341 h 691"/>
              <a:gd name="T20" fmla="*/ 451 w 629"/>
              <a:gd name="T21" fmla="*/ 364 h 691"/>
              <a:gd name="T22" fmla="*/ 459 w 629"/>
              <a:gd name="T23" fmla="*/ 395 h 691"/>
              <a:gd name="T24" fmla="*/ 475 w 629"/>
              <a:gd name="T25" fmla="*/ 419 h 691"/>
              <a:gd name="T26" fmla="*/ 532 w 629"/>
              <a:gd name="T27" fmla="*/ 388 h 691"/>
              <a:gd name="T28" fmla="*/ 548 w 629"/>
              <a:gd name="T29" fmla="*/ 326 h 691"/>
              <a:gd name="T30" fmla="*/ 564 w 629"/>
              <a:gd name="T31" fmla="*/ 279 h 691"/>
              <a:gd name="T32" fmla="*/ 628 w 629"/>
              <a:gd name="T33" fmla="*/ 240 h 691"/>
              <a:gd name="T34" fmla="*/ 548 w 629"/>
              <a:gd name="T35" fmla="*/ 178 h 691"/>
              <a:gd name="T36" fmla="*/ 467 w 629"/>
              <a:gd name="T37" fmla="*/ 147 h 691"/>
              <a:gd name="T38" fmla="*/ 443 w 629"/>
              <a:gd name="T39" fmla="*/ 139 h 691"/>
              <a:gd name="T40" fmla="*/ 387 w 629"/>
              <a:gd name="T41" fmla="*/ 124 h 691"/>
              <a:gd name="T42" fmla="*/ 347 w 629"/>
              <a:gd name="T43" fmla="*/ 124 h 691"/>
              <a:gd name="T44" fmla="*/ 314 w 629"/>
              <a:gd name="T45" fmla="*/ 108 h 691"/>
              <a:gd name="T46" fmla="*/ 274 w 629"/>
              <a:gd name="T47" fmla="*/ 70 h 691"/>
              <a:gd name="T48" fmla="*/ 234 w 629"/>
              <a:gd name="T49" fmla="*/ 39 h 691"/>
              <a:gd name="T50" fmla="*/ 194 w 629"/>
              <a:gd name="T51" fmla="*/ 15 h 691"/>
              <a:gd name="T52" fmla="*/ 169 w 629"/>
              <a:gd name="T53" fmla="*/ 8 h 691"/>
              <a:gd name="T54" fmla="*/ 145 w 629"/>
              <a:gd name="T55" fmla="*/ 8 h 691"/>
              <a:gd name="T56" fmla="*/ 113 w 629"/>
              <a:gd name="T57" fmla="*/ 23 h 691"/>
              <a:gd name="T58" fmla="*/ 129 w 629"/>
              <a:gd name="T59" fmla="*/ 46 h 691"/>
              <a:gd name="T60" fmla="*/ 153 w 629"/>
              <a:gd name="T61" fmla="*/ 62 h 691"/>
              <a:gd name="T62" fmla="*/ 169 w 629"/>
              <a:gd name="T63" fmla="*/ 101 h 691"/>
              <a:gd name="T64" fmla="*/ 137 w 629"/>
              <a:gd name="T65" fmla="*/ 116 h 691"/>
              <a:gd name="T66" fmla="*/ 121 w 629"/>
              <a:gd name="T67" fmla="*/ 85 h 691"/>
              <a:gd name="T68" fmla="*/ 57 w 629"/>
              <a:gd name="T69" fmla="*/ 139 h 691"/>
              <a:gd name="T70" fmla="*/ 49 w 629"/>
              <a:gd name="T71" fmla="*/ 194 h 691"/>
              <a:gd name="T72" fmla="*/ 24 w 629"/>
              <a:gd name="T73" fmla="*/ 240 h 691"/>
              <a:gd name="T74" fmla="*/ 0 w 629"/>
              <a:gd name="T75" fmla="*/ 279 h 691"/>
              <a:gd name="T76" fmla="*/ 8 w 629"/>
              <a:gd name="T77" fmla="*/ 326 h 691"/>
              <a:gd name="T78" fmla="*/ 57 w 629"/>
              <a:gd name="T79" fmla="*/ 364 h 691"/>
              <a:gd name="T80" fmla="*/ 57 w 629"/>
              <a:gd name="T81" fmla="*/ 403 h 691"/>
              <a:gd name="T82" fmla="*/ 33 w 629"/>
              <a:gd name="T83" fmla="*/ 426 h 691"/>
              <a:gd name="T84" fmla="*/ 24 w 629"/>
              <a:gd name="T85" fmla="*/ 458 h 691"/>
              <a:gd name="T86" fmla="*/ 89 w 629"/>
              <a:gd name="T87" fmla="*/ 473 h 691"/>
              <a:gd name="T88" fmla="*/ 97 w 629"/>
              <a:gd name="T89" fmla="*/ 450 h 691"/>
              <a:gd name="T90" fmla="*/ 129 w 629"/>
              <a:gd name="T91" fmla="*/ 450 h 691"/>
              <a:gd name="T92" fmla="*/ 113 w 629"/>
              <a:gd name="T93" fmla="*/ 465 h 691"/>
              <a:gd name="T94" fmla="*/ 105 w 629"/>
              <a:gd name="T95" fmla="*/ 496 h 691"/>
              <a:gd name="T96" fmla="*/ 65 w 629"/>
              <a:gd name="T97" fmla="*/ 489 h 691"/>
              <a:gd name="T98" fmla="*/ 121 w 629"/>
              <a:gd name="T99" fmla="*/ 520 h 691"/>
              <a:gd name="T100" fmla="*/ 202 w 629"/>
              <a:gd name="T101" fmla="*/ 551 h 691"/>
              <a:gd name="T102" fmla="*/ 250 w 629"/>
              <a:gd name="T103" fmla="*/ 582 h 691"/>
              <a:gd name="T104" fmla="*/ 258 w 629"/>
              <a:gd name="T105" fmla="*/ 613 h 691"/>
              <a:gd name="T106" fmla="*/ 282 w 629"/>
              <a:gd name="T107" fmla="*/ 636 h 691"/>
              <a:gd name="T108" fmla="*/ 290 w 629"/>
              <a:gd name="T109" fmla="*/ 659 h 691"/>
              <a:gd name="T110" fmla="*/ 330 w 629"/>
              <a:gd name="T111" fmla="*/ 675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29" h="691">
                <a:moveTo>
                  <a:pt x="338" y="675"/>
                </a:moveTo>
                <a:cubicBezTo>
                  <a:pt x="338" y="675"/>
                  <a:pt x="379" y="690"/>
                  <a:pt x="371" y="690"/>
                </a:cubicBezTo>
                <a:lnTo>
                  <a:pt x="371" y="682"/>
                </a:lnTo>
                <a:lnTo>
                  <a:pt x="363" y="690"/>
                </a:lnTo>
                <a:cubicBezTo>
                  <a:pt x="363" y="690"/>
                  <a:pt x="346" y="675"/>
                  <a:pt x="355" y="675"/>
                </a:cubicBezTo>
                <a:lnTo>
                  <a:pt x="355" y="667"/>
                </a:lnTo>
                <a:cubicBezTo>
                  <a:pt x="355" y="659"/>
                  <a:pt x="346" y="651"/>
                  <a:pt x="346" y="651"/>
                </a:cubicBezTo>
                <a:lnTo>
                  <a:pt x="355" y="644"/>
                </a:lnTo>
                <a:lnTo>
                  <a:pt x="355" y="620"/>
                </a:lnTo>
                <a:lnTo>
                  <a:pt x="346" y="613"/>
                </a:lnTo>
                <a:lnTo>
                  <a:pt x="355" y="597"/>
                </a:lnTo>
                <a:lnTo>
                  <a:pt x="355" y="574"/>
                </a:lnTo>
                <a:lnTo>
                  <a:pt x="338" y="566"/>
                </a:lnTo>
                <a:lnTo>
                  <a:pt x="322" y="558"/>
                </a:lnTo>
                <a:lnTo>
                  <a:pt x="314" y="551"/>
                </a:lnTo>
                <a:lnTo>
                  <a:pt x="314" y="535"/>
                </a:lnTo>
                <a:lnTo>
                  <a:pt x="330" y="520"/>
                </a:lnTo>
                <a:lnTo>
                  <a:pt x="338" y="504"/>
                </a:lnTo>
                <a:lnTo>
                  <a:pt x="346" y="496"/>
                </a:lnTo>
                <a:lnTo>
                  <a:pt x="346" y="465"/>
                </a:lnTo>
                <a:lnTo>
                  <a:pt x="355" y="458"/>
                </a:lnTo>
                <a:lnTo>
                  <a:pt x="363" y="450"/>
                </a:lnTo>
                <a:lnTo>
                  <a:pt x="371" y="442"/>
                </a:lnTo>
                <a:cubicBezTo>
                  <a:pt x="371" y="434"/>
                  <a:pt x="379" y="426"/>
                  <a:pt x="379" y="426"/>
                </a:cubicBezTo>
                <a:lnTo>
                  <a:pt x="387" y="411"/>
                </a:lnTo>
                <a:lnTo>
                  <a:pt x="395" y="395"/>
                </a:lnTo>
                <a:lnTo>
                  <a:pt x="403" y="380"/>
                </a:lnTo>
                <a:lnTo>
                  <a:pt x="395" y="372"/>
                </a:lnTo>
                <a:lnTo>
                  <a:pt x="427" y="341"/>
                </a:lnTo>
                <a:lnTo>
                  <a:pt x="443" y="341"/>
                </a:lnTo>
                <a:lnTo>
                  <a:pt x="443" y="349"/>
                </a:lnTo>
                <a:lnTo>
                  <a:pt x="451" y="357"/>
                </a:lnTo>
                <a:lnTo>
                  <a:pt x="451" y="364"/>
                </a:lnTo>
                <a:lnTo>
                  <a:pt x="451" y="380"/>
                </a:lnTo>
                <a:lnTo>
                  <a:pt x="451" y="388"/>
                </a:lnTo>
                <a:lnTo>
                  <a:pt x="459" y="395"/>
                </a:lnTo>
                <a:cubicBezTo>
                  <a:pt x="459" y="403"/>
                  <a:pt x="467" y="411"/>
                  <a:pt x="467" y="411"/>
                </a:cubicBezTo>
                <a:lnTo>
                  <a:pt x="475" y="411"/>
                </a:lnTo>
                <a:lnTo>
                  <a:pt x="475" y="419"/>
                </a:lnTo>
                <a:lnTo>
                  <a:pt x="491" y="411"/>
                </a:lnTo>
                <a:lnTo>
                  <a:pt x="508" y="395"/>
                </a:lnTo>
                <a:lnTo>
                  <a:pt x="532" y="388"/>
                </a:lnTo>
                <a:lnTo>
                  <a:pt x="540" y="372"/>
                </a:lnTo>
                <a:lnTo>
                  <a:pt x="548" y="372"/>
                </a:lnTo>
                <a:cubicBezTo>
                  <a:pt x="540" y="357"/>
                  <a:pt x="556" y="341"/>
                  <a:pt x="548" y="326"/>
                </a:cubicBezTo>
                <a:lnTo>
                  <a:pt x="540" y="318"/>
                </a:lnTo>
                <a:cubicBezTo>
                  <a:pt x="524" y="302"/>
                  <a:pt x="499" y="295"/>
                  <a:pt x="508" y="295"/>
                </a:cubicBezTo>
                <a:cubicBezTo>
                  <a:pt x="516" y="279"/>
                  <a:pt x="548" y="287"/>
                  <a:pt x="564" y="279"/>
                </a:cubicBezTo>
                <a:cubicBezTo>
                  <a:pt x="572" y="279"/>
                  <a:pt x="572" y="264"/>
                  <a:pt x="580" y="256"/>
                </a:cubicBezTo>
                <a:cubicBezTo>
                  <a:pt x="588" y="256"/>
                  <a:pt x="604" y="264"/>
                  <a:pt x="604" y="248"/>
                </a:cubicBezTo>
                <a:cubicBezTo>
                  <a:pt x="604" y="233"/>
                  <a:pt x="620" y="233"/>
                  <a:pt x="628" y="240"/>
                </a:cubicBezTo>
                <a:cubicBezTo>
                  <a:pt x="620" y="225"/>
                  <a:pt x="596" y="209"/>
                  <a:pt x="588" y="201"/>
                </a:cubicBezTo>
                <a:cubicBezTo>
                  <a:pt x="588" y="201"/>
                  <a:pt x="588" y="194"/>
                  <a:pt x="572" y="194"/>
                </a:cubicBezTo>
                <a:cubicBezTo>
                  <a:pt x="564" y="194"/>
                  <a:pt x="548" y="178"/>
                  <a:pt x="548" y="178"/>
                </a:cubicBezTo>
                <a:lnTo>
                  <a:pt x="524" y="178"/>
                </a:lnTo>
                <a:lnTo>
                  <a:pt x="499" y="155"/>
                </a:lnTo>
                <a:cubicBezTo>
                  <a:pt x="491" y="155"/>
                  <a:pt x="467" y="147"/>
                  <a:pt x="467" y="147"/>
                </a:cubicBezTo>
                <a:lnTo>
                  <a:pt x="467" y="132"/>
                </a:lnTo>
                <a:lnTo>
                  <a:pt x="459" y="132"/>
                </a:lnTo>
                <a:cubicBezTo>
                  <a:pt x="451" y="132"/>
                  <a:pt x="443" y="139"/>
                  <a:pt x="443" y="139"/>
                </a:cubicBezTo>
                <a:lnTo>
                  <a:pt x="419" y="147"/>
                </a:lnTo>
                <a:lnTo>
                  <a:pt x="403" y="147"/>
                </a:lnTo>
                <a:cubicBezTo>
                  <a:pt x="395" y="139"/>
                  <a:pt x="387" y="124"/>
                  <a:pt x="387" y="124"/>
                </a:cubicBezTo>
                <a:lnTo>
                  <a:pt x="379" y="124"/>
                </a:lnTo>
                <a:cubicBezTo>
                  <a:pt x="371" y="132"/>
                  <a:pt x="387" y="139"/>
                  <a:pt x="371" y="132"/>
                </a:cubicBezTo>
                <a:lnTo>
                  <a:pt x="347" y="124"/>
                </a:lnTo>
                <a:lnTo>
                  <a:pt x="330" y="108"/>
                </a:lnTo>
                <a:lnTo>
                  <a:pt x="322" y="108"/>
                </a:lnTo>
                <a:lnTo>
                  <a:pt x="314" y="108"/>
                </a:lnTo>
                <a:lnTo>
                  <a:pt x="306" y="93"/>
                </a:lnTo>
                <a:lnTo>
                  <a:pt x="306" y="77"/>
                </a:lnTo>
                <a:cubicBezTo>
                  <a:pt x="298" y="77"/>
                  <a:pt x="274" y="70"/>
                  <a:pt x="274" y="70"/>
                </a:cubicBezTo>
                <a:lnTo>
                  <a:pt x="266" y="54"/>
                </a:lnTo>
                <a:cubicBezTo>
                  <a:pt x="258" y="54"/>
                  <a:pt x="242" y="46"/>
                  <a:pt x="242" y="46"/>
                </a:cubicBezTo>
                <a:lnTo>
                  <a:pt x="234" y="39"/>
                </a:lnTo>
                <a:lnTo>
                  <a:pt x="210" y="39"/>
                </a:lnTo>
                <a:lnTo>
                  <a:pt x="202" y="23"/>
                </a:lnTo>
                <a:lnTo>
                  <a:pt x="194" y="15"/>
                </a:lnTo>
                <a:cubicBezTo>
                  <a:pt x="202" y="15"/>
                  <a:pt x="202" y="0"/>
                  <a:pt x="202" y="0"/>
                </a:cubicBezTo>
                <a:lnTo>
                  <a:pt x="185" y="0"/>
                </a:lnTo>
                <a:lnTo>
                  <a:pt x="169" y="8"/>
                </a:lnTo>
                <a:lnTo>
                  <a:pt x="161" y="15"/>
                </a:lnTo>
                <a:lnTo>
                  <a:pt x="153" y="15"/>
                </a:lnTo>
                <a:lnTo>
                  <a:pt x="145" y="8"/>
                </a:lnTo>
                <a:lnTo>
                  <a:pt x="137" y="0"/>
                </a:lnTo>
                <a:lnTo>
                  <a:pt x="121" y="15"/>
                </a:lnTo>
                <a:lnTo>
                  <a:pt x="113" y="23"/>
                </a:lnTo>
                <a:lnTo>
                  <a:pt x="113" y="31"/>
                </a:lnTo>
                <a:lnTo>
                  <a:pt x="129" y="31"/>
                </a:lnTo>
                <a:lnTo>
                  <a:pt x="129" y="46"/>
                </a:lnTo>
                <a:lnTo>
                  <a:pt x="137" y="46"/>
                </a:lnTo>
                <a:lnTo>
                  <a:pt x="145" y="54"/>
                </a:lnTo>
                <a:lnTo>
                  <a:pt x="153" y="62"/>
                </a:lnTo>
                <a:lnTo>
                  <a:pt x="153" y="77"/>
                </a:lnTo>
                <a:lnTo>
                  <a:pt x="169" y="85"/>
                </a:lnTo>
                <a:lnTo>
                  <a:pt x="169" y="101"/>
                </a:lnTo>
                <a:lnTo>
                  <a:pt x="161" y="108"/>
                </a:lnTo>
                <a:lnTo>
                  <a:pt x="153" y="116"/>
                </a:lnTo>
                <a:lnTo>
                  <a:pt x="137" y="116"/>
                </a:lnTo>
                <a:lnTo>
                  <a:pt x="137" y="108"/>
                </a:lnTo>
                <a:lnTo>
                  <a:pt x="129" y="93"/>
                </a:lnTo>
                <a:lnTo>
                  <a:pt x="121" y="85"/>
                </a:lnTo>
                <a:lnTo>
                  <a:pt x="97" y="93"/>
                </a:lnTo>
                <a:lnTo>
                  <a:pt x="97" y="108"/>
                </a:lnTo>
                <a:lnTo>
                  <a:pt x="57" y="139"/>
                </a:lnTo>
                <a:lnTo>
                  <a:pt x="65" y="155"/>
                </a:lnTo>
                <a:lnTo>
                  <a:pt x="49" y="170"/>
                </a:lnTo>
                <a:lnTo>
                  <a:pt x="49" y="194"/>
                </a:lnTo>
                <a:lnTo>
                  <a:pt x="57" y="217"/>
                </a:lnTo>
                <a:lnTo>
                  <a:pt x="57" y="233"/>
                </a:lnTo>
                <a:lnTo>
                  <a:pt x="24" y="240"/>
                </a:lnTo>
                <a:lnTo>
                  <a:pt x="0" y="248"/>
                </a:lnTo>
                <a:lnTo>
                  <a:pt x="0" y="271"/>
                </a:lnTo>
                <a:lnTo>
                  <a:pt x="0" y="279"/>
                </a:lnTo>
                <a:lnTo>
                  <a:pt x="24" y="310"/>
                </a:lnTo>
                <a:lnTo>
                  <a:pt x="16" y="318"/>
                </a:lnTo>
                <a:lnTo>
                  <a:pt x="8" y="326"/>
                </a:lnTo>
                <a:lnTo>
                  <a:pt x="33" y="357"/>
                </a:lnTo>
                <a:lnTo>
                  <a:pt x="41" y="364"/>
                </a:lnTo>
                <a:lnTo>
                  <a:pt x="57" y="364"/>
                </a:lnTo>
                <a:lnTo>
                  <a:pt x="57" y="380"/>
                </a:lnTo>
                <a:lnTo>
                  <a:pt x="57" y="388"/>
                </a:lnTo>
                <a:lnTo>
                  <a:pt x="57" y="403"/>
                </a:lnTo>
                <a:lnTo>
                  <a:pt x="41" y="419"/>
                </a:lnTo>
                <a:lnTo>
                  <a:pt x="49" y="434"/>
                </a:lnTo>
                <a:lnTo>
                  <a:pt x="33" y="426"/>
                </a:lnTo>
                <a:lnTo>
                  <a:pt x="24" y="442"/>
                </a:lnTo>
                <a:lnTo>
                  <a:pt x="33" y="450"/>
                </a:lnTo>
                <a:lnTo>
                  <a:pt x="24" y="458"/>
                </a:lnTo>
                <a:lnTo>
                  <a:pt x="41" y="473"/>
                </a:lnTo>
                <a:lnTo>
                  <a:pt x="73" y="481"/>
                </a:lnTo>
                <a:lnTo>
                  <a:pt x="89" y="473"/>
                </a:lnTo>
                <a:lnTo>
                  <a:pt x="97" y="465"/>
                </a:lnTo>
                <a:lnTo>
                  <a:pt x="89" y="458"/>
                </a:lnTo>
                <a:cubicBezTo>
                  <a:pt x="89" y="458"/>
                  <a:pt x="89" y="450"/>
                  <a:pt x="97" y="450"/>
                </a:cubicBezTo>
                <a:cubicBezTo>
                  <a:pt x="97" y="442"/>
                  <a:pt x="105" y="442"/>
                  <a:pt x="105" y="442"/>
                </a:cubicBezTo>
                <a:lnTo>
                  <a:pt x="105" y="450"/>
                </a:lnTo>
                <a:lnTo>
                  <a:pt x="129" y="450"/>
                </a:lnTo>
                <a:lnTo>
                  <a:pt x="129" y="465"/>
                </a:lnTo>
                <a:lnTo>
                  <a:pt x="121" y="473"/>
                </a:lnTo>
                <a:lnTo>
                  <a:pt x="113" y="465"/>
                </a:lnTo>
                <a:lnTo>
                  <a:pt x="113" y="473"/>
                </a:lnTo>
                <a:lnTo>
                  <a:pt x="113" y="496"/>
                </a:lnTo>
                <a:cubicBezTo>
                  <a:pt x="113" y="496"/>
                  <a:pt x="113" y="504"/>
                  <a:pt x="105" y="496"/>
                </a:cubicBezTo>
                <a:lnTo>
                  <a:pt x="97" y="489"/>
                </a:lnTo>
                <a:lnTo>
                  <a:pt x="73" y="481"/>
                </a:lnTo>
                <a:lnTo>
                  <a:pt x="65" y="489"/>
                </a:lnTo>
                <a:lnTo>
                  <a:pt x="65" y="504"/>
                </a:lnTo>
                <a:lnTo>
                  <a:pt x="121" y="504"/>
                </a:lnTo>
                <a:lnTo>
                  <a:pt x="121" y="520"/>
                </a:lnTo>
                <a:lnTo>
                  <a:pt x="137" y="535"/>
                </a:lnTo>
                <a:lnTo>
                  <a:pt x="177" y="535"/>
                </a:lnTo>
                <a:lnTo>
                  <a:pt x="202" y="551"/>
                </a:lnTo>
                <a:cubicBezTo>
                  <a:pt x="202" y="551"/>
                  <a:pt x="210" y="566"/>
                  <a:pt x="218" y="566"/>
                </a:cubicBezTo>
                <a:lnTo>
                  <a:pt x="226" y="582"/>
                </a:lnTo>
                <a:lnTo>
                  <a:pt x="250" y="582"/>
                </a:lnTo>
                <a:lnTo>
                  <a:pt x="258" y="589"/>
                </a:lnTo>
                <a:lnTo>
                  <a:pt x="250" y="597"/>
                </a:lnTo>
                <a:lnTo>
                  <a:pt x="258" y="613"/>
                </a:lnTo>
                <a:lnTo>
                  <a:pt x="274" y="613"/>
                </a:lnTo>
                <a:lnTo>
                  <a:pt x="274" y="620"/>
                </a:lnTo>
                <a:lnTo>
                  <a:pt x="282" y="636"/>
                </a:lnTo>
                <a:lnTo>
                  <a:pt x="282" y="644"/>
                </a:lnTo>
                <a:cubicBezTo>
                  <a:pt x="282" y="644"/>
                  <a:pt x="290" y="644"/>
                  <a:pt x="290" y="651"/>
                </a:cubicBezTo>
                <a:lnTo>
                  <a:pt x="290" y="659"/>
                </a:lnTo>
                <a:lnTo>
                  <a:pt x="314" y="659"/>
                </a:lnTo>
                <a:lnTo>
                  <a:pt x="322" y="667"/>
                </a:lnTo>
                <a:lnTo>
                  <a:pt x="330" y="675"/>
                </a:lnTo>
                <a:lnTo>
                  <a:pt x="338" y="675"/>
                </a:lnTo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1" name="Freeform 13">
            <a:extLst>
              <a:ext uri="{FF2B5EF4-FFF2-40B4-BE49-F238E27FC236}">
                <a16:creationId xmlns:a16="http://schemas.microsoft.com/office/drawing/2014/main" id="{C305EA6E-5021-A94A-38D0-6BCC7BCD0A4B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268231" y="5042428"/>
            <a:ext cx="259005" cy="284361"/>
          </a:xfrm>
          <a:custGeom>
            <a:avLst/>
            <a:gdLst>
              <a:gd name="T0" fmla="*/ 371 w 629"/>
              <a:gd name="T1" fmla="*/ 682 h 691"/>
              <a:gd name="T2" fmla="*/ 355 w 629"/>
              <a:gd name="T3" fmla="*/ 667 h 691"/>
              <a:gd name="T4" fmla="*/ 355 w 629"/>
              <a:gd name="T5" fmla="*/ 620 h 691"/>
              <a:gd name="T6" fmla="*/ 355 w 629"/>
              <a:gd name="T7" fmla="*/ 574 h 691"/>
              <a:gd name="T8" fmla="*/ 314 w 629"/>
              <a:gd name="T9" fmla="*/ 551 h 691"/>
              <a:gd name="T10" fmla="*/ 338 w 629"/>
              <a:gd name="T11" fmla="*/ 504 h 691"/>
              <a:gd name="T12" fmla="*/ 355 w 629"/>
              <a:gd name="T13" fmla="*/ 458 h 691"/>
              <a:gd name="T14" fmla="*/ 379 w 629"/>
              <a:gd name="T15" fmla="*/ 426 h 691"/>
              <a:gd name="T16" fmla="*/ 403 w 629"/>
              <a:gd name="T17" fmla="*/ 380 h 691"/>
              <a:gd name="T18" fmla="*/ 443 w 629"/>
              <a:gd name="T19" fmla="*/ 341 h 691"/>
              <a:gd name="T20" fmla="*/ 451 w 629"/>
              <a:gd name="T21" fmla="*/ 364 h 691"/>
              <a:gd name="T22" fmla="*/ 459 w 629"/>
              <a:gd name="T23" fmla="*/ 395 h 691"/>
              <a:gd name="T24" fmla="*/ 475 w 629"/>
              <a:gd name="T25" fmla="*/ 419 h 691"/>
              <a:gd name="T26" fmla="*/ 532 w 629"/>
              <a:gd name="T27" fmla="*/ 388 h 691"/>
              <a:gd name="T28" fmla="*/ 548 w 629"/>
              <a:gd name="T29" fmla="*/ 326 h 691"/>
              <a:gd name="T30" fmla="*/ 564 w 629"/>
              <a:gd name="T31" fmla="*/ 279 h 691"/>
              <a:gd name="T32" fmla="*/ 628 w 629"/>
              <a:gd name="T33" fmla="*/ 240 h 691"/>
              <a:gd name="T34" fmla="*/ 548 w 629"/>
              <a:gd name="T35" fmla="*/ 178 h 691"/>
              <a:gd name="T36" fmla="*/ 467 w 629"/>
              <a:gd name="T37" fmla="*/ 147 h 691"/>
              <a:gd name="T38" fmla="*/ 443 w 629"/>
              <a:gd name="T39" fmla="*/ 139 h 691"/>
              <a:gd name="T40" fmla="*/ 387 w 629"/>
              <a:gd name="T41" fmla="*/ 124 h 691"/>
              <a:gd name="T42" fmla="*/ 347 w 629"/>
              <a:gd name="T43" fmla="*/ 124 h 691"/>
              <a:gd name="T44" fmla="*/ 314 w 629"/>
              <a:gd name="T45" fmla="*/ 108 h 691"/>
              <a:gd name="T46" fmla="*/ 274 w 629"/>
              <a:gd name="T47" fmla="*/ 70 h 691"/>
              <a:gd name="T48" fmla="*/ 234 w 629"/>
              <a:gd name="T49" fmla="*/ 39 h 691"/>
              <a:gd name="T50" fmla="*/ 194 w 629"/>
              <a:gd name="T51" fmla="*/ 15 h 691"/>
              <a:gd name="T52" fmla="*/ 169 w 629"/>
              <a:gd name="T53" fmla="*/ 8 h 691"/>
              <a:gd name="T54" fmla="*/ 145 w 629"/>
              <a:gd name="T55" fmla="*/ 8 h 691"/>
              <a:gd name="T56" fmla="*/ 113 w 629"/>
              <a:gd name="T57" fmla="*/ 23 h 691"/>
              <a:gd name="T58" fmla="*/ 129 w 629"/>
              <a:gd name="T59" fmla="*/ 46 h 691"/>
              <a:gd name="T60" fmla="*/ 153 w 629"/>
              <a:gd name="T61" fmla="*/ 62 h 691"/>
              <a:gd name="T62" fmla="*/ 169 w 629"/>
              <a:gd name="T63" fmla="*/ 101 h 691"/>
              <a:gd name="T64" fmla="*/ 137 w 629"/>
              <a:gd name="T65" fmla="*/ 116 h 691"/>
              <a:gd name="T66" fmla="*/ 121 w 629"/>
              <a:gd name="T67" fmla="*/ 85 h 691"/>
              <a:gd name="T68" fmla="*/ 57 w 629"/>
              <a:gd name="T69" fmla="*/ 139 h 691"/>
              <a:gd name="T70" fmla="*/ 49 w 629"/>
              <a:gd name="T71" fmla="*/ 194 h 691"/>
              <a:gd name="T72" fmla="*/ 24 w 629"/>
              <a:gd name="T73" fmla="*/ 240 h 691"/>
              <a:gd name="T74" fmla="*/ 0 w 629"/>
              <a:gd name="T75" fmla="*/ 279 h 691"/>
              <a:gd name="T76" fmla="*/ 8 w 629"/>
              <a:gd name="T77" fmla="*/ 326 h 691"/>
              <a:gd name="T78" fmla="*/ 57 w 629"/>
              <a:gd name="T79" fmla="*/ 364 h 691"/>
              <a:gd name="T80" fmla="*/ 57 w 629"/>
              <a:gd name="T81" fmla="*/ 403 h 691"/>
              <a:gd name="T82" fmla="*/ 33 w 629"/>
              <a:gd name="T83" fmla="*/ 426 h 691"/>
              <a:gd name="T84" fmla="*/ 24 w 629"/>
              <a:gd name="T85" fmla="*/ 458 h 691"/>
              <a:gd name="T86" fmla="*/ 89 w 629"/>
              <a:gd name="T87" fmla="*/ 473 h 691"/>
              <a:gd name="T88" fmla="*/ 97 w 629"/>
              <a:gd name="T89" fmla="*/ 450 h 691"/>
              <a:gd name="T90" fmla="*/ 129 w 629"/>
              <a:gd name="T91" fmla="*/ 450 h 691"/>
              <a:gd name="T92" fmla="*/ 113 w 629"/>
              <a:gd name="T93" fmla="*/ 465 h 691"/>
              <a:gd name="T94" fmla="*/ 105 w 629"/>
              <a:gd name="T95" fmla="*/ 496 h 691"/>
              <a:gd name="T96" fmla="*/ 65 w 629"/>
              <a:gd name="T97" fmla="*/ 489 h 691"/>
              <a:gd name="T98" fmla="*/ 121 w 629"/>
              <a:gd name="T99" fmla="*/ 520 h 691"/>
              <a:gd name="T100" fmla="*/ 202 w 629"/>
              <a:gd name="T101" fmla="*/ 551 h 691"/>
              <a:gd name="T102" fmla="*/ 250 w 629"/>
              <a:gd name="T103" fmla="*/ 582 h 691"/>
              <a:gd name="T104" fmla="*/ 258 w 629"/>
              <a:gd name="T105" fmla="*/ 613 h 691"/>
              <a:gd name="T106" fmla="*/ 282 w 629"/>
              <a:gd name="T107" fmla="*/ 636 h 691"/>
              <a:gd name="T108" fmla="*/ 290 w 629"/>
              <a:gd name="T109" fmla="*/ 659 h 691"/>
              <a:gd name="T110" fmla="*/ 330 w 629"/>
              <a:gd name="T111" fmla="*/ 675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29" h="691">
                <a:moveTo>
                  <a:pt x="338" y="675"/>
                </a:moveTo>
                <a:cubicBezTo>
                  <a:pt x="338" y="675"/>
                  <a:pt x="379" y="690"/>
                  <a:pt x="371" y="690"/>
                </a:cubicBezTo>
                <a:lnTo>
                  <a:pt x="371" y="682"/>
                </a:lnTo>
                <a:lnTo>
                  <a:pt x="363" y="690"/>
                </a:lnTo>
                <a:cubicBezTo>
                  <a:pt x="363" y="690"/>
                  <a:pt x="346" y="675"/>
                  <a:pt x="355" y="675"/>
                </a:cubicBezTo>
                <a:lnTo>
                  <a:pt x="355" y="667"/>
                </a:lnTo>
                <a:cubicBezTo>
                  <a:pt x="355" y="659"/>
                  <a:pt x="346" y="651"/>
                  <a:pt x="346" y="651"/>
                </a:cubicBezTo>
                <a:lnTo>
                  <a:pt x="355" y="644"/>
                </a:lnTo>
                <a:lnTo>
                  <a:pt x="355" y="620"/>
                </a:lnTo>
                <a:lnTo>
                  <a:pt x="346" y="613"/>
                </a:lnTo>
                <a:lnTo>
                  <a:pt x="355" y="597"/>
                </a:lnTo>
                <a:lnTo>
                  <a:pt x="355" y="574"/>
                </a:lnTo>
                <a:lnTo>
                  <a:pt x="338" y="566"/>
                </a:lnTo>
                <a:lnTo>
                  <a:pt x="322" y="558"/>
                </a:lnTo>
                <a:lnTo>
                  <a:pt x="314" y="551"/>
                </a:lnTo>
                <a:lnTo>
                  <a:pt x="314" y="535"/>
                </a:lnTo>
                <a:lnTo>
                  <a:pt x="330" y="520"/>
                </a:lnTo>
                <a:lnTo>
                  <a:pt x="338" y="504"/>
                </a:lnTo>
                <a:lnTo>
                  <a:pt x="346" y="496"/>
                </a:lnTo>
                <a:lnTo>
                  <a:pt x="346" y="465"/>
                </a:lnTo>
                <a:lnTo>
                  <a:pt x="355" y="458"/>
                </a:lnTo>
                <a:lnTo>
                  <a:pt x="363" y="450"/>
                </a:lnTo>
                <a:lnTo>
                  <a:pt x="371" y="442"/>
                </a:lnTo>
                <a:cubicBezTo>
                  <a:pt x="371" y="434"/>
                  <a:pt x="379" y="426"/>
                  <a:pt x="379" y="426"/>
                </a:cubicBezTo>
                <a:lnTo>
                  <a:pt x="387" y="411"/>
                </a:lnTo>
                <a:lnTo>
                  <a:pt x="395" y="395"/>
                </a:lnTo>
                <a:lnTo>
                  <a:pt x="403" y="380"/>
                </a:lnTo>
                <a:lnTo>
                  <a:pt x="395" y="372"/>
                </a:lnTo>
                <a:lnTo>
                  <a:pt x="427" y="341"/>
                </a:lnTo>
                <a:lnTo>
                  <a:pt x="443" y="341"/>
                </a:lnTo>
                <a:lnTo>
                  <a:pt x="443" y="349"/>
                </a:lnTo>
                <a:lnTo>
                  <a:pt x="451" y="357"/>
                </a:lnTo>
                <a:lnTo>
                  <a:pt x="451" y="364"/>
                </a:lnTo>
                <a:lnTo>
                  <a:pt x="451" y="380"/>
                </a:lnTo>
                <a:lnTo>
                  <a:pt x="451" y="388"/>
                </a:lnTo>
                <a:lnTo>
                  <a:pt x="459" y="395"/>
                </a:lnTo>
                <a:cubicBezTo>
                  <a:pt x="459" y="403"/>
                  <a:pt x="467" y="411"/>
                  <a:pt x="467" y="411"/>
                </a:cubicBezTo>
                <a:lnTo>
                  <a:pt x="475" y="411"/>
                </a:lnTo>
                <a:lnTo>
                  <a:pt x="475" y="419"/>
                </a:lnTo>
                <a:lnTo>
                  <a:pt x="491" y="411"/>
                </a:lnTo>
                <a:lnTo>
                  <a:pt x="508" y="395"/>
                </a:lnTo>
                <a:lnTo>
                  <a:pt x="532" y="388"/>
                </a:lnTo>
                <a:lnTo>
                  <a:pt x="540" y="372"/>
                </a:lnTo>
                <a:lnTo>
                  <a:pt x="548" y="372"/>
                </a:lnTo>
                <a:cubicBezTo>
                  <a:pt x="540" y="357"/>
                  <a:pt x="556" y="341"/>
                  <a:pt x="548" y="326"/>
                </a:cubicBezTo>
                <a:lnTo>
                  <a:pt x="540" y="318"/>
                </a:lnTo>
                <a:cubicBezTo>
                  <a:pt x="524" y="302"/>
                  <a:pt x="499" y="295"/>
                  <a:pt x="508" y="295"/>
                </a:cubicBezTo>
                <a:cubicBezTo>
                  <a:pt x="516" y="279"/>
                  <a:pt x="548" y="287"/>
                  <a:pt x="564" y="279"/>
                </a:cubicBezTo>
                <a:cubicBezTo>
                  <a:pt x="572" y="279"/>
                  <a:pt x="572" y="264"/>
                  <a:pt x="580" y="256"/>
                </a:cubicBezTo>
                <a:cubicBezTo>
                  <a:pt x="588" y="256"/>
                  <a:pt x="604" y="264"/>
                  <a:pt x="604" y="248"/>
                </a:cubicBezTo>
                <a:cubicBezTo>
                  <a:pt x="604" y="233"/>
                  <a:pt x="620" y="233"/>
                  <a:pt x="628" y="240"/>
                </a:cubicBezTo>
                <a:cubicBezTo>
                  <a:pt x="620" y="225"/>
                  <a:pt x="596" y="209"/>
                  <a:pt x="588" y="201"/>
                </a:cubicBezTo>
                <a:cubicBezTo>
                  <a:pt x="588" y="201"/>
                  <a:pt x="588" y="194"/>
                  <a:pt x="572" y="194"/>
                </a:cubicBezTo>
                <a:cubicBezTo>
                  <a:pt x="564" y="194"/>
                  <a:pt x="548" y="178"/>
                  <a:pt x="548" y="178"/>
                </a:cubicBezTo>
                <a:lnTo>
                  <a:pt x="524" y="178"/>
                </a:lnTo>
                <a:lnTo>
                  <a:pt x="499" y="155"/>
                </a:lnTo>
                <a:cubicBezTo>
                  <a:pt x="491" y="155"/>
                  <a:pt x="467" y="147"/>
                  <a:pt x="467" y="147"/>
                </a:cubicBezTo>
                <a:lnTo>
                  <a:pt x="467" y="132"/>
                </a:lnTo>
                <a:lnTo>
                  <a:pt x="459" y="132"/>
                </a:lnTo>
                <a:cubicBezTo>
                  <a:pt x="451" y="132"/>
                  <a:pt x="443" y="139"/>
                  <a:pt x="443" y="139"/>
                </a:cubicBezTo>
                <a:lnTo>
                  <a:pt x="419" y="147"/>
                </a:lnTo>
                <a:lnTo>
                  <a:pt x="403" y="147"/>
                </a:lnTo>
                <a:cubicBezTo>
                  <a:pt x="395" y="139"/>
                  <a:pt x="387" y="124"/>
                  <a:pt x="387" y="124"/>
                </a:cubicBezTo>
                <a:lnTo>
                  <a:pt x="379" y="124"/>
                </a:lnTo>
                <a:cubicBezTo>
                  <a:pt x="371" y="132"/>
                  <a:pt x="387" y="139"/>
                  <a:pt x="371" y="132"/>
                </a:cubicBezTo>
                <a:lnTo>
                  <a:pt x="347" y="124"/>
                </a:lnTo>
                <a:lnTo>
                  <a:pt x="330" y="108"/>
                </a:lnTo>
                <a:lnTo>
                  <a:pt x="322" y="108"/>
                </a:lnTo>
                <a:lnTo>
                  <a:pt x="314" y="108"/>
                </a:lnTo>
                <a:lnTo>
                  <a:pt x="306" y="93"/>
                </a:lnTo>
                <a:lnTo>
                  <a:pt x="306" y="77"/>
                </a:lnTo>
                <a:cubicBezTo>
                  <a:pt x="298" y="77"/>
                  <a:pt x="274" y="70"/>
                  <a:pt x="274" y="70"/>
                </a:cubicBezTo>
                <a:lnTo>
                  <a:pt x="266" y="54"/>
                </a:lnTo>
                <a:cubicBezTo>
                  <a:pt x="258" y="54"/>
                  <a:pt x="242" y="46"/>
                  <a:pt x="242" y="46"/>
                </a:cubicBezTo>
                <a:lnTo>
                  <a:pt x="234" y="39"/>
                </a:lnTo>
                <a:lnTo>
                  <a:pt x="210" y="39"/>
                </a:lnTo>
                <a:lnTo>
                  <a:pt x="202" y="23"/>
                </a:lnTo>
                <a:lnTo>
                  <a:pt x="194" y="15"/>
                </a:lnTo>
                <a:cubicBezTo>
                  <a:pt x="202" y="15"/>
                  <a:pt x="202" y="0"/>
                  <a:pt x="202" y="0"/>
                </a:cubicBezTo>
                <a:lnTo>
                  <a:pt x="185" y="0"/>
                </a:lnTo>
                <a:lnTo>
                  <a:pt x="169" y="8"/>
                </a:lnTo>
                <a:lnTo>
                  <a:pt x="161" y="15"/>
                </a:lnTo>
                <a:lnTo>
                  <a:pt x="153" y="15"/>
                </a:lnTo>
                <a:lnTo>
                  <a:pt x="145" y="8"/>
                </a:lnTo>
                <a:lnTo>
                  <a:pt x="137" y="0"/>
                </a:lnTo>
                <a:lnTo>
                  <a:pt x="121" y="15"/>
                </a:lnTo>
                <a:lnTo>
                  <a:pt x="113" y="23"/>
                </a:lnTo>
                <a:lnTo>
                  <a:pt x="113" y="31"/>
                </a:lnTo>
                <a:lnTo>
                  <a:pt x="129" y="31"/>
                </a:lnTo>
                <a:lnTo>
                  <a:pt x="129" y="46"/>
                </a:lnTo>
                <a:lnTo>
                  <a:pt x="137" y="46"/>
                </a:lnTo>
                <a:lnTo>
                  <a:pt x="145" y="54"/>
                </a:lnTo>
                <a:lnTo>
                  <a:pt x="153" y="62"/>
                </a:lnTo>
                <a:lnTo>
                  <a:pt x="153" y="77"/>
                </a:lnTo>
                <a:lnTo>
                  <a:pt x="169" y="85"/>
                </a:lnTo>
                <a:lnTo>
                  <a:pt x="169" y="101"/>
                </a:lnTo>
                <a:lnTo>
                  <a:pt x="161" y="108"/>
                </a:lnTo>
                <a:lnTo>
                  <a:pt x="153" y="116"/>
                </a:lnTo>
                <a:lnTo>
                  <a:pt x="137" y="116"/>
                </a:lnTo>
                <a:lnTo>
                  <a:pt x="137" y="108"/>
                </a:lnTo>
                <a:lnTo>
                  <a:pt x="129" y="93"/>
                </a:lnTo>
                <a:lnTo>
                  <a:pt x="121" y="85"/>
                </a:lnTo>
                <a:lnTo>
                  <a:pt x="97" y="93"/>
                </a:lnTo>
                <a:lnTo>
                  <a:pt x="97" y="108"/>
                </a:lnTo>
                <a:lnTo>
                  <a:pt x="57" y="139"/>
                </a:lnTo>
                <a:lnTo>
                  <a:pt x="65" y="155"/>
                </a:lnTo>
                <a:lnTo>
                  <a:pt x="49" y="170"/>
                </a:lnTo>
                <a:lnTo>
                  <a:pt x="49" y="194"/>
                </a:lnTo>
                <a:lnTo>
                  <a:pt x="57" y="217"/>
                </a:lnTo>
                <a:lnTo>
                  <a:pt x="57" y="233"/>
                </a:lnTo>
                <a:lnTo>
                  <a:pt x="24" y="240"/>
                </a:lnTo>
                <a:lnTo>
                  <a:pt x="0" y="248"/>
                </a:lnTo>
                <a:lnTo>
                  <a:pt x="0" y="271"/>
                </a:lnTo>
                <a:lnTo>
                  <a:pt x="0" y="279"/>
                </a:lnTo>
                <a:lnTo>
                  <a:pt x="24" y="310"/>
                </a:lnTo>
                <a:lnTo>
                  <a:pt x="16" y="318"/>
                </a:lnTo>
                <a:lnTo>
                  <a:pt x="8" y="326"/>
                </a:lnTo>
                <a:lnTo>
                  <a:pt x="33" y="357"/>
                </a:lnTo>
                <a:lnTo>
                  <a:pt x="41" y="364"/>
                </a:lnTo>
                <a:lnTo>
                  <a:pt x="57" y="364"/>
                </a:lnTo>
                <a:lnTo>
                  <a:pt x="57" y="380"/>
                </a:lnTo>
                <a:lnTo>
                  <a:pt x="57" y="388"/>
                </a:lnTo>
                <a:lnTo>
                  <a:pt x="57" y="403"/>
                </a:lnTo>
                <a:lnTo>
                  <a:pt x="41" y="419"/>
                </a:lnTo>
                <a:lnTo>
                  <a:pt x="49" y="434"/>
                </a:lnTo>
                <a:lnTo>
                  <a:pt x="33" y="426"/>
                </a:lnTo>
                <a:lnTo>
                  <a:pt x="24" y="442"/>
                </a:lnTo>
                <a:lnTo>
                  <a:pt x="33" y="450"/>
                </a:lnTo>
                <a:lnTo>
                  <a:pt x="24" y="458"/>
                </a:lnTo>
                <a:lnTo>
                  <a:pt x="41" y="473"/>
                </a:lnTo>
                <a:lnTo>
                  <a:pt x="73" y="481"/>
                </a:lnTo>
                <a:lnTo>
                  <a:pt x="89" y="473"/>
                </a:lnTo>
                <a:lnTo>
                  <a:pt x="97" y="465"/>
                </a:lnTo>
                <a:lnTo>
                  <a:pt x="89" y="458"/>
                </a:lnTo>
                <a:cubicBezTo>
                  <a:pt x="89" y="458"/>
                  <a:pt x="89" y="450"/>
                  <a:pt x="97" y="450"/>
                </a:cubicBezTo>
                <a:cubicBezTo>
                  <a:pt x="97" y="442"/>
                  <a:pt x="105" y="442"/>
                  <a:pt x="105" y="442"/>
                </a:cubicBezTo>
                <a:lnTo>
                  <a:pt x="105" y="450"/>
                </a:lnTo>
                <a:lnTo>
                  <a:pt x="129" y="450"/>
                </a:lnTo>
                <a:lnTo>
                  <a:pt x="129" y="465"/>
                </a:lnTo>
                <a:lnTo>
                  <a:pt x="121" y="473"/>
                </a:lnTo>
                <a:lnTo>
                  <a:pt x="113" y="465"/>
                </a:lnTo>
                <a:lnTo>
                  <a:pt x="113" y="473"/>
                </a:lnTo>
                <a:lnTo>
                  <a:pt x="113" y="496"/>
                </a:lnTo>
                <a:cubicBezTo>
                  <a:pt x="113" y="496"/>
                  <a:pt x="113" y="504"/>
                  <a:pt x="105" y="496"/>
                </a:cubicBezTo>
                <a:lnTo>
                  <a:pt x="97" y="489"/>
                </a:lnTo>
                <a:lnTo>
                  <a:pt x="73" y="481"/>
                </a:lnTo>
                <a:lnTo>
                  <a:pt x="65" y="489"/>
                </a:lnTo>
                <a:lnTo>
                  <a:pt x="65" y="504"/>
                </a:lnTo>
                <a:lnTo>
                  <a:pt x="121" y="504"/>
                </a:lnTo>
                <a:lnTo>
                  <a:pt x="121" y="520"/>
                </a:lnTo>
                <a:lnTo>
                  <a:pt x="137" y="535"/>
                </a:lnTo>
                <a:lnTo>
                  <a:pt x="177" y="535"/>
                </a:lnTo>
                <a:lnTo>
                  <a:pt x="202" y="551"/>
                </a:lnTo>
                <a:cubicBezTo>
                  <a:pt x="202" y="551"/>
                  <a:pt x="210" y="566"/>
                  <a:pt x="218" y="566"/>
                </a:cubicBezTo>
                <a:lnTo>
                  <a:pt x="226" y="582"/>
                </a:lnTo>
                <a:lnTo>
                  <a:pt x="250" y="582"/>
                </a:lnTo>
                <a:lnTo>
                  <a:pt x="258" y="589"/>
                </a:lnTo>
                <a:lnTo>
                  <a:pt x="250" y="597"/>
                </a:lnTo>
                <a:lnTo>
                  <a:pt x="258" y="613"/>
                </a:lnTo>
                <a:lnTo>
                  <a:pt x="274" y="613"/>
                </a:lnTo>
                <a:lnTo>
                  <a:pt x="274" y="620"/>
                </a:lnTo>
                <a:lnTo>
                  <a:pt x="282" y="636"/>
                </a:lnTo>
                <a:lnTo>
                  <a:pt x="282" y="644"/>
                </a:lnTo>
                <a:cubicBezTo>
                  <a:pt x="282" y="644"/>
                  <a:pt x="290" y="644"/>
                  <a:pt x="290" y="651"/>
                </a:cubicBezTo>
                <a:lnTo>
                  <a:pt x="290" y="659"/>
                </a:lnTo>
                <a:lnTo>
                  <a:pt x="314" y="659"/>
                </a:lnTo>
                <a:lnTo>
                  <a:pt x="322" y="667"/>
                </a:lnTo>
                <a:lnTo>
                  <a:pt x="330" y="675"/>
                </a:lnTo>
                <a:lnTo>
                  <a:pt x="338" y="675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2" name="Freeform 14">
            <a:extLst>
              <a:ext uri="{FF2B5EF4-FFF2-40B4-BE49-F238E27FC236}">
                <a16:creationId xmlns:a16="http://schemas.microsoft.com/office/drawing/2014/main" id="{98262129-25ED-AEE0-9E11-65A20BD88156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565271" y="5183703"/>
            <a:ext cx="362243" cy="297040"/>
          </a:xfrm>
          <a:custGeom>
            <a:avLst/>
            <a:gdLst>
              <a:gd name="T0" fmla="*/ 158 w 880"/>
              <a:gd name="T1" fmla="*/ 699 h 723"/>
              <a:gd name="T2" fmla="*/ 133 w 880"/>
              <a:gd name="T3" fmla="*/ 706 h 723"/>
              <a:gd name="T4" fmla="*/ 116 w 880"/>
              <a:gd name="T5" fmla="*/ 660 h 723"/>
              <a:gd name="T6" fmla="*/ 83 w 880"/>
              <a:gd name="T7" fmla="*/ 644 h 723"/>
              <a:gd name="T8" fmla="*/ 75 w 880"/>
              <a:gd name="T9" fmla="*/ 629 h 723"/>
              <a:gd name="T10" fmla="*/ 42 w 880"/>
              <a:gd name="T11" fmla="*/ 582 h 723"/>
              <a:gd name="T12" fmla="*/ 34 w 880"/>
              <a:gd name="T13" fmla="*/ 559 h 723"/>
              <a:gd name="T14" fmla="*/ 42 w 880"/>
              <a:gd name="T15" fmla="*/ 528 h 723"/>
              <a:gd name="T16" fmla="*/ 25 w 880"/>
              <a:gd name="T17" fmla="*/ 497 h 723"/>
              <a:gd name="T18" fmla="*/ 0 w 880"/>
              <a:gd name="T19" fmla="*/ 458 h 723"/>
              <a:gd name="T20" fmla="*/ 25 w 880"/>
              <a:gd name="T21" fmla="*/ 435 h 723"/>
              <a:gd name="T22" fmla="*/ 17 w 880"/>
              <a:gd name="T23" fmla="*/ 411 h 723"/>
              <a:gd name="T24" fmla="*/ 17 w 880"/>
              <a:gd name="T25" fmla="*/ 380 h 723"/>
              <a:gd name="T26" fmla="*/ 25 w 880"/>
              <a:gd name="T27" fmla="*/ 326 h 723"/>
              <a:gd name="T28" fmla="*/ 75 w 880"/>
              <a:gd name="T29" fmla="*/ 303 h 723"/>
              <a:gd name="T30" fmla="*/ 92 w 880"/>
              <a:gd name="T31" fmla="*/ 210 h 723"/>
              <a:gd name="T32" fmla="*/ 191 w 880"/>
              <a:gd name="T33" fmla="*/ 140 h 723"/>
              <a:gd name="T34" fmla="*/ 216 w 880"/>
              <a:gd name="T35" fmla="*/ 163 h 723"/>
              <a:gd name="T36" fmla="*/ 257 w 880"/>
              <a:gd name="T37" fmla="*/ 140 h 723"/>
              <a:gd name="T38" fmla="*/ 349 w 880"/>
              <a:gd name="T39" fmla="*/ 78 h 723"/>
              <a:gd name="T40" fmla="*/ 382 w 880"/>
              <a:gd name="T41" fmla="*/ 85 h 723"/>
              <a:gd name="T42" fmla="*/ 432 w 880"/>
              <a:gd name="T43" fmla="*/ 47 h 723"/>
              <a:gd name="T44" fmla="*/ 473 w 880"/>
              <a:gd name="T45" fmla="*/ 31 h 723"/>
              <a:gd name="T46" fmla="*/ 514 w 880"/>
              <a:gd name="T47" fmla="*/ 23 h 723"/>
              <a:gd name="T48" fmla="*/ 564 w 880"/>
              <a:gd name="T49" fmla="*/ 8 h 723"/>
              <a:gd name="T50" fmla="*/ 606 w 880"/>
              <a:gd name="T51" fmla="*/ 0 h 723"/>
              <a:gd name="T52" fmla="*/ 780 w 880"/>
              <a:gd name="T53" fmla="*/ 116 h 723"/>
              <a:gd name="T54" fmla="*/ 871 w 880"/>
              <a:gd name="T55" fmla="*/ 233 h 723"/>
              <a:gd name="T56" fmla="*/ 879 w 880"/>
              <a:gd name="T57" fmla="*/ 373 h 723"/>
              <a:gd name="T58" fmla="*/ 805 w 880"/>
              <a:gd name="T59" fmla="*/ 396 h 723"/>
              <a:gd name="T60" fmla="*/ 772 w 880"/>
              <a:gd name="T61" fmla="*/ 497 h 723"/>
              <a:gd name="T62" fmla="*/ 597 w 880"/>
              <a:gd name="T63" fmla="*/ 528 h 723"/>
              <a:gd name="T64" fmla="*/ 523 w 880"/>
              <a:gd name="T65" fmla="*/ 590 h 723"/>
              <a:gd name="T66" fmla="*/ 440 w 880"/>
              <a:gd name="T67" fmla="*/ 660 h 723"/>
              <a:gd name="T68" fmla="*/ 340 w 880"/>
              <a:gd name="T69" fmla="*/ 675 h 723"/>
              <a:gd name="T70" fmla="*/ 241 w 880"/>
              <a:gd name="T71" fmla="*/ 699 h 723"/>
              <a:gd name="T72" fmla="*/ 233 w 880"/>
              <a:gd name="T73" fmla="*/ 722 h 723"/>
              <a:gd name="T74" fmla="*/ 224 w 880"/>
              <a:gd name="T75" fmla="*/ 714 h 723"/>
              <a:gd name="T76" fmla="*/ 191 w 880"/>
              <a:gd name="T77" fmla="*/ 706 h 7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80" h="723">
                <a:moveTo>
                  <a:pt x="175" y="699"/>
                </a:moveTo>
                <a:lnTo>
                  <a:pt x="158" y="699"/>
                </a:lnTo>
                <a:cubicBezTo>
                  <a:pt x="150" y="699"/>
                  <a:pt x="141" y="714"/>
                  <a:pt x="133" y="714"/>
                </a:cubicBezTo>
                <a:lnTo>
                  <a:pt x="133" y="706"/>
                </a:lnTo>
                <a:cubicBezTo>
                  <a:pt x="133" y="699"/>
                  <a:pt x="133" y="699"/>
                  <a:pt x="125" y="691"/>
                </a:cubicBezTo>
                <a:cubicBezTo>
                  <a:pt x="125" y="683"/>
                  <a:pt x="125" y="668"/>
                  <a:pt x="116" y="660"/>
                </a:cubicBezTo>
                <a:cubicBezTo>
                  <a:pt x="108" y="652"/>
                  <a:pt x="108" y="644"/>
                  <a:pt x="108" y="644"/>
                </a:cubicBezTo>
                <a:lnTo>
                  <a:pt x="83" y="644"/>
                </a:lnTo>
                <a:lnTo>
                  <a:pt x="75" y="644"/>
                </a:lnTo>
                <a:cubicBezTo>
                  <a:pt x="75" y="644"/>
                  <a:pt x="67" y="629"/>
                  <a:pt x="75" y="629"/>
                </a:cubicBezTo>
                <a:cubicBezTo>
                  <a:pt x="75" y="621"/>
                  <a:pt x="67" y="613"/>
                  <a:pt x="58" y="606"/>
                </a:cubicBezTo>
                <a:lnTo>
                  <a:pt x="42" y="582"/>
                </a:lnTo>
                <a:cubicBezTo>
                  <a:pt x="42" y="582"/>
                  <a:pt x="34" y="582"/>
                  <a:pt x="34" y="574"/>
                </a:cubicBezTo>
                <a:lnTo>
                  <a:pt x="34" y="559"/>
                </a:lnTo>
                <a:lnTo>
                  <a:pt x="25" y="543"/>
                </a:lnTo>
                <a:cubicBezTo>
                  <a:pt x="25" y="543"/>
                  <a:pt x="42" y="536"/>
                  <a:pt x="42" y="528"/>
                </a:cubicBezTo>
                <a:cubicBezTo>
                  <a:pt x="42" y="528"/>
                  <a:pt x="50" y="520"/>
                  <a:pt x="42" y="512"/>
                </a:cubicBezTo>
                <a:cubicBezTo>
                  <a:pt x="42" y="505"/>
                  <a:pt x="25" y="497"/>
                  <a:pt x="25" y="497"/>
                </a:cubicBezTo>
                <a:cubicBezTo>
                  <a:pt x="17" y="489"/>
                  <a:pt x="9" y="481"/>
                  <a:pt x="0" y="474"/>
                </a:cubicBezTo>
                <a:lnTo>
                  <a:pt x="0" y="458"/>
                </a:lnTo>
                <a:cubicBezTo>
                  <a:pt x="0" y="458"/>
                  <a:pt x="0" y="450"/>
                  <a:pt x="9" y="450"/>
                </a:cubicBezTo>
                <a:cubicBezTo>
                  <a:pt x="17" y="443"/>
                  <a:pt x="25" y="443"/>
                  <a:pt x="25" y="435"/>
                </a:cubicBezTo>
                <a:cubicBezTo>
                  <a:pt x="25" y="435"/>
                  <a:pt x="34" y="435"/>
                  <a:pt x="34" y="427"/>
                </a:cubicBezTo>
                <a:cubicBezTo>
                  <a:pt x="25" y="419"/>
                  <a:pt x="17" y="411"/>
                  <a:pt x="17" y="411"/>
                </a:cubicBezTo>
                <a:lnTo>
                  <a:pt x="25" y="388"/>
                </a:lnTo>
                <a:lnTo>
                  <a:pt x="17" y="380"/>
                </a:lnTo>
                <a:lnTo>
                  <a:pt x="17" y="342"/>
                </a:lnTo>
                <a:lnTo>
                  <a:pt x="25" y="326"/>
                </a:lnTo>
                <a:lnTo>
                  <a:pt x="25" y="303"/>
                </a:lnTo>
                <a:cubicBezTo>
                  <a:pt x="42" y="311"/>
                  <a:pt x="67" y="303"/>
                  <a:pt x="75" y="303"/>
                </a:cubicBezTo>
                <a:cubicBezTo>
                  <a:pt x="92" y="303"/>
                  <a:pt x="92" y="280"/>
                  <a:pt x="83" y="256"/>
                </a:cubicBezTo>
                <a:cubicBezTo>
                  <a:pt x="83" y="241"/>
                  <a:pt x="92" y="225"/>
                  <a:pt x="92" y="210"/>
                </a:cubicBezTo>
                <a:cubicBezTo>
                  <a:pt x="100" y="194"/>
                  <a:pt x="125" y="186"/>
                  <a:pt x="150" y="171"/>
                </a:cubicBezTo>
                <a:cubicBezTo>
                  <a:pt x="166" y="155"/>
                  <a:pt x="166" y="140"/>
                  <a:pt x="191" y="140"/>
                </a:cubicBezTo>
                <a:cubicBezTo>
                  <a:pt x="191" y="140"/>
                  <a:pt x="199" y="140"/>
                  <a:pt x="208" y="148"/>
                </a:cubicBezTo>
                <a:cubicBezTo>
                  <a:pt x="208" y="148"/>
                  <a:pt x="208" y="155"/>
                  <a:pt x="216" y="163"/>
                </a:cubicBezTo>
                <a:lnTo>
                  <a:pt x="224" y="163"/>
                </a:lnTo>
                <a:cubicBezTo>
                  <a:pt x="241" y="186"/>
                  <a:pt x="257" y="202"/>
                  <a:pt x="257" y="140"/>
                </a:cubicBezTo>
                <a:cubicBezTo>
                  <a:pt x="266" y="85"/>
                  <a:pt x="307" y="101"/>
                  <a:pt x="340" y="85"/>
                </a:cubicBezTo>
                <a:lnTo>
                  <a:pt x="349" y="78"/>
                </a:lnTo>
                <a:cubicBezTo>
                  <a:pt x="357" y="85"/>
                  <a:pt x="365" y="85"/>
                  <a:pt x="374" y="85"/>
                </a:cubicBezTo>
                <a:lnTo>
                  <a:pt x="382" y="85"/>
                </a:lnTo>
                <a:lnTo>
                  <a:pt x="407" y="54"/>
                </a:lnTo>
                <a:cubicBezTo>
                  <a:pt x="415" y="54"/>
                  <a:pt x="432" y="47"/>
                  <a:pt x="432" y="47"/>
                </a:cubicBezTo>
                <a:lnTo>
                  <a:pt x="448" y="23"/>
                </a:lnTo>
                <a:cubicBezTo>
                  <a:pt x="448" y="23"/>
                  <a:pt x="465" y="31"/>
                  <a:pt x="473" y="31"/>
                </a:cubicBezTo>
                <a:lnTo>
                  <a:pt x="506" y="31"/>
                </a:lnTo>
                <a:lnTo>
                  <a:pt x="514" y="23"/>
                </a:lnTo>
                <a:cubicBezTo>
                  <a:pt x="514" y="23"/>
                  <a:pt x="531" y="8"/>
                  <a:pt x="548" y="8"/>
                </a:cubicBezTo>
                <a:cubicBezTo>
                  <a:pt x="564" y="0"/>
                  <a:pt x="564" y="8"/>
                  <a:pt x="564" y="8"/>
                </a:cubicBezTo>
                <a:lnTo>
                  <a:pt x="606" y="8"/>
                </a:lnTo>
                <a:lnTo>
                  <a:pt x="606" y="0"/>
                </a:lnTo>
                <a:cubicBezTo>
                  <a:pt x="631" y="16"/>
                  <a:pt x="631" y="39"/>
                  <a:pt x="655" y="62"/>
                </a:cubicBezTo>
                <a:cubicBezTo>
                  <a:pt x="689" y="93"/>
                  <a:pt x="722" y="85"/>
                  <a:pt x="780" y="116"/>
                </a:cubicBezTo>
                <a:cubicBezTo>
                  <a:pt x="780" y="124"/>
                  <a:pt x="813" y="148"/>
                  <a:pt x="821" y="171"/>
                </a:cubicBezTo>
                <a:cubicBezTo>
                  <a:pt x="830" y="202"/>
                  <a:pt x="863" y="202"/>
                  <a:pt x="871" y="233"/>
                </a:cubicBezTo>
                <a:cubicBezTo>
                  <a:pt x="871" y="256"/>
                  <a:pt x="854" y="264"/>
                  <a:pt x="854" y="287"/>
                </a:cubicBezTo>
                <a:cubicBezTo>
                  <a:pt x="854" y="311"/>
                  <a:pt x="871" y="365"/>
                  <a:pt x="879" y="373"/>
                </a:cubicBezTo>
                <a:lnTo>
                  <a:pt x="879" y="380"/>
                </a:lnTo>
                <a:lnTo>
                  <a:pt x="805" y="396"/>
                </a:lnTo>
                <a:lnTo>
                  <a:pt x="813" y="466"/>
                </a:lnTo>
                <a:lnTo>
                  <a:pt x="772" y="497"/>
                </a:lnTo>
                <a:cubicBezTo>
                  <a:pt x="772" y="497"/>
                  <a:pt x="672" y="512"/>
                  <a:pt x="664" y="512"/>
                </a:cubicBezTo>
                <a:cubicBezTo>
                  <a:pt x="655" y="512"/>
                  <a:pt x="614" y="520"/>
                  <a:pt x="597" y="528"/>
                </a:cubicBezTo>
                <a:cubicBezTo>
                  <a:pt x="581" y="528"/>
                  <a:pt x="556" y="543"/>
                  <a:pt x="548" y="543"/>
                </a:cubicBezTo>
                <a:cubicBezTo>
                  <a:pt x="531" y="551"/>
                  <a:pt x="523" y="590"/>
                  <a:pt x="523" y="590"/>
                </a:cubicBezTo>
                <a:cubicBezTo>
                  <a:pt x="523" y="590"/>
                  <a:pt x="498" y="621"/>
                  <a:pt x="490" y="629"/>
                </a:cubicBezTo>
                <a:cubicBezTo>
                  <a:pt x="481" y="637"/>
                  <a:pt x="440" y="660"/>
                  <a:pt x="440" y="660"/>
                </a:cubicBezTo>
                <a:lnTo>
                  <a:pt x="390" y="660"/>
                </a:lnTo>
                <a:cubicBezTo>
                  <a:pt x="373" y="660"/>
                  <a:pt x="357" y="675"/>
                  <a:pt x="340" y="675"/>
                </a:cubicBezTo>
                <a:cubicBezTo>
                  <a:pt x="315" y="683"/>
                  <a:pt x="299" y="691"/>
                  <a:pt x="291" y="691"/>
                </a:cubicBezTo>
                <a:cubicBezTo>
                  <a:pt x="282" y="691"/>
                  <a:pt x="241" y="699"/>
                  <a:pt x="241" y="699"/>
                </a:cubicBezTo>
                <a:lnTo>
                  <a:pt x="241" y="722"/>
                </a:lnTo>
                <a:lnTo>
                  <a:pt x="233" y="722"/>
                </a:lnTo>
                <a:lnTo>
                  <a:pt x="224" y="722"/>
                </a:lnTo>
                <a:lnTo>
                  <a:pt x="224" y="714"/>
                </a:lnTo>
                <a:lnTo>
                  <a:pt x="208" y="699"/>
                </a:lnTo>
                <a:cubicBezTo>
                  <a:pt x="208" y="699"/>
                  <a:pt x="199" y="706"/>
                  <a:pt x="191" y="706"/>
                </a:cubicBezTo>
                <a:cubicBezTo>
                  <a:pt x="183" y="706"/>
                  <a:pt x="183" y="699"/>
                  <a:pt x="175" y="699"/>
                </a:cubicBezTo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3" name="Freeform 15">
            <a:extLst>
              <a:ext uri="{FF2B5EF4-FFF2-40B4-BE49-F238E27FC236}">
                <a16:creationId xmlns:a16="http://schemas.microsoft.com/office/drawing/2014/main" id="{821BBEA5-F5AF-C989-568C-8188E6E90BA2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565271" y="5183703"/>
            <a:ext cx="362243" cy="297040"/>
          </a:xfrm>
          <a:custGeom>
            <a:avLst/>
            <a:gdLst>
              <a:gd name="T0" fmla="*/ 158 w 880"/>
              <a:gd name="T1" fmla="*/ 699 h 723"/>
              <a:gd name="T2" fmla="*/ 133 w 880"/>
              <a:gd name="T3" fmla="*/ 706 h 723"/>
              <a:gd name="T4" fmla="*/ 116 w 880"/>
              <a:gd name="T5" fmla="*/ 660 h 723"/>
              <a:gd name="T6" fmla="*/ 83 w 880"/>
              <a:gd name="T7" fmla="*/ 644 h 723"/>
              <a:gd name="T8" fmla="*/ 75 w 880"/>
              <a:gd name="T9" fmla="*/ 629 h 723"/>
              <a:gd name="T10" fmla="*/ 42 w 880"/>
              <a:gd name="T11" fmla="*/ 582 h 723"/>
              <a:gd name="T12" fmla="*/ 34 w 880"/>
              <a:gd name="T13" fmla="*/ 559 h 723"/>
              <a:gd name="T14" fmla="*/ 42 w 880"/>
              <a:gd name="T15" fmla="*/ 528 h 723"/>
              <a:gd name="T16" fmla="*/ 25 w 880"/>
              <a:gd name="T17" fmla="*/ 497 h 723"/>
              <a:gd name="T18" fmla="*/ 0 w 880"/>
              <a:gd name="T19" fmla="*/ 458 h 723"/>
              <a:gd name="T20" fmla="*/ 25 w 880"/>
              <a:gd name="T21" fmla="*/ 435 h 723"/>
              <a:gd name="T22" fmla="*/ 17 w 880"/>
              <a:gd name="T23" fmla="*/ 411 h 723"/>
              <a:gd name="T24" fmla="*/ 17 w 880"/>
              <a:gd name="T25" fmla="*/ 380 h 723"/>
              <a:gd name="T26" fmla="*/ 25 w 880"/>
              <a:gd name="T27" fmla="*/ 326 h 723"/>
              <a:gd name="T28" fmla="*/ 75 w 880"/>
              <a:gd name="T29" fmla="*/ 303 h 723"/>
              <a:gd name="T30" fmla="*/ 92 w 880"/>
              <a:gd name="T31" fmla="*/ 210 h 723"/>
              <a:gd name="T32" fmla="*/ 191 w 880"/>
              <a:gd name="T33" fmla="*/ 140 h 723"/>
              <a:gd name="T34" fmla="*/ 216 w 880"/>
              <a:gd name="T35" fmla="*/ 163 h 723"/>
              <a:gd name="T36" fmla="*/ 257 w 880"/>
              <a:gd name="T37" fmla="*/ 140 h 723"/>
              <a:gd name="T38" fmla="*/ 349 w 880"/>
              <a:gd name="T39" fmla="*/ 78 h 723"/>
              <a:gd name="T40" fmla="*/ 382 w 880"/>
              <a:gd name="T41" fmla="*/ 85 h 723"/>
              <a:gd name="T42" fmla="*/ 432 w 880"/>
              <a:gd name="T43" fmla="*/ 47 h 723"/>
              <a:gd name="T44" fmla="*/ 473 w 880"/>
              <a:gd name="T45" fmla="*/ 31 h 723"/>
              <a:gd name="T46" fmla="*/ 514 w 880"/>
              <a:gd name="T47" fmla="*/ 23 h 723"/>
              <a:gd name="T48" fmla="*/ 564 w 880"/>
              <a:gd name="T49" fmla="*/ 8 h 723"/>
              <a:gd name="T50" fmla="*/ 606 w 880"/>
              <a:gd name="T51" fmla="*/ 0 h 723"/>
              <a:gd name="T52" fmla="*/ 780 w 880"/>
              <a:gd name="T53" fmla="*/ 116 h 723"/>
              <a:gd name="T54" fmla="*/ 871 w 880"/>
              <a:gd name="T55" fmla="*/ 233 h 723"/>
              <a:gd name="T56" fmla="*/ 879 w 880"/>
              <a:gd name="T57" fmla="*/ 373 h 723"/>
              <a:gd name="T58" fmla="*/ 805 w 880"/>
              <a:gd name="T59" fmla="*/ 396 h 723"/>
              <a:gd name="T60" fmla="*/ 772 w 880"/>
              <a:gd name="T61" fmla="*/ 497 h 723"/>
              <a:gd name="T62" fmla="*/ 597 w 880"/>
              <a:gd name="T63" fmla="*/ 528 h 723"/>
              <a:gd name="T64" fmla="*/ 523 w 880"/>
              <a:gd name="T65" fmla="*/ 590 h 723"/>
              <a:gd name="T66" fmla="*/ 440 w 880"/>
              <a:gd name="T67" fmla="*/ 660 h 723"/>
              <a:gd name="T68" fmla="*/ 340 w 880"/>
              <a:gd name="T69" fmla="*/ 675 h 723"/>
              <a:gd name="T70" fmla="*/ 241 w 880"/>
              <a:gd name="T71" fmla="*/ 699 h 723"/>
              <a:gd name="T72" fmla="*/ 233 w 880"/>
              <a:gd name="T73" fmla="*/ 722 h 723"/>
              <a:gd name="T74" fmla="*/ 224 w 880"/>
              <a:gd name="T75" fmla="*/ 714 h 723"/>
              <a:gd name="T76" fmla="*/ 191 w 880"/>
              <a:gd name="T77" fmla="*/ 706 h 7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80" h="723">
                <a:moveTo>
                  <a:pt x="175" y="699"/>
                </a:moveTo>
                <a:lnTo>
                  <a:pt x="158" y="699"/>
                </a:lnTo>
                <a:cubicBezTo>
                  <a:pt x="150" y="699"/>
                  <a:pt x="141" y="714"/>
                  <a:pt x="133" y="714"/>
                </a:cubicBezTo>
                <a:lnTo>
                  <a:pt x="133" y="706"/>
                </a:lnTo>
                <a:cubicBezTo>
                  <a:pt x="133" y="699"/>
                  <a:pt x="133" y="699"/>
                  <a:pt x="125" y="691"/>
                </a:cubicBezTo>
                <a:cubicBezTo>
                  <a:pt x="125" y="683"/>
                  <a:pt x="125" y="668"/>
                  <a:pt x="116" y="660"/>
                </a:cubicBezTo>
                <a:cubicBezTo>
                  <a:pt x="108" y="652"/>
                  <a:pt x="108" y="644"/>
                  <a:pt x="108" y="644"/>
                </a:cubicBezTo>
                <a:lnTo>
                  <a:pt x="83" y="644"/>
                </a:lnTo>
                <a:lnTo>
                  <a:pt x="75" y="644"/>
                </a:lnTo>
                <a:cubicBezTo>
                  <a:pt x="75" y="644"/>
                  <a:pt x="67" y="629"/>
                  <a:pt x="75" y="629"/>
                </a:cubicBezTo>
                <a:cubicBezTo>
                  <a:pt x="75" y="621"/>
                  <a:pt x="67" y="613"/>
                  <a:pt x="58" y="606"/>
                </a:cubicBezTo>
                <a:lnTo>
                  <a:pt x="42" y="582"/>
                </a:lnTo>
                <a:cubicBezTo>
                  <a:pt x="42" y="582"/>
                  <a:pt x="34" y="582"/>
                  <a:pt x="34" y="574"/>
                </a:cubicBezTo>
                <a:lnTo>
                  <a:pt x="34" y="559"/>
                </a:lnTo>
                <a:lnTo>
                  <a:pt x="25" y="543"/>
                </a:lnTo>
                <a:cubicBezTo>
                  <a:pt x="25" y="543"/>
                  <a:pt x="42" y="536"/>
                  <a:pt x="42" y="528"/>
                </a:cubicBezTo>
                <a:cubicBezTo>
                  <a:pt x="42" y="528"/>
                  <a:pt x="50" y="520"/>
                  <a:pt x="42" y="512"/>
                </a:cubicBezTo>
                <a:cubicBezTo>
                  <a:pt x="42" y="505"/>
                  <a:pt x="25" y="497"/>
                  <a:pt x="25" y="497"/>
                </a:cubicBezTo>
                <a:cubicBezTo>
                  <a:pt x="17" y="489"/>
                  <a:pt x="9" y="481"/>
                  <a:pt x="0" y="474"/>
                </a:cubicBezTo>
                <a:lnTo>
                  <a:pt x="0" y="458"/>
                </a:lnTo>
                <a:cubicBezTo>
                  <a:pt x="0" y="458"/>
                  <a:pt x="0" y="450"/>
                  <a:pt x="9" y="450"/>
                </a:cubicBezTo>
                <a:cubicBezTo>
                  <a:pt x="17" y="443"/>
                  <a:pt x="25" y="443"/>
                  <a:pt x="25" y="435"/>
                </a:cubicBezTo>
                <a:cubicBezTo>
                  <a:pt x="25" y="435"/>
                  <a:pt x="34" y="435"/>
                  <a:pt x="34" y="427"/>
                </a:cubicBezTo>
                <a:cubicBezTo>
                  <a:pt x="25" y="419"/>
                  <a:pt x="17" y="411"/>
                  <a:pt x="17" y="411"/>
                </a:cubicBezTo>
                <a:lnTo>
                  <a:pt x="25" y="388"/>
                </a:lnTo>
                <a:lnTo>
                  <a:pt x="17" y="380"/>
                </a:lnTo>
                <a:lnTo>
                  <a:pt x="17" y="342"/>
                </a:lnTo>
                <a:lnTo>
                  <a:pt x="25" y="326"/>
                </a:lnTo>
                <a:lnTo>
                  <a:pt x="25" y="303"/>
                </a:lnTo>
                <a:cubicBezTo>
                  <a:pt x="42" y="311"/>
                  <a:pt x="67" y="303"/>
                  <a:pt x="75" y="303"/>
                </a:cubicBezTo>
                <a:cubicBezTo>
                  <a:pt x="92" y="303"/>
                  <a:pt x="92" y="280"/>
                  <a:pt x="83" y="256"/>
                </a:cubicBezTo>
                <a:cubicBezTo>
                  <a:pt x="83" y="241"/>
                  <a:pt x="92" y="225"/>
                  <a:pt x="92" y="210"/>
                </a:cubicBezTo>
                <a:cubicBezTo>
                  <a:pt x="100" y="194"/>
                  <a:pt x="125" y="186"/>
                  <a:pt x="150" y="171"/>
                </a:cubicBezTo>
                <a:cubicBezTo>
                  <a:pt x="166" y="155"/>
                  <a:pt x="166" y="140"/>
                  <a:pt x="191" y="140"/>
                </a:cubicBezTo>
                <a:cubicBezTo>
                  <a:pt x="191" y="140"/>
                  <a:pt x="199" y="140"/>
                  <a:pt x="208" y="148"/>
                </a:cubicBezTo>
                <a:cubicBezTo>
                  <a:pt x="208" y="148"/>
                  <a:pt x="208" y="155"/>
                  <a:pt x="216" y="163"/>
                </a:cubicBezTo>
                <a:lnTo>
                  <a:pt x="224" y="163"/>
                </a:lnTo>
                <a:cubicBezTo>
                  <a:pt x="241" y="186"/>
                  <a:pt x="257" y="202"/>
                  <a:pt x="257" y="140"/>
                </a:cubicBezTo>
                <a:cubicBezTo>
                  <a:pt x="266" y="85"/>
                  <a:pt x="307" y="101"/>
                  <a:pt x="340" y="85"/>
                </a:cubicBezTo>
                <a:lnTo>
                  <a:pt x="349" y="78"/>
                </a:lnTo>
                <a:cubicBezTo>
                  <a:pt x="357" y="85"/>
                  <a:pt x="365" y="85"/>
                  <a:pt x="374" y="85"/>
                </a:cubicBezTo>
                <a:lnTo>
                  <a:pt x="382" y="85"/>
                </a:lnTo>
                <a:lnTo>
                  <a:pt x="407" y="54"/>
                </a:lnTo>
                <a:cubicBezTo>
                  <a:pt x="415" y="54"/>
                  <a:pt x="432" y="47"/>
                  <a:pt x="432" y="47"/>
                </a:cubicBezTo>
                <a:lnTo>
                  <a:pt x="448" y="23"/>
                </a:lnTo>
                <a:cubicBezTo>
                  <a:pt x="448" y="23"/>
                  <a:pt x="465" y="31"/>
                  <a:pt x="473" y="31"/>
                </a:cubicBezTo>
                <a:lnTo>
                  <a:pt x="506" y="31"/>
                </a:lnTo>
                <a:lnTo>
                  <a:pt x="514" y="23"/>
                </a:lnTo>
                <a:cubicBezTo>
                  <a:pt x="514" y="23"/>
                  <a:pt x="531" y="8"/>
                  <a:pt x="548" y="8"/>
                </a:cubicBezTo>
                <a:cubicBezTo>
                  <a:pt x="564" y="0"/>
                  <a:pt x="564" y="8"/>
                  <a:pt x="564" y="8"/>
                </a:cubicBezTo>
                <a:lnTo>
                  <a:pt x="606" y="8"/>
                </a:lnTo>
                <a:lnTo>
                  <a:pt x="606" y="0"/>
                </a:lnTo>
                <a:cubicBezTo>
                  <a:pt x="631" y="16"/>
                  <a:pt x="631" y="39"/>
                  <a:pt x="655" y="62"/>
                </a:cubicBezTo>
                <a:cubicBezTo>
                  <a:pt x="689" y="93"/>
                  <a:pt x="722" y="85"/>
                  <a:pt x="780" y="116"/>
                </a:cubicBezTo>
                <a:cubicBezTo>
                  <a:pt x="780" y="124"/>
                  <a:pt x="813" y="148"/>
                  <a:pt x="821" y="171"/>
                </a:cubicBezTo>
                <a:cubicBezTo>
                  <a:pt x="830" y="202"/>
                  <a:pt x="863" y="202"/>
                  <a:pt x="871" y="233"/>
                </a:cubicBezTo>
                <a:cubicBezTo>
                  <a:pt x="871" y="256"/>
                  <a:pt x="854" y="264"/>
                  <a:pt x="854" y="287"/>
                </a:cubicBezTo>
                <a:cubicBezTo>
                  <a:pt x="854" y="311"/>
                  <a:pt x="871" y="365"/>
                  <a:pt x="879" y="373"/>
                </a:cubicBezTo>
                <a:lnTo>
                  <a:pt x="879" y="380"/>
                </a:lnTo>
                <a:lnTo>
                  <a:pt x="805" y="396"/>
                </a:lnTo>
                <a:lnTo>
                  <a:pt x="813" y="466"/>
                </a:lnTo>
                <a:lnTo>
                  <a:pt x="772" y="497"/>
                </a:lnTo>
                <a:cubicBezTo>
                  <a:pt x="772" y="497"/>
                  <a:pt x="672" y="512"/>
                  <a:pt x="664" y="512"/>
                </a:cubicBezTo>
                <a:cubicBezTo>
                  <a:pt x="655" y="512"/>
                  <a:pt x="614" y="520"/>
                  <a:pt x="597" y="528"/>
                </a:cubicBezTo>
                <a:cubicBezTo>
                  <a:pt x="581" y="528"/>
                  <a:pt x="556" y="543"/>
                  <a:pt x="548" y="543"/>
                </a:cubicBezTo>
                <a:cubicBezTo>
                  <a:pt x="531" y="551"/>
                  <a:pt x="523" y="590"/>
                  <a:pt x="523" y="590"/>
                </a:cubicBezTo>
                <a:cubicBezTo>
                  <a:pt x="523" y="590"/>
                  <a:pt x="498" y="621"/>
                  <a:pt x="490" y="629"/>
                </a:cubicBezTo>
                <a:cubicBezTo>
                  <a:pt x="481" y="637"/>
                  <a:pt x="440" y="660"/>
                  <a:pt x="440" y="660"/>
                </a:cubicBezTo>
                <a:lnTo>
                  <a:pt x="390" y="660"/>
                </a:lnTo>
                <a:cubicBezTo>
                  <a:pt x="373" y="660"/>
                  <a:pt x="357" y="675"/>
                  <a:pt x="340" y="675"/>
                </a:cubicBezTo>
                <a:cubicBezTo>
                  <a:pt x="315" y="683"/>
                  <a:pt x="299" y="691"/>
                  <a:pt x="291" y="691"/>
                </a:cubicBezTo>
                <a:cubicBezTo>
                  <a:pt x="282" y="691"/>
                  <a:pt x="241" y="699"/>
                  <a:pt x="241" y="699"/>
                </a:cubicBezTo>
                <a:lnTo>
                  <a:pt x="241" y="722"/>
                </a:lnTo>
                <a:lnTo>
                  <a:pt x="233" y="722"/>
                </a:lnTo>
                <a:lnTo>
                  <a:pt x="224" y="722"/>
                </a:lnTo>
                <a:lnTo>
                  <a:pt x="224" y="714"/>
                </a:lnTo>
                <a:lnTo>
                  <a:pt x="208" y="699"/>
                </a:lnTo>
                <a:cubicBezTo>
                  <a:pt x="208" y="699"/>
                  <a:pt x="199" y="706"/>
                  <a:pt x="191" y="706"/>
                </a:cubicBezTo>
                <a:cubicBezTo>
                  <a:pt x="183" y="706"/>
                  <a:pt x="183" y="699"/>
                  <a:pt x="175" y="699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4" name="Freeform 16">
            <a:extLst>
              <a:ext uri="{FF2B5EF4-FFF2-40B4-BE49-F238E27FC236}">
                <a16:creationId xmlns:a16="http://schemas.microsoft.com/office/drawing/2014/main" id="{B92CEFA9-963C-43F0-E0B0-19250742A2C2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933156" y="3959321"/>
            <a:ext cx="657471" cy="362243"/>
          </a:xfrm>
          <a:custGeom>
            <a:avLst/>
            <a:gdLst>
              <a:gd name="T0" fmla="*/ 263 w 1602"/>
              <a:gd name="T1" fmla="*/ 395 h 880"/>
              <a:gd name="T2" fmla="*/ 329 w 1602"/>
              <a:gd name="T3" fmla="*/ 298 h 880"/>
              <a:gd name="T4" fmla="*/ 386 w 1602"/>
              <a:gd name="T5" fmla="*/ 201 h 880"/>
              <a:gd name="T6" fmla="*/ 460 w 1602"/>
              <a:gd name="T7" fmla="*/ 113 h 880"/>
              <a:gd name="T8" fmla="*/ 542 w 1602"/>
              <a:gd name="T9" fmla="*/ 96 h 880"/>
              <a:gd name="T10" fmla="*/ 608 w 1602"/>
              <a:gd name="T11" fmla="*/ 121 h 880"/>
              <a:gd name="T12" fmla="*/ 657 w 1602"/>
              <a:gd name="T13" fmla="*/ 56 h 880"/>
              <a:gd name="T14" fmla="*/ 739 w 1602"/>
              <a:gd name="T15" fmla="*/ 96 h 880"/>
              <a:gd name="T16" fmla="*/ 788 w 1602"/>
              <a:gd name="T17" fmla="*/ 121 h 880"/>
              <a:gd name="T18" fmla="*/ 797 w 1602"/>
              <a:gd name="T19" fmla="*/ 185 h 880"/>
              <a:gd name="T20" fmla="*/ 838 w 1602"/>
              <a:gd name="T21" fmla="*/ 177 h 880"/>
              <a:gd name="T22" fmla="*/ 879 w 1602"/>
              <a:gd name="T23" fmla="*/ 185 h 880"/>
              <a:gd name="T24" fmla="*/ 895 w 1602"/>
              <a:gd name="T25" fmla="*/ 121 h 880"/>
              <a:gd name="T26" fmla="*/ 936 w 1602"/>
              <a:gd name="T27" fmla="*/ 104 h 880"/>
              <a:gd name="T28" fmla="*/ 969 w 1602"/>
              <a:gd name="T29" fmla="*/ 80 h 880"/>
              <a:gd name="T30" fmla="*/ 1002 w 1602"/>
              <a:gd name="T31" fmla="*/ 72 h 880"/>
              <a:gd name="T32" fmla="*/ 1035 w 1602"/>
              <a:gd name="T33" fmla="*/ 64 h 880"/>
              <a:gd name="T34" fmla="*/ 1084 w 1602"/>
              <a:gd name="T35" fmla="*/ 88 h 880"/>
              <a:gd name="T36" fmla="*/ 1125 w 1602"/>
              <a:gd name="T37" fmla="*/ 96 h 880"/>
              <a:gd name="T38" fmla="*/ 1149 w 1602"/>
              <a:gd name="T39" fmla="*/ 40 h 880"/>
              <a:gd name="T40" fmla="*/ 1191 w 1602"/>
              <a:gd name="T41" fmla="*/ 24 h 880"/>
              <a:gd name="T42" fmla="*/ 1240 w 1602"/>
              <a:gd name="T43" fmla="*/ 16 h 880"/>
              <a:gd name="T44" fmla="*/ 1305 w 1602"/>
              <a:gd name="T45" fmla="*/ 0 h 880"/>
              <a:gd name="T46" fmla="*/ 1363 w 1602"/>
              <a:gd name="T47" fmla="*/ 24 h 880"/>
              <a:gd name="T48" fmla="*/ 1404 w 1602"/>
              <a:gd name="T49" fmla="*/ 24 h 880"/>
              <a:gd name="T50" fmla="*/ 1437 w 1602"/>
              <a:gd name="T51" fmla="*/ 48 h 880"/>
              <a:gd name="T52" fmla="*/ 1478 w 1602"/>
              <a:gd name="T53" fmla="*/ 80 h 880"/>
              <a:gd name="T54" fmla="*/ 1544 w 1602"/>
              <a:gd name="T55" fmla="*/ 88 h 880"/>
              <a:gd name="T56" fmla="*/ 1601 w 1602"/>
              <a:gd name="T57" fmla="*/ 129 h 880"/>
              <a:gd name="T58" fmla="*/ 1585 w 1602"/>
              <a:gd name="T59" fmla="*/ 185 h 880"/>
              <a:gd name="T60" fmla="*/ 1585 w 1602"/>
              <a:gd name="T61" fmla="*/ 234 h 880"/>
              <a:gd name="T62" fmla="*/ 1560 w 1602"/>
              <a:gd name="T63" fmla="*/ 290 h 880"/>
              <a:gd name="T64" fmla="*/ 1535 w 1602"/>
              <a:gd name="T65" fmla="*/ 354 h 880"/>
              <a:gd name="T66" fmla="*/ 1544 w 1602"/>
              <a:gd name="T67" fmla="*/ 403 h 880"/>
              <a:gd name="T68" fmla="*/ 1519 w 1602"/>
              <a:gd name="T69" fmla="*/ 459 h 880"/>
              <a:gd name="T70" fmla="*/ 1297 w 1602"/>
              <a:gd name="T71" fmla="*/ 419 h 880"/>
              <a:gd name="T72" fmla="*/ 1076 w 1602"/>
              <a:gd name="T73" fmla="*/ 459 h 880"/>
              <a:gd name="T74" fmla="*/ 977 w 1602"/>
              <a:gd name="T75" fmla="*/ 596 h 880"/>
              <a:gd name="T76" fmla="*/ 821 w 1602"/>
              <a:gd name="T77" fmla="*/ 629 h 880"/>
              <a:gd name="T78" fmla="*/ 640 w 1602"/>
              <a:gd name="T79" fmla="*/ 717 h 880"/>
              <a:gd name="T80" fmla="*/ 608 w 1602"/>
              <a:gd name="T81" fmla="*/ 838 h 880"/>
              <a:gd name="T82" fmla="*/ 279 w 1602"/>
              <a:gd name="T83" fmla="*/ 862 h 880"/>
              <a:gd name="T84" fmla="*/ 115 w 1602"/>
              <a:gd name="T85" fmla="*/ 790 h 880"/>
              <a:gd name="T86" fmla="*/ 41 w 1602"/>
              <a:gd name="T87" fmla="*/ 733 h 880"/>
              <a:gd name="T88" fmla="*/ 0 w 1602"/>
              <a:gd name="T89" fmla="*/ 677 h 880"/>
              <a:gd name="T90" fmla="*/ 25 w 1602"/>
              <a:gd name="T91" fmla="*/ 588 h 880"/>
              <a:gd name="T92" fmla="*/ 25 w 1602"/>
              <a:gd name="T93" fmla="*/ 524 h 880"/>
              <a:gd name="T94" fmla="*/ 49 w 1602"/>
              <a:gd name="T95" fmla="*/ 459 h 880"/>
              <a:gd name="T96" fmla="*/ 115 w 1602"/>
              <a:gd name="T97" fmla="*/ 451 h 880"/>
              <a:gd name="T98" fmla="*/ 172 w 1602"/>
              <a:gd name="T99" fmla="*/ 451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602" h="880">
                <a:moveTo>
                  <a:pt x="214" y="435"/>
                </a:moveTo>
                <a:lnTo>
                  <a:pt x="238" y="419"/>
                </a:lnTo>
                <a:cubicBezTo>
                  <a:pt x="238" y="419"/>
                  <a:pt x="238" y="395"/>
                  <a:pt x="246" y="403"/>
                </a:cubicBezTo>
                <a:lnTo>
                  <a:pt x="263" y="395"/>
                </a:lnTo>
                <a:lnTo>
                  <a:pt x="271" y="379"/>
                </a:lnTo>
                <a:lnTo>
                  <a:pt x="279" y="355"/>
                </a:lnTo>
                <a:lnTo>
                  <a:pt x="320" y="338"/>
                </a:lnTo>
                <a:lnTo>
                  <a:pt x="329" y="298"/>
                </a:lnTo>
                <a:lnTo>
                  <a:pt x="320" y="274"/>
                </a:lnTo>
                <a:cubicBezTo>
                  <a:pt x="320" y="274"/>
                  <a:pt x="320" y="242"/>
                  <a:pt x="329" y="242"/>
                </a:cubicBezTo>
                <a:cubicBezTo>
                  <a:pt x="337" y="242"/>
                  <a:pt x="361" y="226"/>
                  <a:pt x="361" y="226"/>
                </a:cubicBezTo>
                <a:lnTo>
                  <a:pt x="386" y="201"/>
                </a:lnTo>
                <a:lnTo>
                  <a:pt x="386" y="185"/>
                </a:lnTo>
                <a:lnTo>
                  <a:pt x="402" y="153"/>
                </a:lnTo>
                <a:lnTo>
                  <a:pt x="435" y="121"/>
                </a:lnTo>
                <a:lnTo>
                  <a:pt x="460" y="113"/>
                </a:lnTo>
                <a:lnTo>
                  <a:pt x="476" y="113"/>
                </a:lnTo>
                <a:cubicBezTo>
                  <a:pt x="485" y="113"/>
                  <a:pt x="493" y="105"/>
                  <a:pt x="493" y="105"/>
                </a:cubicBezTo>
                <a:lnTo>
                  <a:pt x="526" y="105"/>
                </a:lnTo>
                <a:cubicBezTo>
                  <a:pt x="526" y="105"/>
                  <a:pt x="542" y="88"/>
                  <a:pt x="542" y="96"/>
                </a:cubicBezTo>
                <a:lnTo>
                  <a:pt x="542" y="121"/>
                </a:lnTo>
                <a:cubicBezTo>
                  <a:pt x="550" y="129"/>
                  <a:pt x="558" y="145"/>
                  <a:pt x="558" y="145"/>
                </a:cubicBezTo>
                <a:cubicBezTo>
                  <a:pt x="558" y="145"/>
                  <a:pt x="575" y="145"/>
                  <a:pt x="583" y="137"/>
                </a:cubicBezTo>
                <a:cubicBezTo>
                  <a:pt x="591" y="129"/>
                  <a:pt x="608" y="121"/>
                  <a:pt x="608" y="121"/>
                </a:cubicBezTo>
                <a:cubicBezTo>
                  <a:pt x="608" y="121"/>
                  <a:pt x="624" y="137"/>
                  <a:pt x="624" y="129"/>
                </a:cubicBezTo>
                <a:lnTo>
                  <a:pt x="624" y="88"/>
                </a:lnTo>
                <a:lnTo>
                  <a:pt x="641" y="64"/>
                </a:lnTo>
                <a:cubicBezTo>
                  <a:pt x="641" y="64"/>
                  <a:pt x="657" y="64"/>
                  <a:pt x="657" y="56"/>
                </a:cubicBezTo>
                <a:cubicBezTo>
                  <a:pt x="657" y="48"/>
                  <a:pt x="673" y="32"/>
                  <a:pt x="673" y="32"/>
                </a:cubicBezTo>
                <a:lnTo>
                  <a:pt x="698" y="32"/>
                </a:lnTo>
                <a:lnTo>
                  <a:pt x="714" y="80"/>
                </a:lnTo>
                <a:lnTo>
                  <a:pt x="739" y="96"/>
                </a:lnTo>
                <a:lnTo>
                  <a:pt x="747" y="105"/>
                </a:lnTo>
                <a:lnTo>
                  <a:pt x="764" y="113"/>
                </a:lnTo>
                <a:lnTo>
                  <a:pt x="788" y="113"/>
                </a:lnTo>
                <a:lnTo>
                  <a:pt x="788" y="121"/>
                </a:lnTo>
                <a:lnTo>
                  <a:pt x="805" y="137"/>
                </a:lnTo>
                <a:lnTo>
                  <a:pt x="813" y="161"/>
                </a:lnTo>
                <a:lnTo>
                  <a:pt x="797" y="177"/>
                </a:lnTo>
                <a:lnTo>
                  <a:pt x="797" y="185"/>
                </a:lnTo>
                <a:lnTo>
                  <a:pt x="805" y="193"/>
                </a:lnTo>
                <a:lnTo>
                  <a:pt x="813" y="193"/>
                </a:lnTo>
                <a:cubicBezTo>
                  <a:pt x="813" y="193"/>
                  <a:pt x="829" y="185"/>
                  <a:pt x="838" y="185"/>
                </a:cubicBezTo>
                <a:lnTo>
                  <a:pt x="838" y="177"/>
                </a:lnTo>
                <a:lnTo>
                  <a:pt x="854" y="169"/>
                </a:lnTo>
                <a:lnTo>
                  <a:pt x="862" y="169"/>
                </a:lnTo>
                <a:cubicBezTo>
                  <a:pt x="862" y="177"/>
                  <a:pt x="870" y="185"/>
                  <a:pt x="870" y="185"/>
                </a:cubicBezTo>
                <a:cubicBezTo>
                  <a:pt x="870" y="185"/>
                  <a:pt x="879" y="177"/>
                  <a:pt x="879" y="185"/>
                </a:cubicBezTo>
                <a:lnTo>
                  <a:pt x="887" y="185"/>
                </a:lnTo>
                <a:lnTo>
                  <a:pt x="887" y="145"/>
                </a:lnTo>
                <a:cubicBezTo>
                  <a:pt x="895" y="137"/>
                  <a:pt x="895" y="137"/>
                  <a:pt x="895" y="129"/>
                </a:cubicBezTo>
                <a:cubicBezTo>
                  <a:pt x="895" y="129"/>
                  <a:pt x="887" y="121"/>
                  <a:pt x="895" y="121"/>
                </a:cubicBezTo>
                <a:lnTo>
                  <a:pt x="911" y="121"/>
                </a:lnTo>
                <a:lnTo>
                  <a:pt x="911" y="113"/>
                </a:lnTo>
                <a:cubicBezTo>
                  <a:pt x="911" y="113"/>
                  <a:pt x="920" y="104"/>
                  <a:pt x="928" y="104"/>
                </a:cubicBezTo>
                <a:cubicBezTo>
                  <a:pt x="928" y="104"/>
                  <a:pt x="928" y="113"/>
                  <a:pt x="936" y="104"/>
                </a:cubicBezTo>
                <a:cubicBezTo>
                  <a:pt x="944" y="96"/>
                  <a:pt x="936" y="96"/>
                  <a:pt x="936" y="96"/>
                </a:cubicBezTo>
                <a:lnTo>
                  <a:pt x="936" y="88"/>
                </a:lnTo>
                <a:cubicBezTo>
                  <a:pt x="944" y="80"/>
                  <a:pt x="936" y="88"/>
                  <a:pt x="952" y="88"/>
                </a:cubicBezTo>
                <a:cubicBezTo>
                  <a:pt x="961" y="80"/>
                  <a:pt x="969" y="80"/>
                  <a:pt x="969" y="80"/>
                </a:cubicBezTo>
                <a:lnTo>
                  <a:pt x="969" y="72"/>
                </a:lnTo>
                <a:lnTo>
                  <a:pt x="985" y="64"/>
                </a:lnTo>
                <a:lnTo>
                  <a:pt x="985" y="72"/>
                </a:lnTo>
                <a:lnTo>
                  <a:pt x="1002" y="72"/>
                </a:lnTo>
                <a:cubicBezTo>
                  <a:pt x="1002" y="72"/>
                  <a:pt x="1010" y="80"/>
                  <a:pt x="1010" y="72"/>
                </a:cubicBezTo>
                <a:cubicBezTo>
                  <a:pt x="1010" y="72"/>
                  <a:pt x="1018" y="72"/>
                  <a:pt x="1018" y="64"/>
                </a:cubicBezTo>
                <a:cubicBezTo>
                  <a:pt x="1018" y="64"/>
                  <a:pt x="1018" y="56"/>
                  <a:pt x="1026" y="56"/>
                </a:cubicBezTo>
                <a:cubicBezTo>
                  <a:pt x="1035" y="64"/>
                  <a:pt x="1026" y="64"/>
                  <a:pt x="1035" y="64"/>
                </a:cubicBezTo>
                <a:cubicBezTo>
                  <a:pt x="1035" y="56"/>
                  <a:pt x="1051" y="48"/>
                  <a:pt x="1051" y="48"/>
                </a:cubicBezTo>
                <a:lnTo>
                  <a:pt x="1059" y="64"/>
                </a:lnTo>
                <a:cubicBezTo>
                  <a:pt x="1059" y="72"/>
                  <a:pt x="1067" y="72"/>
                  <a:pt x="1076" y="72"/>
                </a:cubicBezTo>
                <a:cubicBezTo>
                  <a:pt x="1076" y="80"/>
                  <a:pt x="1084" y="88"/>
                  <a:pt x="1084" y="88"/>
                </a:cubicBezTo>
                <a:lnTo>
                  <a:pt x="1092" y="88"/>
                </a:lnTo>
                <a:lnTo>
                  <a:pt x="1100" y="80"/>
                </a:lnTo>
                <a:cubicBezTo>
                  <a:pt x="1100" y="80"/>
                  <a:pt x="1100" y="88"/>
                  <a:pt x="1108" y="88"/>
                </a:cubicBezTo>
                <a:cubicBezTo>
                  <a:pt x="1117" y="88"/>
                  <a:pt x="1125" y="96"/>
                  <a:pt x="1125" y="96"/>
                </a:cubicBezTo>
                <a:cubicBezTo>
                  <a:pt x="1125" y="88"/>
                  <a:pt x="1133" y="80"/>
                  <a:pt x="1133" y="80"/>
                </a:cubicBezTo>
                <a:cubicBezTo>
                  <a:pt x="1133" y="72"/>
                  <a:pt x="1133" y="72"/>
                  <a:pt x="1141" y="64"/>
                </a:cubicBezTo>
                <a:lnTo>
                  <a:pt x="1166" y="56"/>
                </a:lnTo>
                <a:cubicBezTo>
                  <a:pt x="1166" y="56"/>
                  <a:pt x="1158" y="40"/>
                  <a:pt x="1149" y="40"/>
                </a:cubicBezTo>
                <a:cubicBezTo>
                  <a:pt x="1149" y="40"/>
                  <a:pt x="1141" y="32"/>
                  <a:pt x="1158" y="24"/>
                </a:cubicBezTo>
                <a:lnTo>
                  <a:pt x="1174" y="24"/>
                </a:lnTo>
                <a:lnTo>
                  <a:pt x="1191" y="32"/>
                </a:lnTo>
                <a:lnTo>
                  <a:pt x="1191" y="24"/>
                </a:lnTo>
                <a:lnTo>
                  <a:pt x="1199" y="16"/>
                </a:lnTo>
                <a:lnTo>
                  <a:pt x="1207" y="8"/>
                </a:lnTo>
                <a:lnTo>
                  <a:pt x="1232" y="8"/>
                </a:lnTo>
                <a:lnTo>
                  <a:pt x="1240" y="16"/>
                </a:lnTo>
                <a:lnTo>
                  <a:pt x="1256" y="16"/>
                </a:lnTo>
                <a:cubicBezTo>
                  <a:pt x="1256" y="16"/>
                  <a:pt x="1264" y="24"/>
                  <a:pt x="1264" y="16"/>
                </a:cubicBezTo>
                <a:cubicBezTo>
                  <a:pt x="1273" y="16"/>
                  <a:pt x="1273" y="8"/>
                  <a:pt x="1273" y="8"/>
                </a:cubicBezTo>
                <a:lnTo>
                  <a:pt x="1305" y="0"/>
                </a:lnTo>
                <a:lnTo>
                  <a:pt x="1314" y="0"/>
                </a:lnTo>
                <a:cubicBezTo>
                  <a:pt x="1322" y="8"/>
                  <a:pt x="1330" y="8"/>
                  <a:pt x="1330" y="8"/>
                </a:cubicBezTo>
                <a:cubicBezTo>
                  <a:pt x="1338" y="8"/>
                  <a:pt x="1347" y="16"/>
                  <a:pt x="1347" y="16"/>
                </a:cubicBezTo>
                <a:cubicBezTo>
                  <a:pt x="1355" y="24"/>
                  <a:pt x="1363" y="24"/>
                  <a:pt x="1363" y="24"/>
                </a:cubicBezTo>
                <a:lnTo>
                  <a:pt x="1363" y="8"/>
                </a:lnTo>
                <a:lnTo>
                  <a:pt x="1379" y="8"/>
                </a:lnTo>
                <a:lnTo>
                  <a:pt x="1388" y="16"/>
                </a:lnTo>
                <a:cubicBezTo>
                  <a:pt x="1388" y="16"/>
                  <a:pt x="1396" y="24"/>
                  <a:pt x="1404" y="24"/>
                </a:cubicBezTo>
                <a:lnTo>
                  <a:pt x="1412" y="16"/>
                </a:lnTo>
                <a:cubicBezTo>
                  <a:pt x="1412" y="24"/>
                  <a:pt x="1420" y="24"/>
                  <a:pt x="1420" y="32"/>
                </a:cubicBezTo>
                <a:lnTo>
                  <a:pt x="1429" y="40"/>
                </a:lnTo>
                <a:cubicBezTo>
                  <a:pt x="1429" y="48"/>
                  <a:pt x="1437" y="48"/>
                  <a:pt x="1437" y="48"/>
                </a:cubicBezTo>
                <a:lnTo>
                  <a:pt x="1437" y="64"/>
                </a:lnTo>
                <a:lnTo>
                  <a:pt x="1437" y="72"/>
                </a:lnTo>
                <a:lnTo>
                  <a:pt x="1470" y="72"/>
                </a:lnTo>
                <a:cubicBezTo>
                  <a:pt x="1470" y="72"/>
                  <a:pt x="1478" y="72"/>
                  <a:pt x="1478" y="80"/>
                </a:cubicBezTo>
                <a:lnTo>
                  <a:pt x="1494" y="80"/>
                </a:lnTo>
                <a:cubicBezTo>
                  <a:pt x="1494" y="80"/>
                  <a:pt x="1503" y="72"/>
                  <a:pt x="1503" y="80"/>
                </a:cubicBezTo>
                <a:lnTo>
                  <a:pt x="1503" y="88"/>
                </a:lnTo>
                <a:lnTo>
                  <a:pt x="1544" y="88"/>
                </a:lnTo>
                <a:lnTo>
                  <a:pt x="1560" y="96"/>
                </a:lnTo>
                <a:lnTo>
                  <a:pt x="1601" y="96"/>
                </a:lnTo>
                <a:lnTo>
                  <a:pt x="1601" y="113"/>
                </a:lnTo>
                <a:lnTo>
                  <a:pt x="1601" y="129"/>
                </a:lnTo>
                <a:cubicBezTo>
                  <a:pt x="1601" y="129"/>
                  <a:pt x="1593" y="137"/>
                  <a:pt x="1593" y="145"/>
                </a:cubicBezTo>
                <a:cubicBezTo>
                  <a:pt x="1585" y="145"/>
                  <a:pt x="1585" y="161"/>
                  <a:pt x="1585" y="161"/>
                </a:cubicBezTo>
                <a:lnTo>
                  <a:pt x="1585" y="169"/>
                </a:lnTo>
                <a:lnTo>
                  <a:pt x="1585" y="185"/>
                </a:lnTo>
                <a:lnTo>
                  <a:pt x="1576" y="201"/>
                </a:lnTo>
                <a:cubicBezTo>
                  <a:pt x="1576" y="201"/>
                  <a:pt x="1568" y="209"/>
                  <a:pt x="1576" y="217"/>
                </a:cubicBezTo>
                <a:lnTo>
                  <a:pt x="1576" y="225"/>
                </a:lnTo>
                <a:lnTo>
                  <a:pt x="1585" y="234"/>
                </a:lnTo>
                <a:lnTo>
                  <a:pt x="1568" y="250"/>
                </a:lnTo>
                <a:lnTo>
                  <a:pt x="1568" y="266"/>
                </a:lnTo>
                <a:cubicBezTo>
                  <a:pt x="1568" y="266"/>
                  <a:pt x="1576" y="274"/>
                  <a:pt x="1568" y="282"/>
                </a:cubicBezTo>
                <a:lnTo>
                  <a:pt x="1560" y="290"/>
                </a:lnTo>
                <a:lnTo>
                  <a:pt x="1544" y="306"/>
                </a:lnTo>
                <a:lnTo>
                  <a:pt x="1544" y="314"/>
                </a:lnTo>
                <a:lnTo>
                  <a:pt x="1535" y="330"/>
                </a:lnTo>
                <a:lnTo>
                  <a:pt x="1535" y="354"/>
                </a:lnTo>
                <a:lnTo>
                  <a:pt x="1544" y="363"/>
                </a:lnTo>
                <a:lnTo>
                  <a:pt x="1544" y="379"/>
                </a:lnTo>
                <a:cubicBezTo>
                  <a:pt x="1535" y="379"/>
                  <a:pt x="1544" y="387"/>
                  <a:pt x="1544" y="395"/>
                </a:cubicBezTo>
                <a:lnTo>
                  <a:pt x="1544" y="403"/>
                </a:lnTo>
                <a:lnTo>
                  <a:pt x="1535" y="419"/>
                </a:lnTo>
                <a:lnTo>
                  <a:pt x="1527" y="419"/>
                </a:lnTo>
                <a:lnTo>
                  <a:pt x="1535" y="443"/>
                </a:lnTo>
                <a:lnTo>
                  <a:pt x="1519" y="459"/>
                </a:lnTo>
                <a:lnTo>
                  <a:pt x="1453" y="459"/>
                </a:lnTo>
                <a:lnTo>
                  <a:pt x="1388" y="395"/>
                </a:lnTo>
                <a:lnTo>
                  <a:pt x="1338" y="387"/>
                </a:lnTo>
                <a:lnTo>
                  <a:pt x="1297" y="419"/>
                </a:lnTo>
                <a:lnTo>
                  <a:pt x="1240" y="427"/>
                </a:lnTo>
                <a:lnTo>
                  <a:pt x="1199" y="403"/>
                </a:lnTo>
                <a:lnTo>
                  <a:pt x="1084" y="435"/>
                </a:lnTo>
                <a:lnTo>
                  <a:pt x="1076" y="459"/>
                </a:lnTo>
                <a:lnTo>
                  <a:pt x="1059" y="516"/>
                </a:lnTo>
                <a:lnTo>
                  <a:pt x="1035" y="564"/>
                </a:lnTo>
                <a:lnTo>
                  <a:pt x="1002" y="580"/>
                </a:lnTo>
                <a:lnTo>
                  <a:pt x="977" y="596"/>
                </a:lnTo>
                <a:lnTo>
                  <a:pt x="952" y="629"/>
                </a:lnTo>
                <a:lnTo>
                  <a:pt x="903" y="629"/>
                </a:lnTo>
                <a:lnTo>
                  <a:pt x="870" y="621"/>
                </a:lnTo>
                <a:lnTo>
                  <a:pt x="821" y="629"/>
                </a:lnTo>
                <a:lnTo>
                  <a:pt x="805" y="677"/>
                </a:lnTo>
                <a:lnTo>
                  <a:pt x="772" y="685"/>
                </a:lnTo>
                <a:lnTo>
                  <a:pt x="714" y="693"/>
                </a:lnTo>
                <a:lnTo>
                  <a:pt x="640" y="717"/>
                </a:lnTo>
                <a:lnTo>
                  <a:pt x="599" y="758"/>
                </a:lnTo>
                <a:lnTo>
                  <a:pt x="599" y="774"/>
                </a:lnTo>
                <a:cubicBezTo>
                  <a:pt x="599" y="774"/>
                  <a:pt x="632" y="798"/>
                  <a:pt x="649" y="806"/>
                </a:cubicBezTo>
                <a:cubicBezTo>
                  <a:pt x="665" y="822"/>
                  <a:pt x="616" y="830"/>
                  <a:pt x="608" y="838"/>
                </a:cubicBezTo>
                <a:cubicBezTo>
                  <a:pt x="599" y="846"/>
                  <a:pt x="526" y="854"/>
                  <a:pt x="526" y="854"/>
                </a:cubicBezTo>
                <a:lnTo>
                  <a:pt x="386" y="862"/>
                </a:lnTo>
                <a:lnTo>
                  <a:pt x="312" y="879"/>
                </a:lnTo>
                <a:lnTo>
                  <a:pt x="279" y="862"/>
                </a:lnTo>
                <a:lnTo>
                  <a:pt x="222" y="830"/>
                </a:lnTo>
                <a:lnTo>
                  <a:pt x="181" y="790"/>
                </a:lnTo>
                <a:lnTo>
                  <a:pt x="115" y="782"/>
                </a:lnTo>
                <a:lnTo>
                  <a:pt x="115" y="790"/>
                </a:lnTo>
                <a:lnTo>
                  <a:pt x="115" y="822"/>
                </a:lnTo>
                <a:lnTo>
                  <a:pt x="90" y="854"/>
                </a:lnTo>
                <a:cubicBezTo>
                  <a:pt x="74" y="830"/>
                  <a:pt x="66" y="790"/>
                  <a:pt x="49" y="750"/>
                </a:cubicBezTo>
                <a:cubicBezTo>
                  <a:pt x="49" y="750"/>
                  <a:pt x="49" y="742"/>
                  <a:pt x="41" y="733"/>
                </a:cubicBezTo>
                <a:cubicBezTo>
                  <a:pt x="41" y="725"/>
                  <a:pt x="33" y="709"/>
                  <a:pt x="33" y="709"/>
                </a:cubicBezTo>
                <a:cubicBezTo>
                  <a:pt x="25" y="701"/>
                  <a:pt x="17" y="693"/>
                  <a:pt x="17" y="693"/>
                </a:cubicBezTo>
                <a:lnTo>
                  <a:pt x="17" y="685"/>
                </a:lnTo>
                <a:cubicBezTo>
                  <a:pt x="8" y="685"/>
                  <a:pt x="0" y="677"/>
                  <a:pt x="0" y="677"/>
                </a:cubicBezTo>
                <a:lnTo>
                  <a:pt x="0" y="637"/>
                </a:lnTo>
                <a:lnTo>
                  <a:pt x="17" y="621"/>
                </a:lnTo>
                <a:lnTo>
                  <a:pt x="17" y="604"/>
                </a:lnTo>
                <a:lnTo>
                  <a:pt x="25" y="588"/>
                </a:lnTo>
                <a:lnTo>
                  <a:pt x="17" y="580"/>
                </a:lnTo>
                <a:lnTo>
                  <a:pt x="17" y="556"/>
                </a:lnTo>
                <a:lnTo>
                  <a:pt x="25" y="548"/>
                </a:lnTo>
                <a:lnTo>
                  <a:pt x="25" y="524"/>
                </a:lnTo>
                <a:cubicBezTo>
                  <a:pt x="33" y="524"/>
                  <a:pt x="33" y="500"/>
                  <a:pt x="33" y="500"/>
                </a:cubicBezTo>
                <a:lnTo>
                  <a:pt x="41" y="483"/>
                </a:lnTo>
                <a:cubicBezTo>
                  <a:pt x="49" y="483"/>
                  <a:pt x="49" y="475"/>
                  <a:pt x="49" y="475"/>
                </a:cubicBezTo>
                <a:lnTo>
                  <a:pt x="49" y="459"/>
                </a:lnTo>
                <a:lnTo>
                  <a:pt x="66" y="451"/>
                </a:lnTo>
                <a:lnTo>
                  <a:pt x="74" y="443"/>
                </a:lnTo>
                <a:lnTo>
                  <a:pt x="107" y="443"/>
                </a:lnTo>
                <a:cubicBezTo>
                  <a:pt x="107" y="443"/>
                  <a:pt x="107" y="451"/>
                  <a:pt x="115" y="451"/>
                </a:cubicBezTo>
                <a:cubicBezTo>
                  <a:pt x="123" y="451"/>
                  <a:pt x="131" y="459"/>
                  <a:pt x="131" y="459"/>
                </a:cubicBezTo>
                <a:lnTo>
                  <a:pt x="140" y="451"/>
                </a:lnTo>
                <a:cubicBezTo>
                  <a:pt x="148" y="451"/>
                  <a:pt x="148" y="443"/>
                  <a:pt x="148" y="443"/>
                </a:cubicBezTo>
                <a:cubicBezTo>
                  <a:pt x="156" y="443"/>
                  <a:pt x="172" y="451"/>
                  <a:pt x="172" y="451"/>
                </a:cubicBezTo>
                <a:cubicBezTo>
                  <a:pt x="172" y="451"/>
                  <a:pt x="181" y="459"/>
                  <a:pt x="181" y="451"/>
                </a:cubicBezTo>
                <a:cubicBezTo>
                  <a:pt x="189" y="451"/>
                  <a:pt x="197" y="443"/>
                  <a:pt x="197" y="443"/>
                </a:cubicBezTo>
                <a:lnTo>
                  <a:pt x="214" y="435"/>
                </a:ln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5" name="Freeform 17">
            <a:extLst>
              <a:ext uri="{FF2B5EF4-FFF2-40B4-BE49-F238E27FC236}">
                <a16:creationId xmlns:a16="http://schemas.microsoft.com/office/drawing/2014/main" id="{93F07218-1030-38CC-BFD8-341B88E812FC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933156" y="3959321"/>
            <a:ext cx="657471" cy="362243"/>
          </a:xfrm>
          <a:custGeom>
            <a:avLst/>
            <a:gdLst>
              <a:gd name="T0" fmla="*/ 263 w 1602"/>
              <a:gd name="T1" fmla="*/ 395 h 880"/>
              <a:gd name="T2" fmla="*/ 329 w 1602"/>
              <a:gd name="T3" fmla="*/ 298 h 880"/>
              <a:gd name="T4" fmla="*/ 386 w 1602"/>
              <a:gd name="T5" fmla="*/ 201 h 880"/>
              <a:gd name="T6" fmla="*/ 460 w 1602"/>
              <a:gd name="T7" fmla="*/ 113 h 880"/>
              <a:gd name="T8" fmla="*/ 542 w 1602"/>
              <a:gd name="T9" fmla="*/ 96 h 880"/>
              <a:gd name="T10" fmla="*/ 608 w 1602"/>
              <a:gd name="T11" fmla="*/ 121 h 880"/>
              <a:gd name="T12" fmla="*/ 657 w 1602"/>
              <a:gd name="T13" fmla="*/ 56 h 880"/>
              <a:gd name="T14" fmla="*/ 739 w 1602"/>
              <a:gd name="T15" fmla="*/ 96 h 880"/>
              <a:gd name="T16" fmla="*/ 788 w 1602"/>
              <a:gd name="T17" fmla="*/ 121 h 880"/>
              <a:gd name="T18" fmla="*/ 797 w 1602"/>
              <a:gd name="T19" fmla="*/ 185 h 880"/>
              <a:gd name="T20" fmla="*/ 838 w 1602"/>
              <a:gd name="T21" fmla="*/ 177 h 880"/>
              <a:gd name="T22" fmla="*/ 879 w 1602"/>
              <a:gd name="T23" fmla="*/ 185 h 880"/>
              <a:gd name="T24" fmla="*/ 895 w 1602"/>
              <a:gd name="T25" fmla="*/ 121 h 880"/>
              <a:gd name="T26" fmla="*/ 936 w 1602"/>
              <a:gd name="T27" fmla="*/ 104 h 880"/>
              <a:gd name="T28" fmla="*/ 969 w 1602"/>
              <a:gd name="T29" fmla="*/ 80 h 880"/>
              <a:gd name="T30" fmla="*/ 1002 w 1602"/>
              <a:gd name="T31" fmla="*/ 72 h 880"/>
              <a:gd name="T32" fmla="*/ 1035 w 1602"/>
              <a:gd name="T33" fmla="*/ 64 h 880"/>
              <a:gd name="T34" fmla="*/ 1084 w 1602"/>
              <a:gd name="T35" fmla="*/ 88 h 880"/>
              <a:gd name="T36" fmla="*/ 1125 w 1602"/>
              <a:gd name="T37" fmla="*/ 96 h 880"/>
              <a:gd name="T38" fmla="*/ 1149 w 1602"/>
              <a:gd name="T39" fmla="*/ 40 h 880"/>
              <a:gd name="T40" fmla="*/ 1191 w 1602"/>
              <a:gd name="T41" fmla="*/ 24 h 880"/>
              <a:gd name="T42" fmla="*/ 1240 w 1602"/>
              <a:gd name="T43" fmla="*/ 16 h 880"/>
              <a:gd name="T44" fmla="*/ 1305 w 1602"/>
              <a:gd name="T45" fmla="*/ 0 h 880"/>
              <a:gd name="T46" fmla="*/ 1363 w 1602"/>
              <a:gd name="T47" fmla="*/ 24 h 880"/>
              <a:gd name="T48" fmla="*/ 1404 w 1602"/>
              <a:gd name="T49" fmla="*/ 24 h 880"/>
              <a:gd name="T50" fmla="*/ 1437 w 1602"/>
              <a:gd name="T51" fmla="*/ 48 h 880"/>
              <a:gd name="T52" fmla="*/ 1478 w 1602"/>
              <a:gd name="T53" fmla="*/ 80 h 880"/>
              <a:gd name="T54" fmla="*/ 1544 w 1602"/>
              <a:gd name="T55" fmla="*/ 88 h 880"/>
              <a:gd name="T56" fmla="*/ 1601 w 1602"/>
              <a:gd name="T57" fmla="*/ 129 h 880"/>
              <a:gd name="T58" fmla="*/ 1585 w 1602"/>
              <a:gd name="T59" fmla="*/ 185 h 880"/>
              <a:gd name="T60" fmla="*/ 1585 w 1602"/>
              <a:gd name="T61" fmla="*/ 234 h 880"/>
              <a:gd name="T62" fmla="*/ 1560 w 1602"/>
              <a:gd name="T63" fmla="*/ 290 h 880"/>
              <a:gd name="T64" fmla="*/ 1535 w 1602"/>
              <a:gd name="T65" fmla="*/ 354 h 880"/>
              <a:gd name="T66" fmla="*/ 1544 w 1602"/>
              <a:gd name="T67" fmla="*/ 403 h 880"/>
              <a:gd name="T68" fmla="*/ 1519 w 1602"/>
              <a:gd name="T69" fmla="*/ 459 h 880"/>
              <a:gd name="T70" fmla="*/ 1297 w 1602"/>
              <a:gd name="T71" fmla="*/ 419 h 880"/>
              <a:gd name="T72" fmla="*/ 1076 w 1602"/>
              <a:gd name="T73" fmla="*/ 459 h 880"/>
              <a:gd name="T74" fmla="*/ 977 w 1602"/>
              <a:gd name="T75" fmla="*/ 596 h 880"/>
              <a:gd name="T76" fmla="*/ 821 w 1602"/>
              <a:gd name="T77" fmla="*/ 629 h 880"/>
              <a:gd name="T78" fmla="*/ 640 w 1602"/>
              <a:gd name="T79" fmla="*/ 717 h 880"/>
              <a:gd name="T80" fmla="*/ 608 w 1602"/>
              <a:gd name="T81" fmla="*/ 838 h 880"/>
              <a:gd name="T82" fmla="*/ 279 w 1602"/>
              <a:gd name="T83" fmla="*/ 862 h 880"/>
              <a:gd name="T84" fmla="*/ 115 w 1602"/>
              <a:gd name="T85" fmla="*/ 790 h 880"/>
              <a:gd name="T86" fmla="*/ 41 w 1602"/>
              <a:gd name="T87" fmla="*/ 733 h 880"/>
              <a:gd name="T88" fmla="*/ 0 w 1602"/>
              <a:gd name="T89" fmla="*/ 677 h 880"/>
              <a:gd name="T90" fmla="*/ 25 w 1602"/>
              <a:gd name="T91" fmla="*/ 588 h 880"/>
              <a:gd name="T92" fmla="*/ 25 w 1602"/>
              <a:gd name="T93" fmla="*/ 524 h 880"/>
              <a:gd name="T94" fmla="*/ 49 w 1602"/>
              <a:gd name="T95" fmla="*/ 459 h 880"/>
              <a:gd name="T96" fmla="*/ 115 w 1602"/>
              <a:gd name="T97" fmla="*/ 451 h 880"/>
              <a:gd name="T98" fmla="*/ 172 w 1602"/>
              <a:gd name="T99" fmla="*/ 451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602" h="880">
                <a:moveTo>
                  <a:pt x="214" y="435"/>
                </a:moveTo>
                <a:lnTo>
                  <a:pt x="238" y="419"/>
                </a:lnTo>
                <a:cubicBezTo>
                  <a:pt x="238" y="419"/>
                  <a:pt x="238" y="395"/>
                  <a:pt x="246" y="403"/>
                </a:cubicBezTo>
                <a:lnTo>
                  <a:pt x="263" y="395"/>
                </a:lnTo>
                <a:lnTo>
                  <a:pt x="271" y="379"/>
                </a:lnTo>
                <a:lnTo>
                  <a:pt x="279" y="355"/>
                </a:lnTo>
                <a:lnTo>
                  <a:pt x="320" y="338"/>
                </a:lnTo>
                <a:lnTo>
                  <a:pt x="329" y="298"/>
                </a:lnTo>
                <a:lnTo>
                  <a:pt x="320" y="274"/>
                </a:lnTo>
                <a:cubicBezTo>
                  <a:pt x="320" y="274"/>
                  <a:pt x="320" y="242"/>
                  <a:pt x="329" y="242"/>
                </a:cubicBezTo>
                <a:cubicBezTo>
                  <a:pt x="337" y="242"/>
                  <a:pt x="361" y="226"/>
                  <a:pt x="361" y="226"/>
                </a:cubicBezTo>
                <a:lnTo>
                  <a:pt x="386" y="201"/>
                </a:lnTo>
                <a:lnTo>
                  <a:pt x="386" y="185"/>
                </a:lnTo>
                <a:lnTo>
                  <a:pt x="402" y="153"/>
                </a:lnTo>
                <a:lnTo>
                  <a:pt x="435" y="121"/>
                </a:lnTo>
                <a:lnTo>
                  <a:pt x="460" y="113"/>
                </a:lnTo>
                <a:lnTo>
                  <a:pt x="476" y="113"/>
                </a:lnTo>
                <a:cubicBezTo>
                  <a:pt x="485" y="113"/>
                  <a:pt x="493" y="105"/>
                  <a:pt x="493" y="105"/>
                </a:cubicBezTo>
                <a:lnTo>
                  <a:pt x="526" y="105"/>
                </a:lnTo>
                <a:cubicBezTo>
                  <a:pt x="526" y="105"/>
                  <a:pt x="542" y="88"/>
                  <a:pt x="542" y="96"/>
                </a:cubicBezTo>
                <a:lnTo>
                  <a:pt x="542" y="121"/>
                </a:lnTo>
                <a:cubicBezTo>
                  <a:pt x="550" y="129"/>
                  <a:pt x="558" y="145"/>
                  <a:pt x="558" y="145"/>
                </a:cubicBezTo>
                <a:cubicBezTo>
                  <a:pt x="558" y="145"/>
                  <a:pt x="575" y="145"/>
                  <a:pt x="583" y="137"/>
                </a:cubicBezTo>
                <a:cubicBezTo>
                  <a:pt x="591" y="129"/>
                  <a:pt x="608" y="121"/>
                  <a:pt x="608" y="121"/>
                </a:cubicBezTo>
                <a:cubicBezTo>
                  <a:pt x="608" y="121"/>
                  <a:pt x="624" y="137"/>
                  <a:pt x="624" y="129"/>
                </a:cubicBezTo>
                <a:lnTo>
                  <a:pt x="624" y="88"/>
                </a:lnTo>
                <a:lnTo>
                  <a:pt x="641" y="64"/>
                </a:lnTo>
                <a:cubicBezTo>
                  <a:pt x="641" y="64"/>
                  <a:pt x="657" y="64"/>
                  <a:pt x="657" y="56"/>
                </a:cubicBezTo>
                <a:cubicBezTo>
                  <a:pt x="657" y="48"/>
                  <a:pt x="673" y="32"/>
                  <a:pt x="673" y="32"/>
                </a:cubicBezTo>
                <a:lnTo>
                  <a:pt x="698" y="32"/>
                </a:lnTo>
                <a:lnTo>
                  <a:pt x="714" y="80"/>
                </a:lnTo>
                <a:lnTo>
                  <a:pt x="739" y="96"/>
                </a:lnTo>
                <a:lnTo>
                  <a:pt x="747" y="105"/>
                </a:lnTo>
                <a:lnTo>
                  <a:pt x="764" y="113"/>
                </a:lnTo>
                <a:lnTo>
                  <a:pt x="788" y="113"/>
                </a:lnTo>
                <a:lnTo>
                  <a:pt x="788" y="121"/>
                </a:lnTo>
                <a:lnTo>
                  <a:pt x="805" y="137"/>
                </a:lnTo>
                <a:lnTo>
                  <a:pt x="813" y="161"/>
                </a:lnTo>
                <a:lnTo>
                  <a:pt x="797" y="177"/>
                </a:lnTo>
                <a:lnTo>
                  <a:pt x="797" y="185"/>
                </a:lnTo>
                <a:lnTo>
                  <a:pt x="805" y="193"/>
                </a:lnTo>
                <a:lnTo>
                  <a:pt x="813" y="193"/>
                </a:lnTo>
                <a:cubicBezTo>
                  <a:pt x="813" y="193"/>
                  <a:pt x="829" y="185"/>
                  <a:pt x="838" y="185"/>
                </a:cubicBezTo>
                <a:lnTo>
                  <a:pt x="838" y="177"/>
                </a:lnTo>
                <a:lnTo>
                  <a:pt x="854" y="169"/>
                </a:lnTo>
                <a:lnTo>
                  <a:pt x="862" y="169"/>
                </a:lnTo>
                <a:cubicBezTo>
                  <a:pt x="862" y="177"/>
                  <a:pt x="870" y="185"/>
                  <a:pt x="870" y="185"/>
                </a:cubicBezTo>
                <a:cubicBezTo>
                  <a:pt x="870" y="185"/>
                  <a:pt x="879" y="177"/>
                  <a:pt x="879" y="185"/>
                </a:cubicBezTo>
                <a:lnTo>
                  <a:pt x="887" y="185"/>
                </a:lnTo>
                <a:lnTo>
                  <a:pt x="887" y="145"/>
                </a:lnTo>
                <a:cubicBezTo>
                  <a:pt x="895" y="137"/>
                  <a:pt x="895" y="137"/>
                  <a:pt x="895" y="129"/>
                </a:cubicBezTo>
                <a:cubicBezTo>
                  <a:pt x="895" y="129"/>
                  <a:pt x="887" y="121"/>
                  <a:pt x="895" y="121"/>
                </a:cubicBezTo>
                <a:lnTo>
                  <a:pt x="911" y="121"/>
                </a:lnTo>
                <a:lnTo>
                  <a:pt x="911" y="113"/>
                </a:lnTo>
                <a:cubicBezTo>
                  <a:pt x="911" y="113"/>
                  <a:pt x="920" y="104"/>
                  <a:pt x="928" y="104"/>
                </a:cubicBezTo>
                <a:cubicBezTo>
                  <a:pt x="928" y="104"/>
                  <a:pt x="928" y="113"/>
                  <a:pt x="936" y="104"/>
                </a:cubicBezTo>
                <a:cubicBezTo>
                  <a:pt x="944" y="96"/>
                  <a:pt x="936" y="96"/>
                  <a:pt x="936" y="96"/>
                </a:cubicBezTo>
                <a:lnTo>
                  <a:pt x="936" y="88"/>
                </a:lnTo>
                <a:cubicBezTo>
                  <a:pt x="944" y="80"/>
                  <a:pt x="936" y="88"/>
                  <a:pt x="952" y="88"/>
                </a:cubicBezTo>
                <a:cubicBezTo>
                  <a:pt x="961" y="80"/>
                  <a:pt x="969" y="80"/>
                  <a:pt x="969" y="80"/>
                </a:cubicBezTo>
                <a:lnTo>
                  <a:pt x="969" y="72"/>
                </a:lnTo>
                <a:lnTo>
                  <a:pt x="985" y="64"/>
                </a:lnTo>
                <a:lnTo>
                  <a:pt x="985" y="72"/>
                </a:lnTo>
                <a:lnTo>
                  <a:pt x="1002" y="72"/>
                </a:lnTo>
                <a:cubicBezTo>
                  <a:pt x="1002" y="72"/>
                  <a:pt x="1010" y="80"/>
                  <a:pt x="1010" y="72"/>
                </a:cubicBezTo>
                <a:cubicBezTo>
                  <a:pt x="1010" y="72"/>
                  <a:pt x="1018" y="72"/>
                  <a:pt x="1018" y="64"/>
                </a:cubicBezTo>
                <a:cubicBezTo>
                  <a:pt x="1018" y="64"/>
                  <a:pt x="1018" y="56"/>
                  <a:pt x="1026" y="56"/>
                </a:cubicBezTo>
                <a:cubicBezTo>
                  <a:pt x="1035" y="64"/>
                  <a:pt x="1026" y="64"/>
                  <a:pt x="1035" y="64"/>
                </a:cubicBezTo>
                <a:cubicBezTo>
                  <a:pt x="1035" y="56"/>
                  <a:pt x="1051" y="48"/>
                  <a:pt x="1051" y="48"/>
                </a:cubicBezTo>
                <a:lnTo>
                  <a:pt x="1059" y="64"/>
                </a:lnTo>
                <a:cubicBezTo>
                  <a:pt x="1059" y="72"/>
                  <a:pt x="1067" y="72"/>
                  <a:pt x="1076" y="72"/>
                </a:cubicBezTo>
                <a:cubicBezTo>
                  <a:pt x="1076" y="80"/>
                  <a:pt x="1084" y="88"/>
                  <a:pt x="1084" y="88"/>
                </a:cubicBezTo>
                <a:lnTo>
                  <a:pt x="1092" y="88"/>
                </a:lnTo>
                <a:lnTo>
                  <a:pt x="1100" y="80"/>
                </a:lnTo>
                <a:cubicBezTo>
                  <a:pt x="1100" y="80"/>
                  <a:pt x="1100" y="88"/>
                  <a:pt x="1108" y="88"/>
                </a:cubicBezTo>
                <a:cubicBezTo>
                  <a:pt x="1117" y="88"/>
                  <a:pt x="1125" y="96"/>
                  <a:pt x="1125" y="96"/>
                </a:cubicBezTo>
                <a:cubicBezTo>
                  <a:pt x="1125" y="88"/>
                  <a:pt x="1133" y="80"/>
                  <a:pt x="1133" y="80"/>
                </a:cubicBezTo>
                <a:cubicBezTo>
                  <a:pt x="1133" y="72"/>
                  <a:pt x="1133" y="72"/>
                  <a:pt x="1141" y="64"/>
                </a:cubicBezTo>
                <a:lnTo>
                  <a:pt x="1166" y="56"/>
                </a:lnTo>
                <a:cubicBezTo>
                  <a:pt x="1166" y="56"/>
                  <a:pt x="1158" y="40"/>
                  <a:pt x="1149" y="40"/>
                </a:cubicBezTo>
                <a:cubicBezTo>
                  <a:pt x="1149" y="40"/>
                  <a:pt x="1141" y="32"/>
                  <a:pt x="1158" y="24"/>
                </a:cubicBezTo>
                <a:lnTo>
                  <a:pt x="1174" y="24"/>
                </a:lnTo>
                <a:lnTo>
                  <a:pt x="1191" y="32"/>
                </a:lnTo>
                <a:lnTo>
                  <a:pt x="1191" y="24"/>
                </a:lnTo>
                <a:lnTo>
                  <a:pt x="1199" y="16"/>
                </a:lnTo>
                <a:lnTo>
                  <a:pt x="1207" y="8"/>
                </a:lnTo>
                <a:lnTo>
                  <a:pt x="1232" y="8"/>
                </a:lnTo>
                <a:lnTo>
                  <a:pt x="1240" y="16"/>
                </a:lnTo>
                <a:lnTo>
                  <a:pt x="1256" y="16"/>
                </a:lnTo>
                <a:cubicBezTo>
                  <a:pt x="1256" y="16"/>
                  <a:pt x="1264" y="24"/>
                  <a:pt x="1264" y="16"/>
                </a:cubicBezTo>
                <a:cubicBezTo>
                  <a:pt x="1273" y="16"/>
                  <a:pt x="1273" y="8"/>
                  <a:pt x="1273" y="8"/>
                </a:cubicBezTo>
                <a:lnTo>
                  <a:pt x="1305" y="0"/>
                </a:lnTo>
                <a:lnTo>
                  <a:pt x="1314" y="0"/>
                </a:lnTo>
                <a:cubicBezTo>
                  <a:pt x="1322" y="8"/>
                  <a:pt x="1330" y="8"/>
                  <a:pt x="1330" y="8"/>
                </a:cubicBezTo>
                <a:cubicBezTo>
                  <a:pt x="1338" y="8"/>
                  <a:pt x="1347" y="16"/>
                  <a:pt x="1347" y="16"/>
                </a:cubicBezTo>
                <a:cubicBezTo>
                  <a:pt x="1355" y="24"/>
                  <a:pt x="1363" y="24"/>
                  <a:pt x="1363" y="24"/>
                </a:cubicBezTo>
                <a:lnTo>
                  <a:pt x="1363" y="8"/>
                </a:lnTo>
                <a:lnTo>
                  <a:pt x="1379" y="8"/>
                </a:lnTo>
                <a:lnTo>
                  <a:pt x="1388" y="16"/>
                </a:lnTo>
                <a:cubicBezTo>
                  <a:pt x="1388" y="16"/>
                  <a:pt x="1396" y="24"/>
                  <a:pt x="1404" y="24"/>
                </a:cubicBezTo>
                <a:lnTo>
                  <a:pt x="1412" y="16"/>
                </a:lnTo>
                <a:cubicBezTo>
                  <a:pt x="1412" y="24"/>
                  <a:pt x="1420" y="24"/>
                  <a:pt x="1420" y="32"/>
                </a:cubicBezTo>
                <a:lnTo>
                  <a:pt x="1429" y="40"/>
                </a:lnTo>
                <a:cubicBezTo>
                  <a:pt x="1429" y="48"/>
                  <a:pt x="1437" y="48"/>
                  <a:pt x="1437" y="48"/>
                </a:cubicBezTo>
                <a:lnTo>
                  <a:pt x="1437" y="64"/>
                </a:lnTo>
                <a:lnTo>
                  <a:pt x="1437" y="72"/>
                </a:lnTo>
                <a:lnTo>
                  <a:pt x="1470" y="72"/>
                </a:lnTo>
                <a:cubicBezTo>
                  <a:pt x="1470" y="72"/>
                  <a:pt x="1478" y="72"/>
                  <a:pt x="1478" y="80"/>
                </a:cubicBezTo>
                <a:lnTo>
                  <a:pt x="1494" y="80"/>
                </a:lnTo>
                <a:cubicBezTo>
                  <a:pt x="1494" y="80"/>
                  <a:pt x="1503" y="72"/>
                  <a:pt x="1503" y="80"/>
                </a:cubicBezTo>
                <a:lnTo>
                  <a:pt x="1503" y="88"/>
                </a:lnTo>
                <a:lnTo>
                  <a:pt x="1544" y="88"/>
                </a:lnTo>
                <a:lnTo>
                  <a:pt x="1560" y="96"/>
                </a:lnTo>
                <a:lnTo>
                  <a:pt x="1601" y="96"/>
                </a:lnTo>
                <a:lnTo>
                  <a:pt x="1601" y="113"/>
                </a:lnTo>
                <a:lnTo>
                  <a:pt x="1601" y="129"/>
                </a:lnTo>
                <a:cubicBezTo>
                  <a:pt x="1601" y="129"/>
                  <a:pt x="1593" y="137"/>
                  <a:pt x="1593" y="145"/>
                </a:cubicBezTo>
                <a:cubicBezTo>
                  <a:pt x="1585" y="145"/>
                  <a:pt x="1585" y="161"/>
                  <a:pt x="1585" y="161"/>
                </a:cubicBezTo>
                <a:lnTo>
                  <a:pt x="1585" y="169"/>
                </a:lnTo>
                <a:lnTo>
                  <a:pt x="1585" y="185"/>
                </a:lnTo>
                <a:lnTo>
                  <a:pt x="1576" y="201"/>
                </a:lnTo>
                <a:cubicBezTo>
                  <a:pt x="1576" y="201"/>
                  <a:pt x="1568" y="209"/>
                  <a:pt x="1576" y="217"/>
                </a:cubicBezTo>
                <a:lnTo>
                  <a:pt x="1576" y="225"/>
                </a:lnTo>
                <a:lnTo>
                  <a:pt x="1585" y="234"/>
                </a:lnTo>
                <a:lnTo>
                  <a:pt x="1568" y="250"/>
                </a:lnTo>
                <a:lnTo>
                  <a:pt x="1568" y="266"/>
                </a:lnTo>
                <a:cubicBezTo>
                  <a:pt x="1568" y="266"/>
                  <a:pt x="1576" y="274"/>
                  <a:pt x="1568" y="282"/>
                </a:cubicBezTo>
                <a:lnTo>
                  <a:pt x="1560" y="290"/>
                </a:lnTo>
                <a:lnTo>
                  <a:pt x="1544" y="306"/>
                </a:lnTo>
                <a:lnTo>
                  <a:pt x="1544" y="314"/>
                </a:lnTo>
                <a:lnTo>
                  <a:pt x="1535" y="330"/>
                </a:lnTo>
                <a:lnTo>
                  <a:pt x="1535" y="354"/>
                </a:lnTo>
                <a:lnTo>
                  <a:pt x="1544" y="363"/>
                </a:lnTo>
                <a:lnTo>
                  <a:pt x="1544" y="379"/>
                </a:lnTo>
                <a:cubicBezTo>
                  <a:pt x="1535" y="379"/>
                  <a:pt x="1544" y="387"/>
                  <a:pt x="1544" y="395"/>
                </a:cubicBezTo>
                <a:lnTo>
                  <a:pt x="1544" y="403"/>
                </a:lnTo>
                <a:lnTo>
                  <a:pt x="1535" y="419"/>
                </a:lnTo>
                <a:lnTo>
                  <a:pt x="1527" y="419"/>
                </a:lnTo>
                <a:lnTo>
                  <a:pt x="1535" y="443"/>
                </a:lnTo>
                <a:lnTo>
                  <a:pt x="1519" y="459"/>
                </a:lnTo>
                <a:lnTo>
                  <a:pt x="1453" y="459"/>
                </a:lnTo>
                <a:lnTo>
                  <a:pt x="1388" y="395"/>
                </a:lnTo>
                <a:lnTo>
                  <a:pt x="1338" y="387"/>
                </a:lnTo>
                <a:lnTo>
                  <a:pt x="1297" y="419"/>
                </a:lnTo>
                <a:lnTo>
                  <a:pt x="1240" y="427"/>
                </a:lnTo>
                <a:lnTo>
                  <a:pt x="1199" y="403"/>
                </a:lnTo>
                <a:lnTo>
                  <a:pt x="1084" y="435"/>
                </a:lnTo>
                <a:lnTo>
                  <a:pt x="1076" y="459"/>
                </a:lnTo>
                <a:lnTo>
                  <a:pt x="1059" y="516"/>
                </a:lnTo>
                <a:lnTo>
                  <a:pt x="1035" y="564"/>
                </a:lnTo>
                <a:lnTo>
                  <a:pt x="1002" y="580"/>
                </a:lnTo>
                <a:lnTo>
                  <a:pt x="977" y="596"/>
                </a:lnTo>
                <a:lnTo>
                  <a:pt x="952" y="629"/>
                </a:lnTo>
                <a:lnTo>
                  <a:pt x="903" y="629"/>
                </a:lnTo>
                <a:lnTo>
                  <a:pt x="870" y="621"/>
                </a:lnTo>
                <a:lnTo>
                  <a:pt x="821" y="629"/>
                </a:lnTo>
                <a:lnTo>
                  <a:pt x="805" y="677"/>
                </a:lnTo>
                <a:lnTo>
                  <a:pt x="772" y="685"/>
                </a:lnTo>
                <a:lnTo>
                  <a:pt x="714" y="693"/>
                </a:lnTo>
                <a:lnTo>
                  <a:pt x="640" y="717"/>
                </a:lnTo>
                <a:lnTo>
                  <a:pt x="599" y="758"/>
                </a:lnTo>
                <a:lnTo>
                  <a:pt x="599" y="774"/>
                </a:lnTo>
                <a:cubicBezTo>
                  <a:pt x="599" y="774"/>
                  <a:pt x="632" y="798"/>
                  <a:pt x="649" y="806"/>
                </a:cubicBezTo>
                <a:cubicBezTo>
                  <a:pt x="665" y="822"/>
                  <a:pt x="616" y="830"/>
                  <a:pt x="608" y="838"/>
                </a:cubicBezTo>
                <a:cubicBezTo>
                  <a:pt x="599" y="846"/>
                  <a:pt x="526" y="854"/>
                  <a:pt x="526" y="854"/>
                </a:cubicBezTo>
                <a:lnTo>
                  <a:pt x="386" y="862"/>
                </a:lnTo>
                <a:lnTo>
                  <a:pt x="312" y="879"/>
                </a:lnTo>
                <a:lnTo>
                  <a:pt x="279" y="862"/>
                </a:lnTo>
                <a:lnTo>
                  <a:pt x="222" y="830"/>
                </a:lnTo>
                <a:lnTo>
                  <a:pt x="181" y="790"/>
                </a:lnTo>
                <a:lnTo>
                  <a:pt x="115" y="782"/>
                </a:lnTo>
                <a:lnTo>
                  <a:pt x="115" y="790"/>
                </a:lnTo>
                <a:lnTo>
                  <a:pt x="115" y="822"/>
                </a:lnTo>
                <a:lnTo>
                  <a:pt x="90" y="854"/>
                </a:lnTo>
                <a:cubicBezTo>
                  <a:pt x="74" y="830"/>
                  <a:pt x="66" y="790"/>
                  <a:pt x="49" y="750"/>
                </a:cubicBezTo>
                <a:cubicBezTo>
                  <a:pt x="49" y="750"/>
                  <a:pt x="49" y="742"/>
                  <a:pt x="41" y="733"/>
                </a:cubicBezTo>
                <a:cubicBezTo>
                  <a:pt x="41" y="725"/>
                  <a:pt x="33" y="709"/>
                  <a:pt x="33" y="709"/>
                </a:cubicBezTo>
                <a:cubicBezTo>
                  <a:pt x="25" y="701"/>
                  <a:pt x="17" y="693"/>
                  <a:pt x="17" y="693"/>
                </a:cubicBezTo>
                <a:lnTo>
                  <a:pt x="17" y="685"/>
                </a:lnTo>
                <a:cubicBezTo>
                  <a:pt x="8" y="685"/>
                  <a:pt x="0" y="677"/>
                  <a:pt x="0" y="677"/>
                </a:cubicBezTo>
                <a:lnTo>
                  <a:pt x="0" y="637"/>
                </a:lnTo>
                <a:lnTo>
                  <a:pt x="17" y="621"/>
                </a:lnTo>
                <a:lnTo>
                  <a:pt x="17" y="604"/>
                </a:lnTo>
                <a:lnTo>
                  <a:pt x="25" y="588"/>
                </a:lnTo>
                <a:lnTo>
                  <a:pt x="17" y="580"/>
                </a:lnTo>
                <a:lnTo>
                  <a:pt x="17" y="556"/>
                </a:lnTo>
                <a:lnTo>
                  <a:pt x="25" y="548"/>
                </a:lnTo>
                <a:lnTo>
                  <a:pt x="25" y="524"/>
                </a:lnTo>
                <a:cubicBezTo>
                  <a:pt x="33" y="524"/>
                  <a:pt x="33" y="500"/>
                  <a:pt x="33" y="500"/>
                </a:cubicBezTo>
                <a:lnTo>
                  <a:pt x="41" y="483"/>
                </a:lnTo>
                <a:cubicBezTo>
                  <a:pt x="49" y="483"/>
                  <a:pt x="49" y="475"/>
                  <a:pt x="49" y="475"/>
                </a:cubicBezTo>
                <a:lnTo>
                  <a:pt x="49" y="459"/>
                </a:lnTo>
                <a:lnTo>
                  <a:pt x="66" y="451"/>
                </a:lnTo>
                <a:lnTo>
                  <a:pt x="74" y="443"/>
                </a:lnTo>
                <a:lnTo>
                  <a:pt x="107" y="443"/>
                </a:lnTo>
                <a:cubicBezTo>
                  <a:pt x="107" y="443"/>
                  <a:pt x="107" y="451"/>
                  <a:pt x="115" y="451"/>
                </a:cubicBezTo>
                <a:cubicBezTo>
                  <a:pt x="123" y="451"/>
                  <a:pt x="131" y="459"/>
                  <a:pt x="131" y="459"/>
                </a:cubicBezTo>
                <a:lnTo>
                  <a:pt x="140" y="451"/>
                </a:lnTo>
                <a:cubicBezTo>
                  <a:pt x="148" y="451"/>
                  <a:pt x="148" y="443"/>
                  <a:pt x="148" y="443"/>
                </a:cubicBezTo>
                <a:cubicBezTo>
                  <a:pt x="156" y="443"/>
                  <a:pt x="172" y="451"/>
                  <a:pt x="172" y="451"/>
                </a:cubicBezTo>
                <a:cubicBezTo>
                  <a:pt x="172" y="451"/>
                  <a:pt x="181" y="459"/>
                  <a:pt x="181" y="451"/>
                </a:cubicBezTo>
                <a:cubicBezTo>
                  <a:pt x="189" y="451"/>
                  <a:pt x="197" y="443"/>
                  <a:pt x="197" y="443"/>
                </a:cubicBezTo>
                <a:lnTo>
                  <a:pt x="214" y="435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6" name="Freeform 18">
            <a:extLst>
              <a:ext uri="{FF2B5EF4-FFF2-40B4-BE49-F238E27FC236}">
                <a16:creationId xmlns:a16="http://schemas.microsoft.com/office/drawing/2014/main" id="{ABEC422E-CFE2-9DA1-5E03-8081EA5F5C1E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545556" y="4499063"/>
            <a:ext cx="387600" cy="284361"/>
          </a:xfrm>
          <a:custGeom>
            <a:avLst/>
            <a:gdLst>
              <a:gd name="T0" fmla="*/ 41 w 942"/>
              <a:gd name="T1" fmla="*/ 361 h 692"/>
              <a:gd name="T2" fmla="*/ 8 w 942"/>
              <a:gd name="T3" fmla="*/ 330 h 692"/>
              <a:gd name="T4" fmla="*/ 49 w 942"/>
              <a:gd name="T5" fmla="*/ 283 h 692"/>
              <a:gd name="T6" fmla="*/ 81 w 942"/>
              <a:gd name="T7" fmla="*/ 259 h 692"/>
              <a:gd name="T8" fmla="*/ 105 w 942"/>
              <a:gd name="T9" fmla="*/ 212 h 692"/>
              <a:gd name="T10" fmla="*/ 347 w 942"/>
              <a:gd name="T11" fmla="*/ 243 h 692"/>
              <a:gd name="T12" fmla="*/ 419 w 942"/>
              <a:gd name="T13" fmla="*/ 196 h 692"/>
              <a:gd name="T14" fmla="*/ 466 w 942"/>
              <a:gd name="T15" fmla="*/ 134 h 692"/>
              <a:gd name="T16" fmla="*/ 611 w 942"/>
              <a:gd name="T17" fmla="*/ 134 h 692"/>
              <a:gd name="T18" fmla="*/ 724 w 942"/>
              <a:gd name="T19" fmla="*/ 79 h 692"/>
              <a:gd name="T20" fmla="*/ 772 w 942"/>
              <a:gd name="T21" fmla="*/ 32 h 692"/>
              <a:gd name="T22" fmla="*/ 845 w 942"/>
              <a:gd name="T23" fmla="*/ 0 h 692"/>
              <a:gd name="T24" fmla="*/ 869 w 942"/>
              <a:gd name="T25" fmla="*/ 39 h 692"/>
              <a:gd name="T26" fmla="*/ 885 w 942"/>
              <a:gd name="T27" fmla="*/ 63 h 692"/>
              <a:gd name="T28" fmla="*/ 941 w 942"/>
              <a:gd name="T29" fmla="*/ 149 h 692"/>
              <a:gd name="T30" fmla="*/ 885 w 942"/>
              <a:gd name="T31" fmla="*/ 157 h 692"/>
              <a:gd name="T32" fmla="*/ 877 w 942"/>
              <a:gd name="T33" fmla="*/ 189 h 692"/>
              <a:gd name="T34" fmla="*/ 837 w 942"/>
              <a:gd name="T35" fmla="*/ 212 h 692"/>
              <a:gd name="T36" fmla="*/ 812 w 942"/>
              <a:gd name="T37" fmla="*/ 251 h 692"/>
              <a:gd name="T38" fmla="*/ 772 w 942"/>
              <a:gd name="T39" fmla="*/ 275 h 692"/>
              <a:gd name="T40" fmla="*/ 732 w 942"/>
              <a:gd name="T41" fmla="*/ 298 h 692"/>
              <a:gd name="T42" fmla="*/ 692 w 942"/>
              <a:gd name="T43" fmla="*/ 322 h 692"/>
              <a:gd name="T44" fmla="*/ 700 w 942"/>
              <a:gd name="T45" fmla="*/ 361 h 692"/>
              <a:gd name="T46" fmla="*/ 724 w 942"/>
              <a:gd name="T47" fmla="*/ 385 h 692"/>
              <a:gd name="T48" fmla="*/ 716 w 942"/>
              <a:gd name="T49" fmla="*/ 440 h 692"/>
              <a:gd name="T50" fmla="*/ 708 w 942"/>
              <a:gd name="T51" fmla="*/ 471 h 692"/>
              <a:gd name="T52" fmla="*/ 667 w 942"/>
              <a:gd name="T53" fmla="*/ 487 h 692"/>
              <a:gd name="T54" fmla="*/ 627 w 942"/>
              <a:gd name="T55" fmla="*/ 502 h 692"/>
              <a:gd name="T56" fmla="*/ 611 w 942"/>
              <a:gd name="T57" fmla="*/ 534 h 692"/>
              <a:gd name="T58" fmla="*/ 635 w 942"/>
              <a:gd name="T59" fmla="*/ 542 h 692"/>
              <a:gd name="T60" fmla="*/ 619 w 942"/>
              <a:gd name="T61" fmla="*/ 565 h 692"/>
              <a:gd name="T62" fmla="*/ 611 w 942"/>
              <a:gd name="T63" fmla="*/ 597 h 692"/>
              <a:gd name="T64" fmla="*/ 635 w 942"/>
              <a:gd name="T65" fmla="*/ 628 h 692"/>
              <a:gd name="T66" fmla="*/ 595 w 942"/>
              <a:gd name="T67" fmla="*/ 652 h 692"/>
              <a:gd name="T68" fmla="*/ 555 w 942"/>
              <a:gd name="T69" fmla="*/ 636 h 692"/>
              <a:gd name="T70" fmla="*/ 515 w 942"/>
              <a:gd name="T71" fmla="*/ 628 h 692"/>
              <a:gd name="T72" fmla="*/ 490 w 942"/>
              <a:gd name="T73" fmla="*/ 644 h 692"/>
              <a:gd name="T74" fmla="*/ 443 w 942"/>
              <a:gd name="T75" fmla="*/ 628 h 692"/>
              <a:gd name="T76" fmla="*/ 427 w 942"/>
              <a:gd name="T77" fmla="*/ 604 h 692"/>
              <a:gd name="T78" fmla="*/ 395 w 942"/>
              <a:gd name="T79" fmla="*/ 565 h 692"/>
              <a:gd name="T80" fmla="*/ 371 w 942"/>
              <a:gd name="T81" fmla="*/ 597 h 692"/>
              <a:gd name="T82" fmla="*/ 363 w 942"/>
              <a:gd name="T83" fmla="*/ 628 h 692"/>
              <a:gd name="T84" fmla="*/ 314 w 942"/>
              <a:gd name="T85" fmla="*/ 652 h 692"/>
              <a:gd name="T86" fmla="*/ 266 w 942"/>
              <a:gd name="T87" fmla="*/ 659 h 692"/>
              <a:gd name="T88" fmla="*/ 226 w 942"/>
              <a:gd name="T89" fmla="*/ 652 h 692"/>
              <a:gd name="T90" fmla="*/ 218 w 942"/>
              <a:gd name="T91" fmla="*/ 659 h 692"/>
              <a:gd name="T92" fmla="*/ 194 w 942"/>
              <a:gd name="T93" fmla="*/ 683 h 692"/>
              <a:gd name="T94" fmla="*/ 169 w 942"/>
              <a:gd name="T95" fmla="*/ 691 h 692"/>
              <a:gd name="T96" fmla="*/ 121 w 942"/>
              <a:gd name="T97" fmla="*/ 683 h 692"/>
              <a:gd name="T98" fmla="*/ 89 w 942"/>
              <a:gd name="T99" fmla="*/ 659 h 692"/>
              <a:gd name="T100" fmla="*/ 121 w 942"/>
              <a:gd name="T101" fmla="*/ 644 h 692"/>
              <a:gd name="T102" fmla="*/ 137 w 942"/>
              <a:gd name="T103" fmla="*/ 636 h 692"/>
              <a:gd name="T104" fmla="*/ 169 w 942"/>
              <a:gd name="T105" fmla="*/ 620 h 692"/>
              <a:gd name="T106" fmla="*/ 105 w 942"/>
              <a:gd name="T107" fmla="*/ 549 h 692"/>
              <a:gd name="T108" fmla="*/ 81 w 942"/>
              <a:gd name="T109" fmla="*/ 510 h 692"/>
              <a:gd name="T110" fmla="*/ 89 w 942"/>
              <a:gd name="T111" fmla="*/ 471 h 692"/>
              <a:gd name="T112" fmla="*/ 73 w 942"/>
              <a:gd name="T113" fmla="*/ 463 h 692"/>
              <a:gd name="T114" fmla="*/ 41 w 942"/>
              <a:gd name="T115" fmla="*/ 447 h 692"/>
              <a:gd name="T116" fmla="*/ 57 w 942"/>
              <a:gd name="T117" fmla="*/ 416 h 692"/>
              <a:gd name="T118" fmla="*/ 81 w 942"/>
              <a:gd name="T119" fmla="*/ 369 h 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42" h="692">
                <a:moveTo>
                  <a:pt x="73" y="377"/>
                </a:moveTo>
                <a:lnTo>
                  <a:pt x="57" y="369"/>
                </a:lnTo>
                <a:lnTo>
                  <a:pt x="41" y="361"/>
                </a:lnTo>
                <a:lnTo>
                  <a:pt x="16" y="361"/>
                </a:lnTo>
                <a:lnTo>
                  <a:pt x="0" y="345"/>
                </a:lnTo>
                <a:lnTo>
                  <a:pt x="8" y="330"/>
                </a:lnTo>
                <a:lnTo>
                  <a:pt x="8" y="314"/>
                </a:lnTo>
                <a:lnTo>
                  <a:pt x="25" y="298"/>
                </a:lnTo>
                <a:cubicBezTo>
                  <a:pt x="33" y="291"/>
                  <a:pt x="49" y="283"/>
                  <a:pt x="49" y="283"/>
                </a:cubicBezTo>
                <a:lnTo>
                  <a:pt x="57" y="267"/>
                </a:lnTo>
                <a:cubicBezTo>
                  <a:pt x="57" y="267"/>
                  <a:pt x="65" y="259"/>
                  <a:pt x="73" y="259"/>
                </a:cubicBezTo>
                <a:cubicBezTo>
                  <a:pt x="81" y="259"/>
                  <a:pt x="81" y="267"/>
                  <a:pt x="81" y="259"/>
                </a:cubicBezTo>
                <a:cubicBezTo>
                  <a:pt x="89" y="259"/>
                  <a:pt x="89" y="228"/>
                  <a:pt x="89" y="228"/>
                </a:cubicBezTo>
                <a:lnTo>
                  <a:pt x="89" y="212"/>
                </a:lnTo>
                <a:lnTo>
                  <a:pt x="105" y="212"/>
                </a:lnTo>
                <a:lnTo>
                  <a:pt x="177" y="236"/>
                </a:lnTo>
                <a:lnTo>
                  <a:pt x="258" y="243"/>
                </a:lnTo>
                <a:lnTo>
                  <a:pt x="347" y="243"/>
                </a:lnTo>
                <a:lnTo>
                  <a:pt x="371" y="228"/>
                </a:lnTo>
                <a:lnTo>
                  <a:pt x="387" y="204"/>
                </a:lnTo>
                <a:lnTo>
                  <a:pt x="419" y="196"/>
                </a:lnTo>
                <a:lnTo>
                  <a:pt x="427" y="181"/>
                </a:lnTo>
                <a:lnTo>
                  <a:pt x="443" y="149"/>
                </a:lnTo>
                <a:lnTo>
                  <a:pt x="466" y="134"/>
                </a:lnTo>
                <a:lnTo>
                  <a:pt x="515" y="134"/>
                </a:lnTo>
                <a:lnTo>
                  <a:pt x="571" y="118"/>
                </a:lnTo>
                <a:lnTo>
                  <a:pt x="611" y="134"/>
                </a:lnTo>
                <a:lnTo>
                  <a:pt x="659" y="102"/>
                </a:lnTo>
                <a:lnTo>
                  <a:pt x="684" y="94"/>
                </a:lnTo>
                <a:lnTo>
                  <a:pt x="724" y="79"/>
                </a:lnTo>
                <a:lnTo>
                  <a:pt x="772" y="110"/>
                </a:lnTo>
                <a:lnTo>
                  <a:pt x="764" y="63"/>
                </a:lnTo>
                <a:lnTo>
                  <a:pt x="772" y="32"/>
                </a:lnTo>
                <a:lnTo>
                  <a:pt x="804" y="16"/>
                </a:lnTo>
                <a:lnTo>
                  <a:pt x="812" y="16"/>
                </a:lnTo>
                <a:lnTo>
                  <a:pt x="845" y="0"/>
                </a:lnTo>
                <a:lnTo>
                  <a:pt x="861" y="16"/>
                </a:lnTo>
                <a:lnTo>
                  <a:pt x="869" y="32"/>
                </a:lnTo>
                <a:lnTo>
                  <a:pt x="869" y="39"/>
                </a:lnTo>
                <a:lnTo>
                  <a:pt x="869" y="47"/>
                </a:lnTo>
                <a:lnTo>
                  <a:pt x="877" y="55"/>
                </a:lnTo>
                <a:lnTo>
                  <a:pt x="885" y="63"/>
                </a:lnTo>
                <a:lnTo>
                  <a:pt x="893" y="79"/>
                </a:lnTo>
                <a:lnTo>
                  <a:pt x="893" y="94"/>
                </a:lnTo>
                <a:lnTo>
                  <a:pt x="941" y="149"/>
                </a:lnTo>
                <a:lnTo>
                  <a:pt x="925" y="149"/>
                </a:lnTo>
                <a:lnTo>
                  <a:pt x="901" y="149"/>
                </a:lnTo>
                <a:cubicBezTo>
                  <a:pt x="901" y="149"/>
                  <a:pt x="893" y="157"/>
                  <a:pt x="885" y="157"/>
                </a:cubicBezTo>
                <a:lnTo>
                  <a:pt x="877" y="173"/>
                </a:lnTo>
                <a:lnTo>
                  <a:pt x="869" y="181"/>
                </a:lnTo>
                <a:lnTo>
                  <a:pt x="877" y="189"/>
                </a:lnTo>
                <a:cubicBezTo>
                  <a:pt x="893" y="220"/>
                  <a:pt x="901" y="220"/>
                  <a:pt x="861" y="212"/>
                </a:cubicBezTo>
                <a:lnTo>
                  <a:pt x="845" y="204"/>
                </a:lnTo>
                <a:lnTo>
                  <a:pt x="837" y="212"/>
                </a:lnTo>
                <a:lnTo>
                  <a:pt x="820" y="220"/>
                </a:lnTo>
                <a:lnTo>
                  <a:pt x="820" y="236"/>
                </a:lnTo>
                <a:lnTo>
                  <a:pt x="812" y="251"/>
                </a:lnTo>
                <a:lnTo>
                  <a:pt x="796" y="259"/>
                </a:lnTo>
                <a:lnTo>
                  <a:pt x="780" y="267"/>
                </a:lnTo>
                <a:lnTo>
                  <a:pt x="772" y="275"/>
                </a:lnTo>
                <a:lnTo>
                  <a:pt x="756" y="275"/>
                </a:lnTo>
                <a:lnTo>
                  <a:pt x="740" y="283"/>
                </a:lnTo>
                <a:lnTo>
                  <a:pt x="732" y="298"/>
                </a:lnTo>
                <a:lnTo>
                  <a:pt x="716" y="298"/>
                </a:lnTo>
                <a:lnTo>
                  <a:pt x="692" y="306"/>
                </a:lnTo>
                <a:lnTo>
                  <a:pt x="692" y="322"/>
                </a:lnTo>
                <a:lnTo>
                  <a:pt x="684" y="330"/>
                </a:lnTo>
                <a:lnTo>
                  <a:pt x="684" y="353"/>
                </a:lnTo>
                <a:lnTo>
                  <a:pt x="700" y="361"/>
                </a:lnTo>
                <a:lnTo>
                  <a:pt x="708" y="369"/>
                </a:lnTo>
                <a:lnTo>
                  <a:pt x="716" y="377"/>
                </a:lnTo>
                <a:lnTo>
                  <a:pt x="724" y="385"/>
                </a:lnTo>
                <a:cubicBezTo>
                  <a:pt x="716" y="385"/>
                  <a:pt x="716" y="408"/>
                  <a:pt x="716" y="408"/>
                </a:cubicBezTo>
                <a:lnTo>
                  <a:pt x="724" y="432"/>
                </a:lnTo>
                <a:lnTo>
                  <a:pt x="716" y="440"/>
                </a:lnTo>
                <a:lnTo>
                  <a:pt x="724" y="455"/>
                </a:lnTo>
                <a:cubicBezTo>
                  <a:pt x="724" y="455"/>
                  <a:pt x="732" y="455"/>
                  <a:pt x="724" y="463"/>
                </a:cubicBezTo>
                <a:cubicBezTo>
                  <a:pt x="716" y="463"/>
                  <a:pt x="708" y="471"/>
                  <a:pt x="708" y="471"/>
                </a:cubicBezTo>
                <a:lnTo>
                  <a:pt x="692" y="471"/>
                </a:lnTo>
                <a:lnTo>
                  <a:pt x="676" y="471"/>
                </a:lnTo>
                <a:lnTo>
                  <a:pt x="667" y="487"/>
                </a:lnTo>
                <a:lnTo>
                  <a:pt x="651" y="479"/>
                </a:lnTo>
                <a:lnTo>
                  <a:pt x="651" y="495"/>
                </a:lnTo>
                <a:lnTo>
                  <a:pt x="627" y="502"/>
                </a:lnTo>
                <a:lnTo>
                  <a:pt x="611" y="510"/>
                </a:lnTo>
                <a:lnTo>
                  <a:pt x="603" y="526"/>
                </a:lnTo>
                <a:lnTo>
                  <a:pt x="611" y="534"/>
                </a:lnTo>
                <a:cubicBezTo>
                  <a:pt x="611" y="534"/>
                  <a:pt x="619" y="542"/>
                  <a:pt x="619" y="534"/>
                </a:cubicBezTo>
                <a:lnTo>
                  <a:pt x="619" y="526"/>
                </a:lnTo>
                <a:cubicBezTo>
                  <a:pt x="627" y="534"/>
                  <a:pt x="635" y="542"/>
                  <a:pt x="635" y="542"/>
                </a:cubicBezTo>
                <a:lnTo>
                  <a:pt x="643" y="557"/>
                </a:lnTo>
                <a:lnTo>
                  <a:pt x="627" y="557"/>
                </a:lnTo>
                <a:lnTo>
                  <a:pt x="619" y="565"/>
                </a:lnTo>
                <a:lnTo>
                  <a:pt x="611" y="573"/>
                </a:lnTo>
                <a:lnTo>
                  <a:pt x="611" y="589"/>
                </a:lnTo>
                <a:lnTo>
                  <a:pt x="611" y="597"/>
                </a:lnTo>
                <a:cubicBezTo>
                  <a:pt x="619" y="597"/>
                  <a:pt x="627" y="612"/>
                  <a:pt x="627" y="612"/>
                </a:cubicBezTo>
                <a:lnTo>
                  <a:pt x="635" y="620"/>
                </a:lnTo>
                <a:lnTo>
                  <a:pt x="635" y="628"/>
                </a:lnTo>
                <a:cubicBezTo>
                  <a:pt x="635" y="628"/>
                  <a:pt x="627" y="636"/>
                  <a:pt x="619" y="636"/>
                </a:cubicBezTo>
                <a:lnTo>
                  <a:pt x="603" y="636"/>
                </a:lnTo>
                <a:lnTo>
                  <a:pt x="595" y="652"/>
                </a:lnTo>
                <a:lnTo>
                  <a:pt x="579" y="652"/>
                </a:lnTo>
                <a:cubicBezTo>
                  <a:pt x="579" y="652"/>
                  <a:pt x="595" y="659"/>
                  <a:pt x="579" y="652"/>
                </a:cubicBezTo>
                <a:cubicBezTo>
                  <a:pt x="555" y="644"/>
                  <a:pt x="555" y="636"/>
                  <a:pt x="555" y="636"/>
                </a:cubicBezTo>
                <a:lnTo>
                  <a:pt x="547" y="628"/>
                </a:lnTo>
                <a:lnTo>
                  <a:pt x="531" y="628"/>
                </a:lnTo>
                <a:lnTo>
                  <a:pt x="515" y="628"/>
                </a:lnTo>
                <a:lnTo>
                  <a:pt x="507" y="620"/>
                </a:lnTo>
                <a:lnTo>
                  <a:pt x="498" y="636"/>
                </a:lnTo>
                <a:cubicBezTo>
                  <a:pt x="498" y="636"/>
                  <a:pt x="498" y="644"/>
                  <a:pt x="490" y="644"/>
                </a:cubicBezTo>
                <a:cubicBezTo>
                  <a:pt x="482" y="652"/>
                  <a:pt x="490" y="652"/>
                  <a:pt x="482" y="652"/>
                </a:cubicBezTo>
                <a:cubicBezTo>
                  <a:pt x="466" y="652"/>
                  <a:pt x="459" y="636"/>
                  <a:pt x="459" y="636"/>
                </a:cubicBezTo>
                <a:lnTo>
                  <a:pt x="443" y="628"/>
                </a:lnTo>
                <a:lnTo>
                  <a:pt x="435" y="620"/>
                </a:lnTo>
                <a:cubicBezTo>
                  <a:pt x="427" y="620"/>
                  <a:pt x="427" y="628"/>
                  <a:pt x="427" y="612"/>
                </a:cubicBezTo>
                <a:lnTo>
                  <a:pt x="427" y="604"/>
                </a:lnTo>
                <a:cubicBezTo>
                  <a:pt x="419" y="597"/>
                  <a:pt x="419" y="604"/>
                  <a:pt x="411" y="597"/>
                </a:cubicBezTo>
                <a:cubicBezTo>
                  <a:pt x="411" y="589"/>
                  <a:pt x="403" y="581"/>
                  <a:pt x="403" y="581"/>
                </a:cubicBezTo>
                <a:lnTo>
                  <a:pt x="395" y="565"/>
                </a:lnTo>
                <a:lnTo>
                  <a:pt x="395" y="573"/>
                </a:lnTo>
                <a:cubicBezTo>
                  <a:pt x="387" y="581"/>
                  <a:pt x="379" y="581"/>
                  <a:pt x="379" y="581"/>
                </a:cubicBezTo>
                <a:cubicBezTo>
                  <a:pt x="379" y="589"/>
                  <a:pt x="371" y="597"/>
                  <a:pt x="371" y="597"/>
                </a:cubicBezTo>
                <a:cubicBezTo>
                  <a:pt x="371" y="597"/>
                  <a:pt x="363" y="604"/>
                  <a:pt x="363" y="612"/>
                </a:cubicBezTo>
                <a:cubicBezTo>
                  <a:pt x="371" y="612"/>
                  <a:pt x="371" y="612"/>
                  <a:pt x="371" y="620"/>
                </a:cubicBezTo>
                <a:lnTo>
                  <a:pt x="363" y="628"/>
                </a:lnTo>
                <a:cubicBezTo>
                  <a:pt x="355" y="636"/>
                  <a:pt x="355" y="636"/>
                  <a:pt x="347" y="636"/>
                </a:cubicBezTo>
                <a:cubicBezTo>
                  <a:pt x="347" y="644"/>
                  <a:pt x="330" y="652"/>
                  <a:pt x="330" y="652"/>
                </a:cubicBezTo>
                <a:lnTo>
                  <a:pt x="314" y="652"/>
                </a:lnTo>
                <a:lnTo>
                  <a:pt x="290" y="644"/>
                </a:lnTo>
                <a:lnTo>
                  <a:pt x="274" y="659"/>
                </a:lnTo>
                <a:lnTo>
                  <a:pt x="266" y="659"/>
                </a:lnTo>
                <a:lnTo>
                  <a:pt x="250" y="659"/>
                </a:lnTo>
                <a:cubicBezTo>
                  <a:pt x="250" y="659"/>
                  <a:pt x="242" y="652"/>
                  <a:pt x="234" y="652"/>
                </a:cubicBezTo>
                <a:lnTo>
                  <a:pt x="226" y="652"/>
                </a:lnTo>
                <a:lnTo>
                  <a:pt x="210" y="652"/>
                </a:lnTo>
                <a:lnTo>
                  <a:pt x="210" y="659"/>
                </a:lnTo>
                <a:lnTo>
                  <a:pt x="218" y="659"/>
                </a:lnTo>
                <a:lnTo>
                  <a:pt x="218" y="675"/>
                </a:lnTo>
                <a:lnTo>
                  <a:pt x="210" y="675"/>
                </a:lnTo>
                <a:cubicBezTo>
                  <a:pt x="210" y="683"/>
                  <a:pt x="194" y="683"/>
                  <a:pt x="194" y="683"/>
                </a:cubicBezTo>
                <a:lnTo>
                  <a:pt x="194" y="691"/>
                </a:lnTo>
                <a:lnTo>
                  <a:pt x="186" y="691"/>
                </a:lnTo>
                <a:lnTo>
                  <a:pt x="169" y="691"/>
                </a:lnTo>
                <a:cubicBezTo>
                  <a:pt x="169" y="683"/>
                  <a:pt x="161" y="683"/>
                  <a:pt x="153" y="683"/>
                </a:cubicBezTo>
                <a:lnTo>
                  <a:pt x="129" y="675"/>
                </a:lnTo>
                <a:lnTo>
                  <a:pt x="121" y="683"/>
                </a:lnTo>
                <a:cubicBezTo>
                  <a:pt x="113" y="683"/>
                  <a:pt x="105" y="683"/>
                  <a:pt x="97" y="675"/>
                </a:cubicBezTo>
                <a:lnTo>
                  <a:pt x="89" y="675"/>
                </a:lnTo>
                <a:lnTo>
                  <a:pt x="89" y="659"/>
                </a:lnTo>
                <a:cubicBezTo>
                  <a:pt x="89" y="659"/>
                  <a:pt x="81" y="652"/>
                  <a:pt x="89" y="652"/>
                </a:cubicBezTo>
                <a:lnTo>
                  <a:pt x="105" y="652"/>
                </a:lnTo>
                <a:cubicBezTo>
                  <a:pt x="113" y="652"/>
                  <a:pt x="121" y="652"/>
                  <a:pt x="121" y="644"/>
                </a:cubicBezTo>
                <a:lnTo>
                  <a:pt x="129" y="644"/>
                </a:lnTo>
                <a:cubicBezTo>
                  <a:pt x="129" y="644"/>
                  <a:pt x="137" y="652"/>
                  <a:pt x="137" y="644"/>
                </a:cubicBezTo>
                <a:lnTo>
                  <a:pt x="137" y="636"/>
                </a:lnTo>
                <a:lnTo>
                  <a:pt x="129" y="628"/>
                </a:lnTo>
                <a:lnTo>
                  <a:pt x="137" y="620"/>
                </a:lnTo>
                <a:lnTo>
                  <a:pt x="169" y="620"/>
                </a:lnTo>
                <a:lnTo>
                  <a:pt x="177" y="612"/>
                </a:lnTo>
                <a:cubicBezTo>
                  <a:pt x="177" y="612"/>
                  <a:pt x="145" y="612"/>
                  <a:pt x="137" y="604"/>
                </a:cubicBezTo>
                <a:cubicBezTo>
                  <a:pt x="121" y="589"/>
                  <a:pt x="105" y="581"/>
                  <a:pt x="105" y="549"/>
                </a:cubicBezTo>
                <a:cubicBezTo>
                  <a:pt x="97" y="549"/>
                  <a:pt x="97" y="534"/>
                  <a:pt x="89" y="534"/>
                </a:cubicBezTo>
                <a:lnTo>
                  <a:pt x="73" y="526"/>
                </a:lnTo>
                <a:cubicBezTo>
                  <a:pt x="73" y="518"/>
                  <a:pt x="73" y="518"/>
                  <a:pt x="81" y="510"/>
                </a:cubicBezTo>
                <a:cubicBezTo>
                  <a:pt x="81" y="502"/>
                  <a:pt x="81" y="502"/>
                  <a:pt x="89" y="495"/>
                </a:cubicBezTo>
                <a:lnTo>
                  <a:pt x="89" y="479"/>
                </a:lnTo>
                <a:cubicBezTo>
                  <a:pt x="89" y="479"/>
                  <a:pt x="97" y="471"/>
                  <a:pt x="89" y="471"/>
                </a:cubicBezTo>
                <a:cubicBezTo>
                  <a:pt x="89" y="463"/>
                  <a:pt x="81" y="455"/>
                  <a:pt x="81" y="455"/>
                </a:cubicBezTo>
                <a:lnTo>
                  <a:pt x="73" y="455"/>
                </a:lnTo>
                <a:lnTo>
                  <a:pt x="73" y="463"/>
                </a:lnTo>
                <a:lnTo>
                  <a:pt x="57" y="471"/>
                </a:lnTo>
                <a:lnTo>
                  <a:pt x="49" y="455"/>
                </a:lnTo>
                <a:cubicBezTo>
                  <a:pt x="41" y="455"/>
                  <a:pt x="41" y="455"/>
                  <a:pt x="41" y="447"/>
                </a:cubicBezTo>
                <a:lnTo>
                  <a:pt x="49" y="440"/>
                </a:lnTo>
                <a:lnTo>
                  <a:pt x="41" y="432"/>
                </a:lnTo>
                <a:cubicBezTo>
                  <a:pt x="41" y="432"/>
                  <a:pt x="49" y="416"/>
                  <a:pt x="57" y="416"/>
                </a:cubicBezTo>
                <a:cubicBezTo>
                  <a:pt x="65" y="408"/>
                  <a:pt x="81" y="393"/>
                  <a:pt x="81" y="393"/>
                </a:cubicBezTo>
                <a:lnTo>
                  <a:pt x="89" y="377"/>
                </a:lnTo>
                <a:lnTo>
                  <a:pt x="81" y="369"/>
                </a:lnTo>
                <a:lnTo>
                  <a:pt x="73" y="377"/>
                </a:ln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7" name="Freeform 19">
            <a:extLst>
              <a:ext uri="{FF2B5EF4-FFF2-40B4-BE49-F238E27FC236}">
                <a16:creationId xmlns:a16="http://schemas.microsoft.com/office/drawing/2014/main" id="{120B5CBB-D122-F7F2-B9CB-860098C41368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545556" y="4499063"/>
            <a:ext cx="387600" cy="284361"/>
          </a:xfrm>
          <a:custGeom>
            <a:avLst/>
            <a:gdLst>
              <a:gd name="T0" fmla="*/ 41 w 942"/>
              <a:gd name="T1" fmla="*/ 361 h 692"/>
              <a:gd name="T2" fmla="*/ 8 w 942"/>
              <a:gd name="T3" fmla="*/ 330 h 692"/>
              <a:gd name="T4" fmla="*/ 49 w 942"/>
              <a:gd name="T5" fmla="*/ 283 h 692"/>
              <a:gd name="T6" fmla="*/ 81 w 942"/>
              <a:gd name="T7" fmla="*/ 259 h 692"/>
              <a:gd name="T8" fmla="*/ 105 w 942"/>
              <a:gd name="T9" fmla="*/ 212 h 692"/>
              <a:gd name="T10" fmla="*/ 347 w 942"/>
              <a:gd name="T11" fmla="*/ 243 h 692"/>
              <a:gd name="T12" fmla="*/ 419 w 942"/>
              <a:gd name="T13" fmla="*/ 196 h 692"/>
              <a:gd name="T14" fmla="*/ 466 w 942"/>
              <a:gd name="T15" fmla="*/ 134 h 692"/>
              <a:gd name="T16" fmla="*/ 611 w 942"/>
              <a:gd name="T17" fmla="*/ 134 h 692"/>
              <a:gd name="T18" fmla="*/ 724 w 942"/>
              <a:gd name="T19" fmla="*/ 79 h 692"/>
              <a:gd name="T20" fmla="*/ 772 w 942"/>
              <a:gd name="T21" fmla="*/ 32 h 692"/>
              <a:gd name="T22" fmla="*/ 845 w 942"/>
              <a:gd name="T23" fmla="*/ 0 h 692"/>
              <a:gd name="T24" fmla="*/ 869 w 942"/>
              <a:gd name="T25" fmla="*/ 39 h 692"/>
              <a:gd name="T26" fmla="*/ 885 w 942"/>
              <a:gd name="T27" fmla="*/ 63 h 692"/>
              <a:gd name="T28" fmla="*/ 941 w 942"/>
              <a:gd name="T29" fmla="*/ 149 h 692"/>
              <a:gd name="T30" fmla="*/ 885 w 942"/>
              <a:gd name="T31" fmla="*/ 157 h 692"/>
              <a:gd name="T32" fmla="*/ 877 w 942"/>
              <a:gd name="T33" fmla="*/ 189 h 692"/>
              <a:gd name="T34" fmla="*/ 837 w 942"/>
              <a:gd name="T35" fmla="*/ 212 h 692"/>
              <a:gd name="T36" fmla="*/ 812 w 942"/>
              <a:gd name="T37" fmla="*/ 251 h 692"/>
              <a:gd name="T38" fmla="*/ 772 w 942"/>
              <a:gd name="T39" fmla="*/ 275 h 692"/>
              <a:gd name="T40" fmla="*/ 732 w 942"/>
              <a:gd name="T41" fmla="*/ 298 h 692"/>
              <a:gd name="T42" fmla="*/ 692 w 942"/>
              <a:gd name="T43" fmla="*/ 322 h 692"/>
              <a:gd name="T44" fmla="*/ 700 w 942"/>
              <a:gd name="T45" fmla="*/ 361 h 692"/>
              <a:gd name="T46" fmla="*/ 724 w 942"/>
              <a:gd name="T47" fmla="*/ 385 h 692"/>
              <a:gd name="T48" fmla="*/ 716 w 942"/>
              <a:gd name="T49" fmla="*/ 440 h 692"/>
              <a:gd name="T50" fmla="*/ 708 w 942"/>
              <a:gd name="T51" fmla="*/ 471 h 692"/>
              <a:gd name="T52" fmla="*/ 667 w 942"/>
              <a:gd name="T53" fmla="*/ 487 h 692"/>
              <a:gd name="T54" fmla="*/ 627 w 942"/>
              <a:gd name="T55" fmla="*/ 502 h 692"/>
              <a:gd name="T56" fmla="*/ 611 w 942"/>
              <a:gd name="T57" fmla="*/ 534 h 692"/>
              <a:gd name="T58" fmla="*/ 635 w 942"/>
              <a:gd name="T59" fmla="*/ 542 h 692"/>
              <a:gd name="T60" fmla="*/ 619 w 942"/>
              <a:gd name="T61" fmla="*/ 565 h 692"/>
              <a:gd name="T62" fmla="*/ 611 w 942"/>
              <a:gd name="T63" fmla="*/ 597 h 692"/>
              <a:gd name="T64" fmla="*/ 635 w 942"/>
              <a:gd name="T65" fmla="*/ 628 h 692"/>
              <a:gd name="T66" fmla="*/ 595 w 942"/>
              <a:gd name="T67" fmla="*/ 652 h 692"/>
              <a:gd name="T68" fmla="*/ 555 w 942"/>
              <a:gd name="T69" fmla="*/ 636 h 692"/>
              <a:gd name="T70" fmla="*/ 515 w 942"/>
              <a:gd name="T71" fmla="*/ 628 h 692"/>
              <a:gd name="T72" fmla="*/ 490 w 942"/>
              <a:gd name="T73" fmla="*/ 644 h 692"/>
              <a:gd name="T74" fmla="*/ 443 w 942"/>
              <a:gd name="T75" fmla="*/ 628 h 692"/>
              <a:gd name="T76" fmla="*/ 427 w 942"/>
              <a:gd name="T77" fmla="*/ 604 h 692"/>
              <a:gd name="T78" fmla="*/ 395 w 942"/>
              <a:gd name="T79" fmla="*/ 565 h 692"/>
              <a:gd name="T80" fmla="*/ 371 w 942"/>
              <a:gd name="T81" fmla="*/ 597 h 692"/>
              <a:gd name="T82" fmla="*/ 363 w 942"/>
              <a:gd name="T83" fmla="*/ 628 h 692"/>
              <a:gd name="T84" fmla="*/ 314 w 942"/>
              <a:gd name="T85" fmla="*/ 652 h 692"/>
              <a:gd name="T86" fmla="*/ 266 w 942"/>
              <a:gd name="T87" fmla="*/ 659 h 692"/>
              <a:gd name="T88" fmla="*/ 226 w 942"/>
              <a:gd name="T89" fmla="*/ 652 h 692"/>
              <a:gd name="T90" fmla="*/ 218 w 942"/>
              <a:gd name="T91" fmla="*/ 659 h 692"/>
              <a:gd name="T92" fmla="*/ 194 w 942"/>
              <a:gd name="T93" fmla="*/ 683 h 692"/>
              <a:gd name="T94" fmla="*/ 169 w 942"/>
              <a:gd name="T95" fmla="*/ 691 h 692"/>
              <a:gd name="T96" fmla="*/ 121 w 942"/>
              <a:gd name="T97" fmla="*/ 683 h 692"/>
              <a:gd name="T98" fmla="*/ 89 w 942"/>
              <a:gd name="T99" fmla="*/ 659 h 692"/>
              <a:gd name="T100" fmla="*/ 121 w 942"/>
              <a:gd name="T101" fmla="*/ 644 h 692"/>
              <a:gd name="T102" fmla="*/ 137 w 942"/>
              <a:gd name="T103" fmla="*/ 636 h 692"/>
              <a:gd name="T104" fmla="*/ 169 w 942"/>
              <a:gd name="T105" fmla="*/ 620 h 692"/>
              <a:gd name="T106" fmla="*/ 105 w 942"/>
              <a:gd name="T107" fmla="*/ 549 h 692"/>
              <a:gd name="T108" fmla="*/ 81 w 942"/>
              <a:gd name="T109" fmla="*/ 510 h 692"/>
              <a:gd name="T110" fmla="*/ 89 w 942"/>
              <a:gd name="T111" fmla="*/ 471 h 692"/>
              <a:gd name="T112" fmla="*/ 73 w 942"/>
              <a:gd name="T113" fmla="*/ 463 h 692"/>
              <a:gd name="T114" fmla="*/ 41 w 942"/>
              <a:gd name="T115" fmla="*/ 447 h 692"/>
              <a:gd name="T116" fmla="*/ 57 w 942"/>
              <a:gd name="T117" fmla="*/ 416 h 692"/>
              <a:gd name="T118" fmla="*/ 81 w 942"/>
              <a:gd name="T119" fmla="*/ 369 h 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42" h="692">
                <a:moveTo>
                  <a:pt x="73" y="377"/>
                </a:moveTo>
                <a:lnTo>
                  <a:pt x="57" y="369"/>
                </a:lnTo>
                <a:lnTo>
                  <a:pt x="41" y="361"/>
                </a:lnTo>
                <a:lnTo>
                  <a:pt x="16" y="361"/>
                </a:lnTo>
                <a:lnTo>
                  <a:pt x="0" y="345"/>
                </a:lnTo>
                <a:lnTo>
                  <a:pt x="8" y="330"/>
                </a:lnTo>
                <a:lnTo>
                  <a:pt x="8" y="314"/>
                </a:lnTo>
                <a:lnTo>
                  <a:pt x="25" y="298"/>
                </a:lnTo>
                <a:cubicBezTo>
                  <a:pt x="33" y="291"/>
                  <a:pt x="49" y="283"/>
                  <a:pt x="49" y="283"/>
                </a:cubicBezTo>
                <a:lnTo>
                  <a:pt x="57" y="267"/>
                </a:lnTo>
                <a:cubicBezTo>
                  <a:pt x="57" y="267"/>
                  <a:pt x="65" y="259"/>
                  <a:pt x="73" y="259"/>
                </a:cubicBezTo>
                <a:cubicBezTo>
                  <a:pt x="81" y="259"/>
                  <a:pt x="81" y="267"/>
                  <a:pt x="81" y="259"/>
                </a:cubicBezTo>
                <a:cubicBezTo>
                  <a:pt x="89" y="259"/>
                  <a:pt x="89" y="228"/>
                  <a:pt x="89" y="228"/>
                </a:cubicBezTo>
                <a:lnTo>
                  <a:pt x="89" y="212"/>
                </a:lnTo>
                <a:lnTo>
                  <a:pt x="105" y="212"/>
                </a:lnTo>
                <a:lnTo>
                  <a:pt x="177" y="236"/>
                </a:lnTo>
                <a:lnTo>
                  <a:pt x="258" y="243"/>
                </a:lnTo>
                <a:lnTo>
                  <a:pt x="347" y="243"/>
                </a:lnTo>
                <a:lnTo>
                  <a:pt x="371" y="228"/>
                </a:lnTo>
                <a:lnTo>
                  <a:pt x="387" y="204"/>
                </a:lnTo>
                <a:lnTo>
                  <a:pt x="419" y="196"/>
                </a:lnTo>
                <a:lnTo>
                  <a:pt x="427" y="181"/>
                </a:lnTo>
                <a:lnTo>
                  <a:pt x="443" y="149"/>
                </a:lnTo>
                <a:lnTo>
                  <a:pt x="466" y="134"/>
                </a:lnTo>
                <a:lnTo>
                  <a:pt x="515" y="134"/>
                </a:lnTo>
                <a:lnTo>
                  <a:pt x="571" y="118"/>
                </a:lnTo>
                <a:lnTo>
                  <a:pt x="611" y="134"/>
                </a:lnTo>
                <a:lnTo>
                  <a:pt x="659" y="102"/>
                </a:lnTo>
                <a:lnTo>
                  <a:pt x="684" y="94"/>
                </a:lnTo>
                <a:lnTo>
                  <a:pt x="724" y="79"/>
                </a:lnTo>
                <a:lnTo>
                  <a:pt x="772" y="110"/>
                </a:lnTo>
                <a:lnTo>
                  <a:pt x="764" y="63"/>
                </a:lnTo>
                <a:lnTo>
                  <a:pt x="772" y="32"/>
                </a:lnTo>
                <a:lnTo>
                  <a:pt x="804" y="16"/>
                </a:lnTo>
                <a:lnTo>
                  <a:pt x="812" y="16"/>
                </a:lnTo>
                <a:lnTo>
                  <a:pt x="845" y="0"/>
                </a:lnTo>
                <a:lnTo>
                  <a:pt x="861" y="16"/>
                </a:lnTo>
                <a:lnTo>
                  <a:pt x="869" y="32"/>
                </a:lnTo>
                <a:lnTo>
                  <a:pt x="869" y="39"/>
                </a:lnTo>
                <a:lnTo>
                  <a:pt x="869" y="47"/>
                </a:lnTo>
                <a:lnTo>
                  <a:pt x="877" y="55"/>
                </a:lnTo>
                <a:lnTo>
                  <a:pt x="885" y="63"/>
                </a:lnTo>
                <a:lnTo>
                  <a:pt x="893" y="79"/>
                </a:lnTo>
                <a:lnTo>
                  <a:pt x="893" y="94"/>
                </a:lnTo>
                <a:lnTo>
                  <a:pt x="941" y="149"/>
                </a:lnTo>
                <a:lnTo>
                  <a:pt x="925" y="149"/>
                </a:lnTo>
                <a:lnTo>
                  <a:pt x="901" y="149"/>
                </a:lnTo>
                <a:cubicBezTo>
                  <a:pt x="901" y="149"/>
                  <a:pt x="893" y="157"/>
                  <a:pt x="885" y="157"/>
                </a:cubicBezTo>
                <a:lnTo>
                  <a:pt x="877" y="173"/>
                </a:lnTo>
                <a:lnTo>
                  <a:pt x="869" y="181"/>
                </a:lnTo>
                <a:lnTo>
                  <a:pt x="877" y="189"/>
                </a:lnTo>
                <a:cubicBezTo>
                  <a:pt x="893" y="220"/>
                  <a:pt x="901" y="220"/>
                  <a:pt x="861" y="212"/>
                </a:cubicBezTo>
                <a:lnTo>
                  <a:pt x="845" y="204"/>
                </a:lnTo>
                <a:lnTo>
                  <a:pt x="837" y="212"/>
                </a:lnTo>
                <a:lnTo>
                  <a:pt x="820" y="220"/>
                </a:lnTo>
                <a:lnTo>
                  <a:pt x="820" y="236"/>
                </a:lnTo>
                <a:lnTo>
                  <a:pt x="812" y="251"/>
                </a:lnTo>
                <a:lnTo>
                  <a:pt x="796" y="259"/>
                </a:lnTo>
                <a:lnTo>
                  <a:pt x="780" y="267"/>
                </a:lnTo>
                <a:lnTo>
                  <a:pt x="772" y="275"/>
                </a:lnTo>
                <a:lnTo>
                  <a:pt x="756" y="275"/>
                </a:lnTo>
                <a:lnTo>
                  <a:pt x="740" y="283"/>
                </a:lnTo>
                <a:lnTo>
                  <a:pt x="732" y="298"/>
                </a:lnTo>
                <a:lnTo>
                  <a:pt x="716" y="298"/>
                </a:lnTo>
                <a:lnTo>
                  <a:pt x="692" y="306"/>
                </a:lnTo>
                <a:lnTo>
                  <a:pt x="692" y="322"/>
                </a:lnTo>
                <a:lnTo>
                  <a:pt x="684" y="330"/>
                </a:lnTo>
                <a:lnTo>
                  <a:pt x="684" y="353"/>
                </a:lnTo>
                <a:lnTo>
                  <a:pt x="700" y="361"/>
                </a:lnTo>
                <a:lnTo>
                  <a:pt x="708" y="369"/>
                </a:lnTo>
                <a:lnTo>
                  <a:pt x="716" y="377"/>
                </a:lnTo>
                <a:lnTo>
                  <a:pt x="724" y="385"/>
                </a:lnTo>
                <a:cubicBezTo>
                  <a:pt x="716" y="385"/>
                  <a:pt x="716" y="408"/>
                  <a:pt x="716" y="408"/>
                </a:cubicBezTo>
                <a:lnTo>
                  <a:pt x="724" y="432"/>
                </a:lnTo>
                <a:lnTo>
                  <a:pt x="716" y="440"/>
                </a:lnTo>
                <a:lnTo>
                  <a:pt x="724" y="455"/>
                </a:lnTo>
                <a:cubicBezTo>
                  <a:pt x="724" y="455"/>
                  <a:pt x="732" y="455"/>
                  <a:pt x="724" y="463"/>
                </a:cubicBezTo>
                <a:cubicBezTo>
                  <a:pt x="716" y="463"/>
                  <a:pt x="708" y="471"/>
                  <a:pt x="708" y="471"/>
                </a:cubicBezTo>
                <a:lnTo>
                  <a:pt x="692" y="471"/>
                </a:lnTo>
                <a:lnTo>
                  <a:pt x="676" y="471"/>
                </a:lnTo>
                <a:lnTo>
                  <a:pt x="667" y="487"/>
                </a:lnTo>
                <a:lnTo>
                  <a:pt x="651" y="479"/>
                </a:lnTo>
                <a:lnTo>
                  <a:pt x="651" y="495"/>
                </a:lnTo>
                <a:lnTo>
                  <a:pt x="627" y="502"/>
                </a:lnTo>
                <a:lnTo>
                  <a:pt x="611" y="510"/>
                </a:lnTo>
                <a:lnTo>
                  <a:pt x="603" y="526"/>
                </a:lnTo>
                <a:lnTo>
                  <a:pt x="611" y="534"/>
                </a:lnTo>
                <a:cubicBezTo>
                  <a:pt x="611" y="534"/>
                  <a:pt x="619" y="542"/>
                  <a:pt x="619" y="534"/>
                </a:cubicBezTo>
                <a:lnTo>
                  <a:pt x="619" y="526"/>
                </a:lnTo>
                <a:lnTo>
                  <a:pt x="635" y="542"/>
                </a:lnTo>
                <a:lnTo>
                  <a:pt x="643" y="557"/>
                </a:lnTo>
                <a:lnTo>
                  <a:pt x="627" y="557"/>
                </a:lnTo>
                <a:lnTo>
                  <a:pt x="619" y="565"/>
                </a:lnTo>
                <a:lnTo>
                  <a:pt x="611" y="573"/>
                </a:lnTo>
                <a:lnTo>
                  <a:pt x="611" y="589"/>
                </a:lnTo>
                <a:lnTo>
                  <a:pt x="611" y="597"/>
                </a:lnTo>
                <a:cubicBezTo>
                  <a:pt x="619" y="597"/>
                  <a:pt x="627" y="612"/>
                  <a:pt x="627" y="612"/>
                </a:cubicBezTo>
                <a:lnTo>
                  <a:pt x="635" y="620"/>
                </a:lnTo>
                <a:lnTo>
                  <a:pt x="635" y="628"/>
                </a:lnTo>
                <a:cubicBezTo>
                  <a:pt x="635" y="628"/>
                  <a:pt x="627" y="636"/>
                  <a:pt x="619" y="636"/>
                </a:cubicBezTo>
                <a:lnTo>
                  <a:pt x="603" y="636"/>
                </a:lnTo>
                <a:lnTo>
                  <a:pt x="595" y="652"/>
                </a:lnTo>
                <a:lnTo>
                  <a:pt x="579" y="652"/>
                </a:lnTo>
                <a:cubicBezTo>
                  <a:pt x="579" y="652"/>
                  <a:pt x="595" y="659"/>
                  <a:pt x="579" y="652"/>
                </a:cubicBezTo>
                <a:cubicBezTo>
                  <a:pt x="555" y="644"/>
                  <a:pt x="555" y="636"/>
                  <a:pt x="555" y="636"/>
                </a:cubicBezTo>
                <a:lnTo>
                  <a:pt x="547" y="628"/>
                </a:lnTo>
                <a:lnTo>
                  <a:pt x="531" y="628"/>
                </a:lnTo>
                <a:lnTo>
                  <a:pt x="515" y="628"/>
                </a:lnTo>
                <a:lnTo>
                  <a:pt x="507" y="620"/>
                </a:lnTo>
                <a:lnTo>
                  <a:pt x="498" y="636"/>
                </a:lnTo>
                <a:cubicBezTo>
                  <a:pt x="498" y="636"/>
                  <a:pt x="498" y="644"/>
                  <a:pt x="490" y="644"/>
                </a:cubicBezTo>
                <a:cubicBezTo>
                  <a:pt x="482" y="652"/>
                  <a:pt x="490" y="652"/>
                  <a:pt x="482" y="652"/>
                </a:cubicBezTo>
                <a:cubicBezTo>
                  <a:pt x="466" y="652"/>
                  <a:pt x="459" y="636"/>
                  <a:pt x="459" y="636"/>
                </a:cubicBezTo>
                <a:lnTo>
                  <a:pt x="443" y="628"/>
                </a:lnTo>
                <a:lnTo>
                  <a:pt x="435" y="620"/>
                </a:lnTo>
                <a:cubicBezTo>
                  <a:pt x="427" y="620"/>
                  <a:pt x="427" y="628"/>
                  <a:pt x="427" y="612"/>
                </a:cubicBezTo>
                <a:lnTo>
                  <a:pt x="427" y="604"/>
                </a:lnTo>
                <a:cubicBezTo>
                  <a:pt x="419" y="597"/>
                  <a:pt x="419" y="604"/>
                  <a:pt x="411" y="597"/>
                </a:cubicBezTo>
                <a:cubicBezTo>
                  <a:pt x="411" y="589"/>
                  <a:pt x="403" y="581"/>
                  <a:pt x="403" y="581"/>
                </a:cubicBezTo>
                <a:lnTo>
                  <a:pt x="395" y="565"/>
                </a:lnTo>
                <a:lnTo>
                  <a:pt x="395" y="573"/>
                </a:lnTo>
                <a:cubicBezTo>
                  <a:pt x="387" y="581"/>
                  <a:pt x="379" y="581"/>
                  <a:pt x="379" y="581"/>
                </a:cubicBezTo>
                <a:cubicBezTo>
                  <a:pt x="379" y="589"/>
                  <a:pt x="371" y="597"/>
                  <a:pt x="371" y="597"/>
                </a:cubicBezTo>
                <a:cubicBezTo>
                  <a:pt x="371" y="597"/>
                  <a:pt x="363" y="604"/>
                  <a:pt x="363" y="612"/>
                </a:cubicBezTo>
                <a:cubicBezTo>
                  <a:pt x="371" y="612"/>
                  <a:pt x="371" y="612"/>
                  <a:pt x="371" y="620"/>
                </a:cubicBezTo>
                <a:lnTo>
                  <a:pt x="363" y="628"/>
                </a:lnTo>
                <a:cubicBezTo>
                  <a:pt x="355" y="636"/>
                  <a:pt x="355" y="636"/>
                  <a:pt x="347" y="636"/>
                </a:cubicBezTo>
                <a:cubicBezTo>
                  <a:pt x="347" y="644"/>
                  <a:pt x="330" y="652"/>
                  <a:pt x="330" y="652"/>
                </a:cubicBezTo>
                <a:lnTo>
                  <a:pt x="314" y="652"/>
                </a:lnTo>
                <a:lnTo>
                  <a:pt x="290" y="644"/>
                </a:lnTo>
                <a:lnTo>
                  <a:pt x="274" y="659"/>
                </a:lnTo>
                <a:lnTo>
                  <a:pt x="266" y="659"/>
                </a:lnTo>
                <a:lnTo>
                  <a:pt x="250" y="659"/>
                </a:lnTo>
                <a:cubicBezTo>
                  <a:pt x="250" y="659"/>
                  <a:pt x="242" y="652"/>
                  <a:pt x="234" y="652"/>
                </a:cubicBezTo>
                <a:lnTo>
                  <a:pt x="226" y="652"/>
                </a:lnTo>
                <a:lnTo>
                  <a:pt x="210" y="652"/>
                </a:lnTo>
                <a:lnTo>
                  <a:pt x="210" y="659"/>
                </a:lnTo>
                <a:lnTo>
                  <a:pt x="218" y="659"/>
                </a:lnTo>
                <a:lnTo>
                  <a:pt x="218" y="675"/>
                </a:lnTo>
                <a:lnTo>
                  <a:pt x="210" y="675"/>
                </a:lnTo>
                <a:cubicBezTo>
                  <a:pt x="210" y="683"/>
                  <a:pt x="194" y="683"/>
                  <a:pt x="194" y="683"/>
                </a:cubicBezTo>
                <a:lnTo>
                  <a:pt x="194" y="691"/>
                </a:lnTo>
                <a:lnTo>
                  <a:pt x="186" y="691"/>
                </a:lnTo>
                <a:lnTo>
                  <a:pt x="169" y="691"/>
                </a:lnTo>
                <a:cubicBezTo>
                  <a:pt x="169" y="683"/>
                  <a:pt x="161" y="683"/>
                  <a:pt x="153" y="683"/>
                </a:cubicBezTo>
                <a:lnTo>
                  <a:pt x="129" y="675"/>
                </a:lnTo>
                <a:lnTo>
                  <a:pt x="121" y="683"/>
                </a:lnTo>
                <a:cubicBezTo>
                  <a:pt x="113" y="683"/>
                  <a:pt x="105" y="683"/>
                  <a:pt x="97" y="675"/>
                </a:cubicBezTo>
                <a:lnTo>
                  <a:pt x="89" y="675"/>
                </a:lnTo>
                <a:lnTo>
                  <a:pt x="89" y="659"/>
                </a:lnTo>
                <a:cubicBezTo>
                  <a:pt x="89" y="659"/>
                  <a:pt x="81" y="652"/>
                  <a:pt x="89" y="652"/>
                </a:cubicBezTo>
                <a:lnTo>
                  <a:pt x="105" y="652"/>
                </a:lnTo>
                <a:cubicBezTo>
                  <a:pt x="113" y="652"/>
                  <a:pt x="121" y="652"/>
                  <a:pt x="121" y="644"/>
                </a:cubicBezTo>
                <a:lnTo>
                  <a:pt x="129" y="644"/>
                </a:lnTo>
                <a:cubicBezTo>
                  <a:pt x="129" y="644"/>
                  <a:pt x="137" y="652"/>
                  <a:pt x="137" y="644"/>
                </a:cubicBezTo>
                <a:lnTo>
                  <a:pt x="137" y="636"/>
                </a:lnTo>
                <a:lnTo>
                  <a:pt x="129" y="628"/>
                </a:lnTo>
                <a:lnTo>
                  <a:pt x="137" y="620"/>
                </a:lnTo>
                <a:lnTo>
                  <a:pt x="169" y="620"/>
                </a:lnTo>
                <a:lnTo>
                  <a:pt x="177" y="612"/>
                </a:lnTo>
                <a:cubicBezTo>
                  <a:pt x="177" y="612"/>
                  <a:pt x="145" y="612"/>
                  <a:pt x="137" y="604"/>
                </a:cubicBezTo>
                <a:cubicBezTo>
                  <a:pt x="121" y="589"/>
                  <a:pt x="105" y="581"/>
                  <a:pt x="105" y="549"/>
                </a:cubicBezTo>
                <a:cubicBezTo>
                  <a:pt x="97" y="549"/>
                  <a:pt x="97" y="534"/>
                  <a:pt x="89" y="534"/>
                </a:cubicBezTo>
                <a:lnTo>
                  <a:pt x="73" y="526"/>
                </a:lnTo>
                <a:cubicBezTo>
                  <a:pt x="73" y="518"/>
                  <a:pt x="73" y="518"/>
                  <a:pt x="81" y="510"/>
                </a:cubicBezTo>
                <a:cubicBezTo>
                  <a:pt x="81" y="502"/>
                  <a:pt x="81" y="502"/>
                  <a:pt x="89" y="495"/>
                </a:cubicBezTo>
                <a:lnTo>
                  <a:pt x="89" y="479"/>
                </a:lnTo>
                <a:cubicBezTo>
                  <a:pt x="89" y="479"/>
                  <a:pt x="97" y="471"/>
                  <a:pt x="89" y="471"/>
                </a:cubicBezTo>
                <a:cubicBezTo>
                  <a:pt x="89" y="463"/>
                  <a:pt x="81" y="455"/>
                  <a:pt x="81" y="455"/>
                </a:cubicBezTo>
                <a:lnTo>
                  <a:pt x="73" y="455"/>
                </a:lnTo>
                <a:lnTo>
                  <a:pt x="73" y="463"/>
                </a:lnTo>
                <a:lnTo>
                  <a:pt x="57" y="471"/>
                </a:lnTo>
                <a:lnTo>
                  <a:pt x="49" y="455"/>
                </a:lnTo>
                <a:cubicBezTo>
                  <a:pt x="41" y="455"/>
                  <a:pt x="41" y="455"/>
                  <a:pt x="41" y="447"/>
                </a:cubicBezTo>
                <a:lnTo>
                  <a:pt x="49" y="440"/>
                </a:lnTo>
                <a:lnTo>
                  <a:pt x="41" y="432"/>
                </a:lnTo>
                <a:cubicBezTo>
                  <a:pt x="41" y="432"/>
                  <a:pt x="49" y="416"/>
                  <a:pt x="57" y="416"/>
                </a:cubicBezTo>
                <a:cubicBezTo>
                  <a:pt x="65" y="408"/>
                  <a:pt x="81" y="393"/>
                  <a:pt x="81" y="393"/>
                </a:cubicBezTo>
                <a:lnTo>
                  <a:pt x="89" y="377"/>
                </a:lnTo>
                <a:lnTo>
                  <a:pt x="81" y="369"/>
                </a:lnTo>
                <a:lnTo>
                  <a:pt x="73" y="37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8" name="Freeform 20">
            <a:extLst>
              <a:ext uri="{FF2B5EF4-FFF2-40B4-BE49-F238E27FC236}">
                <a16:creationId xmlns:a16="http://schemas.microsoft.com/office/drawing/2014/main" id="{5746A5B2-D5FF-F4F3-7353-F5C62DEF755E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572724" y="4551588"/>
            <a:ext cx="760711" cy="684640"/>
          </a:xfrm>
          <a:custGeom>
            <a:avLst/>
            <a:gdLst>
              <a:gd name="T0" fmla="*/ 294 w 1852"/>
              <a:gd name="T1" fmla="*/ 702 h 1665"/>
              <a:gd name="T2" fmla="*/ 318 w 1852"/>
              <a:gd name="T3" fmla="*/ 780 h 1665"/>
              <a:gd name="T4" fmla="*/ 327 w 1852"/>
              <a:gd name="T5" fmla="*/ 891 h 1665"/>
              <a:gd name="T6" fmla="*/ 310 w 1852"/>
              <a:gd name="T7" fmla="*/ 883 h 1665"/>
              <a:gd name="T8" fmla="*/ 269 w 1852"/>
              <a:gd name="T9" fmla="*/ 765 h 1665"/>
              <a:gd name="T10" fmla="*/ 269 w 1852"/>
              <a:gd name="T11" fmla="*/ 851 h 1665"/>
              <a:gd name="T12" fmla="*/ 415 w 1852"/>
              <a:gd name="T13" fmla="*/ 985 h 1665"/>
              <a:gd name="T14" fmla="*/ 456 w 1852"/>
              <a:gd name="T15" fmla="*/ 922 h 1665"/>
              <a:gd name="T16" fmla="*/ 400 w 1852"/>
              <a:gd name="T17" fmla="*/ 772 h 1665"/>
              <a:gd name="T18" fmla="*/ 407 w 1852"/>
              <a:gd name="T19" fmla="*/ 741 h 1665"/>
              <a:gd name="T20" fmla="*/ 929 w 1852"/>
              <a:gd name="T21" fmla="*/ 1324 h 1665"/>
              <a:gd name="T22" fmla="*/ 1093 w 1852"/>
              <a:gd name="T23" fmla="*/ 1364 h 1665"/>
              <a:gd name="T24" fmla="*/ 1199 w 1852"/>
              <a:gd name="T25" fmla="*/ 1411 h 1665"/>
              <a:gd name="T26" fmla="*/ 1133 w 1852"/>
              <a:gd name="T27" fmla="*/ 1419 h 1665"/>
              <a:gd name="T28" fmla="*/ 921 w 1852"/>
              <a:gd name="T29" fmla="*/ 1490 h 1665"/>
              <a:gd name="T30" fmla="*/ 872 w 1852"/>
              <a:gd name="T31" fmla="*/ 1545 h 1665"/>
              <a:gd name="T32" fmla="*/ 1296 w 1852"/>
              <a:gd name="T33" fmla="*/ 1545 h 1665"/>
              <a:gd name="T34" fmla="*/ 1435 w 1852"/>
              <a:gd name="T35" fmla="*/ 1498 h 1665"/>
              <a:gd name="T36" fmla="*/ 1607 w 1852"/>
              <a:gd name="T37" fmla="*/ 1616 h 1665"/>
              <a:gd name="T38" fmla="*/ 1778 w 1852"/>
              <a:gd name="T39" fmla="*/ 615 h 1665"/>
              <a:gd name="T40" fmla="*/ 1810 w 1852"/>
              <a:gd name="T41" fmla="*/ 489 h 1665"/>
              <a:gd name="T42" fmla="*/ 1713 w 1852"/>
              <a:gd name="T43" fmla="*/ 362 h 1665"/>
              <a:gd name="T44" fmla="*/ 1525 w 1852"/>
              <a:gd name="T45" fmla="*/ 260 h 1665"/>
              <a:gd name="T46" fmla="*/ 1158 w 1852"/>
              <a:gd name="T47" fmla="*/ 205 h 1665"/>
              <a:gd name="T48" fmla="*/ 848 w 1852"/>
              <a:gd name="T49" fmla="*/ 0 h 1665"/>
              <a:gd name="T50" fmla="*/ 717 w 1852"/>
              <a:gd name="T51" fmla="*/ 126 h 1665"/>
              <a:gd name="T52" fmla="*/ 660 w 1852"/>
              <a:gd name="T53" fmla="*/ 260 h 1665"/>
              <a:gd name="T54" fmla="*/ 546 w 1852"/>
              <a:gd name="T55" fmla="*/ 378 h 1665"/>
              <a:gd name="T56" fmla="*/ 578 w 1852"/>
              <a:gd name="T57" fmla="*/ 481 h 1665"/>
              <a:gd name="T58" fmla="*/ 423 w 1852"/>
              <a:gd name="T59" fmla="*/ 504 h 1665"/>
              <a:gd name="T60" fmla="*/ 310 w 1852"/>
              <a:gd name="T61" fmla="*/ 473 h 1665"/>
              <a:gd name="T62" fmla="*/ 155 w 1852"/>
              <a:gd name="T63" fmla="*/ 512 h 1665"/>
              <a:gd name="T64" fmla="*/ 0 w 1852"/>
              <a:gd name="T65" fmla="*/ 528 h 1665"/>
              <a:gd name="T66" fmla="*/ 65 w 1852"/>
              <a:gd name="T67" fmla="*/ 709 h 1665"/>
              <a:gd name="T68" fmla="*/ 188 w 1852"/>
              <a:gd name="T69" fmla="*/ 765 h 1665"/>
              <a:gd name="T70" fmla="*/ 335 w 1852"/>
              <a:gd name="T71" fmla="*/ 615 h 1665"/>
              <a:gd name="T72" fmla="*/ 423 w 1852"/>
              <a:gd name="T73" fmla="*/ 717 h 1665"/>
              <a:gd name="T74" fmla="*/ 497 w 1852"/>
              <a:gd name="T75" fmla="*/ 883 h 1665"/>
              <a:gd name="T76" fmla="*/ 497 w 1852"/>
              <a:gd name="T77" fmla="*/ 883 h 1665"/>
              <a:gd name="T78" fmla="*/ 513 w 1852"/>
              <a:gd name="T79" fmla="*/ 946 h 1665"/>
              <a:gd name="T80" fmla="*/ 562 w 1852"/>
              <a:gd name="T81" fmla="*/ 1001 h 1665"/>
              <a:gd name="T82" fmla="*/ 619 w 1852"/>
              <a:gd name="T83" fmla="*/ 1135 h 1665"/>
              <a:gd name="T84" fmla="*/ 546 w 1852"/>
              <a:gd name="T85" fmla="*/ 1104 h 1665"/>
              <a:gd name="T86" fmla="*/ 407 w 1852"/>
              <a:gd name="T87" fmla="*/ 1001 h 1665"/>
              <a:gd name="T88" fmla="*/ 513 w 1852"/>
              <a:gd name="T89" fmla="*/ 1088 h 1665"/>
              <a:gd name="T90" fmla="*/ 611 w 1852"/>
              <a:gd name="T91" fmla="*/ 1190 h 1665"/>
              <a:gd name="T92" fmla="*/ 619 w 1852"/>
              <a:gd name="T93" fmla="*/ 1167 h 1665"/>
              <a:gd name="T94" fmla="*/ 717 w 1852"/>
              <a:gd name="T95" fmla="*/ 1190 h 1665"/>
              <a:gd name="T96" fmla="*/ 750 w 1852"/>
              <a:gd name="T97" fmla="*/ 1238 h 1665"/>
              <a:gd name="T98" fmla="*/ 872 w 1852"/>
              <a:gd name="T99" fmla="*/ 1301 h 1665"/>
              <a:gd name="T100" fmla="*/ 1158 w 1852"/>
              <a:gd name="T101" fmla="*/ 1340 h 1665"/>
              <a:gd name="T102" fmla="*/ 1248 w 1852"/>
              <a:gd name="T103" fmla="*/ 1451 h 1665"/>
              <a:gd name="T104" fmla="*/ 1174 w 1852"/>
              <a:gd name="T105" fmla="*/ 1498 h 1665"/>
              <a:gd name="T106" fmla="*/ 1460 w 1852"/>
              <a:gd name="T107" fmla="*/ 1561 h 1665"/>
              <a:gd name="T108" fmla="*/ 1419 w 1852"/>
              <a:gd name="T109" fmla="*/ 1458 h 1665"/>
              <a:gd name="T110" fmla="*/ 1256 w 1852"/>
              <a:gd name="T111" fmla="*/ 1309 h 1665"/>
              <a:gd name="T112" fmla="*/ 1019 w 1852"/>
              <a:gd name="T113" fmla="*/ 1119 h 1665"/>
              <a:gd name="T114" fmla="*/ 848 w 1852"/>
              <a:gd name="T115" fmla="*/ 883 h 1665"/>
              <a:gd name="T116" fmla="*/ 709 w 1852"/>
              <a:gd name="T117" fmla="*/ 702 h 1665"/>
              <a:gd name="T118" fmla="*/ 889 w 1852"/>
              <a:gd name="T119" fmla="*/ 623 h 1665"/>
              <a:gd name="T120" fmla="*/ 1150 w 1852"/>
              <a:gd name="T121" fmla="*/ 560 h 1665"/>
              <a:gd name="T122" fmla="*/ 1427 w 1852"/>
              <a:gd name="T123" fmla="*/ 536 h 1665"/>
              <a:gd name="T124" fmla="*/ 1664 w 1852"/>
              <a:gd name="T125" fmla="*/ 607 h 16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52" h="1665">
                <a:moveTo>
                  <a:pt x="269" y="702"/>
                </a:moveTo>
                <a:cubicBezTo>
                  <a:pt x="269" y="702"/>
                  <a:pt x="261" y="694"/>
                  <a:pt x="261" y="686"/>
                </a:cubicBezTo>
                <a:lnTo>
                  <a:pt x="261" y="678"/>
                </a:lnTo>
                <a:cubicBezTo>
                  <a:pt x="261" y="670"/>
                  <a:pt x="253" y="670"/>
                  <a:pt x="253" y="662"/>
                </a:cubicBezTo>
                <a:cubicBezTo>
                  <a:pt x="261" y="662"/>
                  <a:pt x="261" y="654"/>
                  <a:pt x="261" y="654"/>
                </a:cubicBezTo>
                <a:cubicBezTo>
                  <a:pt x="269" y="646"/>
                  <a:pt x="278" y="646"/>
                  <a:pt x="278" y="654"/>
                </a:cubicBezTo>
                <a:lnTo>
                  <a:pt x="278" y="670"/>
                </a:lnTo>
                <a:lnTo>
                  <a:pt x="278" y="678"/>
                </a:lnTo>
                <a:cubicBezTo>
                  <a:pt x="278" y="686"/>
                  <a:pt x="286" y="686"/>
                  <a:pt x="286" y="686"/>
                </a:cubicBezTo>
                <a:lnTo>
                  <a:pt x="286" y="702"/>
                </a:lnTo>
                <a:lnTo>
                  <a:pt x="269" y="702"/>
                </a:lnTo>
                <a:close/>
                <a:moveTo>
                  <a:pt x="278" y="702"/>
                </a:moveTo>
                <a:lnTo>
                  <a:pt x="294" y="702"/>
                </a:lnTo>
                <a:lnTo>
                  <a:pt x="294" y="717"/>
                </a:lnTo>
                <a:cubicBezTo>
                  <a:pt x="302" y="717"/>
                  <a:pt x="302" y="725"/>
                  <a:pt x="302" y="725"/>
                </a:cubicBezTo>
                <a:lnTo>
                  <a:pt x="310" y="725"/>
                </a:lnTo>
                <a:cubicBezTo>
                  <a:pt x="310" y="725"/>
                  <a:pt x="318" y="717"/>
                  <a:pt x="318" y="725"/>
                </a:cubicBezTo>
                <a:cubicBezTo>
                  <a:pt x="327" y="725"/>
                  <a:pt x="335" y="717"/>
                  <a:pt x="335" y="717"/>
                </a:cubicBezTo>
                <a:lnTo>
                  <a:pt x="343" y="725"/>
                </a:lnTo>
                <a:cubicBezTo>
                  <a:pt x="343" y="733"/>
                  <a:pt x="335" y="741"/>
                  <a:pt x="335" y="741"/>
                </a:cubicBezTo>
                <a:cubicBezTo>
                  <a:pt x="327" y="741"/>
                  <a:pt x="318" y="733"/>
                  <a:pt x="318" y="733"/>
                </a:cubicBezTo>
                <a:cubicBezTo>
                  <a:pt x="318" y="733"/>
                  <a:pt x="310" y="725"/>
                  <a:pt x="310" y="733"/>
                </a:cubicBezTo>
                <a:lnTo>
                  <a:pt x="310" y="749"/>
                </a:lnTo>
                <a:cubicBezTo>
                  <a:pt x="318" y="749"/>
                  <a:pt x="318" y="749"/>
                  <a:pt x="318" y="757"/>
                </a:cubicBezTo>
                <a:cubicBezTo>
                  <a:pt x="310" y="757"/>
                  <a:pt x="310" y="765"/>
                  <a:pt x="310" y="765"/>
                </a:cubicBezTo>
                <a:cubicBezTo>
                  <a:pt x="310" y="772"/>
                  <a:pt x="318" y="780"/>
                  <a:pt x="318" y="780"/>
                </a:cubicBezTo>
                <a:lnTo>
                  <a:pt x="318" y="788"/>
                </a:lnTo>
                <a:lnTo>
                  <a:pt x="327" y="796"/>
                </a:lnTo>
                <a:lnTo>
                  <a:pt x="327" y="812"/>
                </a:lnTo>
                <a:lnTo>
                  <a:pt x="335" y="820"/>
                </a:lnTo>
                <a:lnTo>
                  <a:pt x="327" y="836"/>
                </a:lnTo>
                <a:lnTo>
                  <a:pt x="335" y="843"/>
                </a:lnTo>
                <a:cubicBezTo>
                  <a:pt x="335" y="851"/>
                  <a:pt x="351" y="859"/>
                  <a:pt x="351" y="867"/>
                </a:cubicBezTo>
                <a:cubicBezTo>
                  <a:pt x="351" y="867"/>
                  <a:pt x="351" y="883"/>
                  <a:pt x="343" y="883"/>
                </a:cubicBezTo>
                <a:cubicBezTo>
                  <a:pt x="343" y="883"/>
                  <a:pt x="335" y="891"/>
                  <a:pt x="335" y="883"/>
                </a:cubicBezTo>
                <a:cubicBezTo>
                  <a:pt x="327" y="875"/>
                  <a:pt x="318" y="859"/>
                  <a:pt x="318" y="859"/>
                </a:cubicBezTo>
                <a:cubicBezTo>
                  <a:pt x="318" y="867"/>
                  <a:pt x="310" y="875"/>
                  <a:pt x="310" y="875"/>
                </a:cubicBezTo>
                <a:cubicBezTo>
                  <a:pt x="310" y="883"/>
                  <a:pt x="327" y="891"/>
                  <a:pt x="327" y="891"/>
                </a:cubicBezTo>
                <a:cubicBezTo>
                  <a:pt x="327" y="891"/>
                  <a:pt x="318" y="875"/>
                  <a:pt x="327" y="891"/>
                </a:cubicBezTo>
                <a:cubicBezTo>
                  <a:pt x="335" y="907"/>
                  <a:pt x="343" y="914"/>
                  <a:pt x="343" y="914"/>
                </a:cubicBezTo>
                <a:cubicBezTo>
                  <a:pt x="343" y="914"/>
                  <a:pt x="351" y="922"/>
                  <a:pt x="359" y="922"/>
                </a:cubicBezTo>
                <a:cubicBezTo>
                  <a:pt x="359" y="930"/>
                  <a:pt x="359" y="930"/>
                  <a:pt x="367" y="938"/>
                </a:cubicBezTo>
                <a:cubicBezTo>
                  <a:pt x="367" y="938"/>
                  <a:pt x="375" y="946"/>
                  <a:pt x="367" y="946"/>
                </a:cubicBezTo>
                <a:cubicBezTo>
                  <a:pt x="359" y="954"/>
                  <a:pt x="367" y="954"/>
                  <a:pt x="359" y="954"/>
                </a:cubicBezTo>
                <a:cubicBezTo>
                  <a:pt x="359" y="946"/>
                  <a:pt x="351" y="946"/>
                  <a:pt x="351" y="938"/>
                </a:cubicBezTo>
                <a:cubicBezTo>
                  <a:pt x="351" y="930"/>
                  <a:pt x="343" y="922"/>
                  <a:pt x="343" y="914"/>
                </a:cubicBezTo>
                <a:cubicBezTo>
                  <a:pt x="335" y="914"/>
                  <a:pt x="327" y="907"/>
                  <a:pt x="327" y="907"/>
                </a:cubicBezTo>
                <a:cubicBezTo>
                  <a:pt x="318" y="907"/>
                  <a:pt x="318" y="899"/>
                  <a:pt x="318" y="899"/>
                </a:cubicBezTo>
                <a:lnTo>
                  <a:pt x="310" y="899"/>
                </a:lnTo>
                <a:lnTo>
                  <a:pt x="294" y="899"/>
                </a:lnTo>
                <a:cubicBezTo>
                  <a:pt x="294" y="891"/>
                  <a:pt x="294" y="891"/>
                  <a:pt x="302" y="883"/>
                </a:cubicBezTo>
                <a:lnTo>
                  <a:pt x="310" y="883"/>
                </a:lnTo>
                <a:lnTo>
                  <a:pt x="302" y="875"/>
                </a:lnTo>
                <a:lnTo>
                  <a:pt x="302" y="867"/>
                </a:lnTo>
                <a:cubicBezTo>
                  <a:pt x="294" y="867"/>
                  <a:pt x="294" y="875"/>
                  <a:pt x="294" y="867"/>
                </a:cubicBezTo>
                <a:lnTo>
                  <a:pt x="294" y="836"/>
                </a:lnTo>
                <a:lnTo>
                  <a:pt x="302" y="843"/>
                </a:lnTo>
                <a:lnTo>
                  <a:pt x="310" y="828"/>
                </a:lnTo>
                <a:lnTo>
                  <a:pt x="302" y="828"/>
                </a:lnTo>
                <a:cubicBezTo>
                  <a:pt x="294" y="828"/>
                  <a:pt x="294" y="812"/>
                  <a:pt x="294" y="812"/>
                </a:cubicBezTo>
                <a:lnTo>
                  <a:pt x="294" y="804"/>
                </a:lnTo>
                <a:cubicBezTo>
                  <a:pt x="294" y="804"/>
                  <a:pt x="286" y="804"/>
                  <a:pt x="286" y="796"/>
                </a:cubicBezTo>
                <a:cubicBezTo>
                  <a:pt x="278" y="788"/>
                  <a:pt x="278" y="780"/>
                  <a:pt x="278" y="780"/>
                </a:cubicBezTo>
                <a:cubicBezTo>
                  <a:pt x="278" y="780"/>
                  <a:pt x="286" y="780"/>
                  <a:pt x="278" y="772"/>
                </a:cubicBezTo>
                <a:cubicBezTo>
                  <a:pt x="278" y="765"/>
                  <a:pt x="278" y="765"/>
                  <a:pt x="269" y="765"/>
                </a:cubicBezTo>
                <a:cubicBezTo>
                  <a:pt x="269" y="757"/>
                  <a:pt x="269" y="749"/>
                  <a:pt x="278" y="749"/>
                </a:cubicBezTo>
                <a:lnTo>
                  <a:pt x="286" y="749"/>
                </a:lnTo>
                <a:cubicBezTo>
                  <a:pt x="286" y="757"/>
                  <a:pt x="294" y="757"/>
                  <a:pt x="294" y="757"/>
                </a:cubicBezTo>
                <a:cubicBezTo>
                  <a:pt x="294" y="749"/>
                  <a:pt x="302" y="741"/>
                  <a:pt x="294" y="741"/>
                </a:cubicBezTo>
                <a:cubicBezTo>
                  <a:pt x="294" y="733"/>
                  <a:pt x="286" y="725"/>
                  <a:pt x="286" y="725"/>
                </a:cubicBezTo>
                <a:lnTo>
                  <a:pt x="278" y="717"/>
                </a:lnTo>
                <a:lnTo>
                  <a:pt x="278" y="702"/>
                </a:lnTo>
                <a:close/>
                <a:moveTo>
                  <a:pt x="278" y="883"/>
                </a:moveTo>
                <a:lnTo>
                  <a:pt x="261" y="883"/>
                </a:lnTo>
                <a:cubicBezTo>
                  <a:pt x="261" y="883"/>
                  <a:pt x="253" y="883"/>
                  <a:pt x="253" y="875"/>
                </a:cubicBezTo>
                <a:cubicBezTo>
                  <a:pt x="253" y="875"/>
                  <a:pt x="253" y="867"/>
                  <a:pt x="261" y="867"/>
                </a:cubicBezTo>
                <a:lnTo>
                  <a:pt x="261" y="851"/>
                </a:lnTo>
                <a:lnTo>
                  <a:pt x="269" y="851"/>
                </a:lnTo>
                <a:lnTo>
                  <a:pt x="278" y="859"/>
                </a:lnTo>
                <a:lnTo>
                  <a:pt x="278" y="883"/>
                </a:lnTo>
                <a:close/>
                <a:moveTo>
                  <a:pt x="278" y="914"/>
                </a:moveTo>
                <a:lnTo>
                  <a:pt x="286" y="914"/>
                </a:lnTo>
                <a:cubicBezTo>
                  <a:pt x="294" y="922"/>
                  <a:pt x="286" y="922"/>
                  <a:pt x="294" y="930"/>
                </a:cubicBezTo>
                <a:lnTo>
                  <a:pt x="286" y="938"/>
                </a:lnTo>
                <a:lnTo>
                  <a:pt x="278" y="930"/>
                </a:lnTo>
                <a:lnTo>
                  <a:pt x="278" y="914"/>
                </a:lnTo>
                <a:close/>
                <a:moveTo>
                  <a:pt x="400" y="954"/>
                </a:moveTo>
                <a:cubicBezTo>
                  <a:pt x="400" y="954"/>
                  <a:pt x="407" y="954"/>
                  <a:pt x="407" y="962"/>
                </a:cubicBezTo>
                <a:cubicBezTo>
                  <a:pt x="407" y="962"/>
                  <a:pt x="415" y="962"/>
                  <a:pt x="415" y="970"/>
                </a:cubicBezTo>
                <a:lnTo>
                  <a:pt x="415" y="978"/>
                </a:lnTo>
                <a:cubicBezTo>
                  <a:pt x="415" y="985"/>
                  <a:pt x="423" y="985"/>
                  <a:pt x="415" y="985"/>
                </a:cubicBezTo>
                <a:lnTo>
                  <a:pt x="407" y="978"/>
                </a:lnTo>
                <a:lnTo>
                  <a:pt x="400" y="970"/>
                </a:lnTo>
                <a:lnTo>
                  <a:pt x="400" y="954"/>
                </a:lnTo>
                <a:close/>
                <a:moveTo>
                  <a:pt x="432" y="954"/>
                </a:moveTo>
                <a:lnTo>
                  <a:pt x="432" y="946"/>
                </a:lnTo>
                <a:cubicBezTo>
                  <a:pt x="432" y="946"/>
                  <a:pt x="440" y="946"/>
                  <a:pt x="440" y="954"/>
                </a:cubicBezTo>
                <a:lnTo>
                  <a:pt x="448" y="962"/>
                </a:lnTo>
                <a:cubicBezTo>
                  <a:pt x="448" y="970"/>
                  <a:pt x="440" y="970"/>
                  <a:pt x="440" y="970"/>
                </a:cubicBezTo>
                <a:cubicBezTo>
                  <a:pt x="440" y="978"/>
                  <a:pt x="448" y="978"/>
                  <a:pt x="440" y="978"/>
                </a:cubicBezTo>
                <a:lnTo>
                  <a:pt x="432" y="978"/>
                </a:lnTo>
                <a:lnTo>
                  <a:pt x="432" y="954"/>
                </a:lnTo>
                <a:close/>
                <a:moveTo>
                  <a:pt x="448" y="922"/>
                </a:moveTo>
                <a:cubicBezTo>
                  <a:pt x="448" y="922"/>
                  <a:pt x="456" y="914"/>
                  <a:pt x="456" y="922"/>
                </a:cubicBezTo>
                <a:cubicBezTo>
                  <a:pt x="464" y="922"/>
                  <a:pt x="464" y="930"/>
                  <a:pt x="464" y="930"/>
                </a:cubicBezTo>
                <a:cubicBezTo>
                  <a:pt x="472" y="938"/>
                  <a:pt x="481" y="938"/>
                  <a:pt x="489" y="938"/>
                </a:cubicBezTo>
                <a:lnTo>
                  <a:pt x="489" y="954"/>
                </a:lnTo>
                <a:cubicBezTo>
                  <a:pt x="489" y="954"/>
                  <a:pt x="481" y="962"/>
                  <a:pt x="481" y="954"/>
                </a:cubicBezTo>
                <a:lnTo>
                  <a:pt x="472" y="946"/>
                </a:lnTo>
                <a:lnTo>
                  <a:pt x="464" y="938"/>
                </a:lnTo>
                <a:lnTo>
                  <a:pt x="448" y="922"/>
                </a:lnTo>
                <a:close/>
                <a:moveTo>
                  <a:pt x="415" y="812"/>
                </a:moveTo>
                <a:lnTo>
                  <a:pt x="407" y="812"/>
                </a:lnTo>
                <a:cubicBezTo>
                  <a:pt x="407" y="812"/>
                  <a:pt x="392" y="804"/>
                  <a:pt x="384" y="804"/>
                </a:cubicBezTo>
                <a:cubicBezTo>
                  <a:pt x="384" y="796"/>
                  <a:pt x="384" y="796"/>
                  <a:pt x="392" y="796"/>
                </a:cubicBezTo>
                <a:lnTo>
                  <a:pt x="392" y="780"/>
                </a:lnTo>
                <a:lnTo>
                  <a:pt x="400" y="772"/>
                </a:lnTo>
                <a:lnTo>
                  <a:pt x="407" y="772"/>
                </a:lnTo>
                <a:lnTo>
                  <a:pt x="407" y="765"/>
                </a:lnTo>
                <a:cubicBezTo>
                  <a:pt x="407" y="757"/>
                  <a:pt x="415" y="757"/>
                  <a:pt x="415" y="757"/>
                </a:cubicBezTo>
                <a:cubicBezTo>
                  <a:pt x="415" y="757"/>
                  <a:pt x="432" y="772"/>
                  <a:pt x="432" y="780"/>
                </a:cubicBezTo>
                <a:lnTo>
                  <a:pt x="407" y="780"/>
                </a:lnTo>
                <a:lnTo>
                  <a:pt x="415" y="796"/>
                </a:lnTo>
                <a:cubicBezTo>
                  <a:pt x="423" y="804"/>
                  <a:pt x="423" y="796"/>
                  <a:pt x="423" y="796"/>
                </a:cubicBezTo>
                <a:cubicBezTo>
                  <a:pt x="423" y="804"/>
                  <a:pt x="423" y="804"/>
                  <a:pt x="440" y="804"/>
                </a:cubicBezTo>
                <a:cubicBezTo>
                  <a:pt x="448" y="812"/>
                  <a:pt x="440" y="812"/>
                  <a:pt x="448" y="820"/>
                </a:cubicBezTo>
                <a:lnTo>
                  <a:pt x="440" y="828"/>
                </a:lnTo>
                <a:cubicBezTo>
                  <a:pt x="432" y="836"/>
                  <a:pt x="432" y="828"/>
                  <a:pt x="432" y="828"/>
                </a:cubicBezTo>
                <a:cubicBezTo>
                  <a:pt x="432" y="828"/>
                  <a:pt x="423" y="812"/>
                  <a:pt x="415" y="812"/>
                </a:cubicBezTo>
                <a:close/>
                <a:moveTo>
                  <a:pt x="407" y="741"/>
                </a:moveTo>
                <a:lnTo>
                  <a:pt x="407" y="733"/>
                </a:lnTo>
                <a:lnTo>
                  <a:pt x="415" y="733"/>
                </a:lnTo>
                <a:cubicBezTo>
                  <a:pt x="415" y="741"/>
                  <a:pt x="415" y="741"/>
                  <a:pt x="423" y="741"/>
                </a:cubicBezTo>
                <a:lnTo>
                  <a:pt x="432" y="741"/>
                </a:lnTo>
                <a:lnTo>
                  <a:pt x="432" y="749"/>
                </a:lnTo>
                <a:cubicBezTo>
                  <a:pt x="432" y="749"/>
                  <a:pt x="432" y="765"/>
                  <a:pt x="423" y="757"/>
                </a:cubicBezTo>
                <a:cubicBezTo>
                  <a:pt x="415" y="757"/>
                  <a:pt x="407" y="757"/>
                  <a:pt x="407" y="749"/>
                </a:cubicBezTo>
                <a:lnTo>
                  <a:pt x="407" y="741"/>
                </a:lnTo>
                <a:close/>
                <a:moveTo>
                  <a:pt x="978" y="1356"/>
                </a:moveTo>
                <a:lnTo>
                  <a:pt x="946" y="1340"/>
                </a:lnTo>
                <a:lnTo>
                  <a:pt x="921" y="1340"/>
                </a:lnTo>
                <a:cubicBezTo>
                  <a:pt x="921" y="1340"/>
                  <a:pt x="905" y="1332"/>
                  <a:pt x="913" y="1324"/>
                </a:cubicBezTo>
                <a:cubicBezTo>
                  <a:pt x="913" y="1324"/>
                  <a:pt x="921" y="1317"/>
                  <a:pt x="929" y="1324"/>
                </a:cubicBezTo>
                <a:cubicBezTo>
                  <a:pt x="937" y="1332"/>
                  <a:pt x="946" y="1332"/>
                  <a:pt x="946" y="1340"/>
                </a:cubicBezTo>
                <a:cubicBezTo>
                  <a:pt x="954" y="1340"/>
                  <a:pt x="970" y="1348"/>
                  <a:pt x="970" y="1348"/>
                </a:cubicBezTo>
                <a:cubicBezTo>
                  <a:pt x="978" y="1348"/>
                  <a:pt x="978" y="1356"/>
                  <a:pt x="978" y="1348"/>
                </a:cubicBezTo>
                <a:cubicBezTo>
                  <a:pt x="986" y="1348"/>
                  <a:pt x="986" y="1332"/>
                  <a:pt x="986" y="1332"/>
                </a:cubicBezTo>
                <a:cubicBezTo>
                  <a:pt x="986" y="1324"/>
                  <a:pt x="978" y="1324"/>
                  <a:pt x="978" y="1324"/>
                </a:cubicBezTo>
                <a:cubicBezTo>
                  <a:pt x="986" y="1324"/>
                  <a:pt x="1003" y="1317"/>
                  <a:pt x="1003" y="1317"/>
                </a:cubicBezTo>
                <a:cubicBezTo>
                  <a:pt x="1011" y="1324"/>
                  <a:pt x="1019" y="1324"/>
                  <a:pt x="1027" y="1324"/>
                </a:cubicBezTo>
                <a:cubicBezTo>
                  <a:pt x="1027" y="1324"/>
                  <a:pt x="1019" y="1324"/>
                  <a:pt x="1052" y="1324"/>
                </a:cubicBezTo>
                <a:lnTo>
                  <a:pt x="1084" y="1324"/>
                </a:lnTo>
                <a:lnTo>
                  <a:pt x="1109" y="1324"/>
                </a:lnTo>
                <a:cubicBezTo>
                  <a:pt x="1109" y="1332"/>
                  <a:pt x="1125" y="1340"/>
                  <a:pt x="1125" y="1340"/>
                </a:cubicBezTo>
                <a:cubicBezTo>
                  <a:pt x="1125" y="1348"/>
                  <a:pt x="1133" y="1348"/>
                  <a:pt x="1125" y="1356"/>
                </a:cubicBezTo>
                <a:cubicBezTo>
                  <a:pt x="1109" y="1364"/>
                  <a:pt x="1109" y="1364"/>
                  <a:pt x="1093" y="1364"/>
                </a:cubicBezTo>
                <a:cubicBezTo>
                  <a:pt x="1084" y="1364"/>
                  <a:pt x="1093" y="1364"/>
                  <a:pt x="1076" y="1372"/>
                </a:cubicBezTo>
                <a:lnTo>
                  <a:pt x="1035" y="1372"/>
                </a:lnTo>
                <a:cubicBezTo>
                  <a:pt x="1035" y="1372"/>
                  <a:pt x="1044" y="1372"/>
                  <a:pt x="1019" y="1372"/>
                </a:cubicBezTo>
                <a:cubicBezTo>
                  <a:pt x="1003" y="1364"/>
                  <a:pt x="995" y="1372"/>
                  <a:pt x="986" y="1364"/>
                </a:cubicBezTo>
                <a:lnTo>
                  <a:pt x="978" y="1356"/>
                </a:lnTo>
                <a:close/>
                <a:moveTo>
                  <a:pt x="1011" y="1403"/>
                </a:moveTo>
                <a:lnTo>
                  <a:pt x="1027" y="1395"/>
                </a:lnTo>
                <a:lnTo>
                  <a:pt x="1060" y="1395"/>
                </a:lnTo>
                <a:cubicBezTo>
                  <a:pt x="1068" y="1395"/>
                  <a:pt x="1068" y="1403"/>
                  <a:pt x="1076" y="1403"/>
                </a:cubicBezTo>
                <a:lnTo>
                  <a:pt x="1150" y="1403"/>
                </a:lnTo>
                <a:cubicBezTo>
                  <a:pt x="1150" y="1411"/>
                  <a:pt x="1158" y="1403"/>
                  <a:pt x="1166" y="1403"/>
                </a:cubicBezTo>
                <a:lnTo>
                  <a:pt x="1182" y="1411"/>
                </a:lnTo>
                <a:cubicBezTo>
                  <a:pt x="1190" y="1411"/>
                  <a:pt x="1182" y="1419"/>
                  <a:pt x="1199" y="1411"/>
                </a:cubicBezTo>
                <a:lnTo>
                  <a:pt x="1207" y="1411"/>
                </a:lnTo>
                <a:lnTo>
                  <a:pt x="1215" y="1403"/>
                </a:lnTo>
                <a:cubicBezTo>
                  <a:pt x="1223" y="1403"/>
                  <a:pt x="1231" y="1395"/>
                  <a:pt x="1231" y="1395"/>
                </a:cubicBezTo>
                <a:lnTo>
                  <a:pt x="1239" y="1395"/>
                </a:lnTo>
                <a:lnTo>
                  <a:pt x="1239" y="1419"/>
                </a:lnTo>
                <a:lnTo>
                  <a:pt x="1239" y="1427"/>
                </a:lnTo>
                <a:cubicBezTo>
                  <a:pt x="1239" y="1427"/>
                  <a:pt x="1231" y="1435"/>
                  <a:pt x="1223" y="1435"/>
                </a:cubicBezTo>
                <a:lnTo>
                  <a:pt x="1215" y="1427"/>
                </a:lnTo>
                <a:cubicBezTo>
                  <a:pt x="1215" y="1419"/>
                  <a:pt x="1207" y="1419"/>
                  <a:pt x="1207" y="1419"/>
                </a:cubicBezTo>
                <a:cubicBezTo>
                  <a:pt x="1199" y="1419"/>
                  <a:pt x="1190" y="1427"/>
                  <a:pt x="1182" y="1427"/>
                </a:cubicBezTo>
                <a:lnTo>
                  <a:pt x="1174" y="1419"/>
                </a:lnTo>
                <a:lnTo>
                  <a:pt x="1150" y="1419"/>
                </a:lnTo>
                <a:lnTo>
                  <a:pt x="1133" y="1419"/>
                </a:lnTo>
                <a:lnTo>
                  <a:pt x="1109" y="1419"/>
                </a:lnTo>
                <a:cubicBezTo>
                  <a:pt x="1101" y="1427"/>
                  <a:pt x="1084" y="1419"/>
                  <a:pt x="1084" y="1427"/>
                </a:cubicBezTo>
                <a:lnTo>
                  <a:pt x="1084" y="1435"/>
                </a:lnTo>
                <a:cubicBezTo>
                  <a:pt x="1084" y="1435"/>
                  <a:pt x="1092" y="1443"/>
                  <a:pt x="1084" y="1443"/>
                </a:cubicBezTo>
                <a:cubicBezTo>
                  <a:pt x="1068" y="1443"/>
                  <a:pt x="1068" y="1443"/>
                  <a:pt x="1068" y="1435"/>
                </a:cubicBezTo>
                <a:cubicBezTo>
                  <a:pt x="1060" y="1427"/>
                  <a:pt x="1076" y="1419"/>
                  <a:pt x="1052" y="1427"/>
                </a:cubicBezTo>
                <a:cubicBezTo>
                  <a:pt x="1035" y="1427"/>
                  <a:pt x="1035" y="1419"/>
                  <a:pt x="1027" y="1419"/>
                </a:cubicBezTo>
                <a:cubicBezTo>
                  <a:pt x="1027" y="1427"/>
                  <a:pt x="1011" y="1411"/>
                  <a:pt x="1003" y="1419"/>
                </a:cubicBezTo>
                <a:lnTo>
                  <a:pt x="995" y="1427"/>
                </a:lnTo>
                <a:lnTo>
                  <a:pt x="970" y="1427"/>
                </a:lnTo>
                <a:lnTo>
                  <a:pt x="978" y="1403"/>
                </a:lnTo>
                <a:lnTo>
                  <a:pt x="1011" y="1403"/>
                </a:lnTo>
                <a:close/>
                <a:moveTo>
                  <a:pt x="921" y="1490"/>
                </a:moveTo>
                <a:lnTo>
                  <a:pt x="937" y="1482"/>
                </a:lnTo>
                <a:cubicBezTo>
                  <a:pt x="946" y="1490"/>
                  <a:pt x="954" y="1490"/>
                  <a:pt x="946" y="1498"/>
                </a:cubicBezTo>
                <a:lnTo>
                  <a:pt x="937" y="1506"/>
                </a:lnTo>
                <a:cubicBezTo>
                  <a:pt x="929" y="1514"/>
                  <a:pt x="913" y="1522"/>
                  <a:pt x="913" y="1522"/>
                </a:cubicBezTo>
                <a:lnTo>
                  <a:pt x="905" y="1522"/>
                </a:lnTo>
                <a:cubicBezTo>
                  <a:pt x="889" y="1514"/>
                  <a:pt x="880" y="1506"/>
                  <a:pt x="880" y="1506"/>
                </a:cubicBezTo>
                <a:cubicBezTo>
                  <a:pt x="880" y="1506"/>
                  <a:pt x="872" y="1498"/>
                  <a:pt x="889" y="1498"/>
                </a:cubicBezTo>
                <a:cubicBezTo>
                  <a:pt x="897" y="1490"/>
                  <a:pt x="905" y="1490"/>
                  <a:pt x="905" y="1490"/>
                </a:cubicBezTo>
                <a:lnTo>
                  <a:pt x="921" y="1490"/>
                </a:lnTo>
                <a:close/>
                <a:moveTo>
                  <a:pt x="872" y="1529"/>
                </a:moveTo>
                <a:cubicBezTo>
                  <a:pt x="880" y="1529"/>
                  <a:pt x="889" y="1522"/>
                  <a:pt x="889" y="1529"/>
                </a:cubicBezTo>
                <a:cubicBezTo>
                  <a:pt x="889" y="1537"/>
                  <a:pt x="880" y="1545"/>
                  <a:pt x="880" y="1545"/>
                </a:cubicBezTo>
                <a:lnTo>
                  <a:pt x="872" y="1545"/>
                </a:lnTo>
                <a:lnTo>
                  <a:pt x="872" y="1529"/>
                </a:lnTo>
                <a:close/>
                <a:moveTo>
                  <a:pt x="1125" y="1569"/>
                </a:moveTo>
                <a:lnTo>
                  <a:pt x="1158" y="1561"/>
                </a:lnTo>
                <a:lnTo>
                  <a:pt x="1174" y="1569"/>
                </a:lnTo>
                <a:cubicBezTo>
                  <a:pt x="1174" y="1569"/>
                  <a:pt x="1174" y="1577"/>
                  <a:pt x="1166" y="1577"/>
                </a:cubicBezTo>
                <a:lnTo>
                  <a:pt x="1150" y="1593"/>
                </a:lnTo>
                <a:lnTo>
                  <a:pt x="1125" y="1577"/>
                </a:lnTo>
                <a:lnTo>
                  <a:pt x="1125" y="1569"/>
                </a:lnTo>
                <a:close/>
                <a:moveTo>
                  <a:pt x="1378" y="1561"/>
                </a:moveTo>
                <a:lnTo>
                  <a:pt x="1354" y="1561"/>
                </a:lnTo>
                <a:cubicBezTo>
                  <a:pt x="1354" y="1561"/>
                  <a:pt x="1345" y="1553"/>
                  <a:pt x="1337" y="1553"/>
                </a:cubicBezTo>
                <a:lnTo>
                  <a:pt x="1313" y="1553"/>
                </a:lnTo>
                <a:cubicBezTo>
                  <a:pt x="1305" y="1553"/>
                  <a:pt x="1296" y="1545"/>
                  <a:pt x="1296" y="1545"/>
                </a:cubicBezTo>
                <a:lnTo>
                  <a:pt x="1296" y="1537"/>
                </a:lnTo>
                <a:lnTo>
                  <a:pt x="1313" y="1529"/>
                </a:lnTo>
                <a:cubicBezTo>
                  <a:pt x="1313" y="1537"/>
                  <a:pt x="1362" y="1545"/>
                  <a:pt x="1362" y="1545"/>
                </a:cubicBezTo>
                <a:lnTo>
                  <a:pt x="1403" y="1545"/>
                </a:lnTo>
                <a:cubicBezTo>
                  <a:pt x="1403" y="1545"/>
                  <a:pt x="1411" y="1545"/>
                  <a:pt x="1419" y="1553"/>
                </a:cubicBezTo>
                <a:cubicBezTo>
                  <a:pt x="1427" y="1553"/>
                  <a:pt x="1427" y="1553"/>
                  <a:pt x="1427" y="1561"/>
                </a:cubicBezTo>
                <a:cubicBezTo>
                  <a:pt x="1427" y="1561"/>
                  <a:pt x="1435" y="1569"/>
                  <a:pt x="1427" y="1569"/>
                </a:cubicBezTo>
                <a:lnTo>
                  <a:pt x="1419" y="1569"/>
                </a:lnTo>
                <a:lnTo>
                  <a:pt x="1403" y="1561"/>
                </a:lnTo>
                <a:lnTo>
                  <a:pt x="1386" y="1561"/>
                </a:lnTo>
                <a:lnTo>
                  <a:pt x="1378" y="1561"/>
                </a:lnTo>
                <a:close/>
                <a:moveTo>
                  <a:pt x="1427" y="1506"/>
                </a:moveTo>
                <a:cubicBezTo>
                  <a:pt x="1435" y="1506"/>
                  <a:pt x="1435" y="1498"/>
                  <a:pt x="1435" y="1498"/>
                </a:cubicBezTo>
                <a:lnTo>
                  <a:pt x="1460" y="1498"/>
                </a:lnTo>
                <a:lnTo>
                  <a:pt x="1484" y="1506"/>
                </a:lnTo>
                <a:lnTo>
                  <a:pt x="1500" y="1522"/>
                </a:lnTo>
                <a:lnTo>
                  <a:pt x="1509" y="1537"/>
                </a:lnTo>
                <a:lnTo>
                  <a:pt x="1525" y="1553"/>
                </a:lnTo>
                <a:lnTo>
                  <a:pt x="1566" y="1577"/>
                </a:lnTo>
                <a:lnTo>
                  <a:pt x="1615" y="1600"/>
                </a:lnTo>
                <a:cubicBezTo>
                  <a:pt x="1615" y="1600"/>
                  <a:pt x="1647" y="1616"/>
                  <a:pt x="1655" y="1616"/>
                </a:cubicBezTo>
                <a:cubicBezTo>
                  <a:pt x="1655" y="1616"/>
                  <a:pt x="1655" y="1624"/>
                  <a:pt x="1664" y="1624"/>
                </a:cubicBezTo>
                <a:cubicBezTo>
                  <a:pt x="1664" y="1632"/>
                  <a:pt x="1680" y="1656"/>
                  <a:pt x="1680" y="1656"/>
                </a:cubicBezTo>
                <a:cubicBezTo>
                  <a:pt x="1688" y="1664"/>
                  <a:pt x="1664" y="1648"/>
                  <a:pt x="1664" y="1648"/>
                </a:cubicBezTo>
                <a:cubicBezTo>
                  <a:pt x="1664" y="1648"/>
                  <a:pt x="1655" y="1632"/>
                  <a:pt x="1647" y="1624"/>
                </a:cubicBezTo>
                <a:cubicBezTo>
                  <a:pt x="1631" y="1624"/>
                  <a:pt x="1615" y="1624"/>
                  <a:pt x="1607" y="1616"/>
                </a:cubicBezTo>
                <a:cubicBezTo>
                  <a:pt x="1598" y="1608"/>
                  <a:pt x="1598" y="1600"/>
                  <a:pt x="1598" y="1600"/>
                </a:cubicBezTo>
                <a:cubicBezTo>
                  <a:pt x="1590" y="1600"/>
                  <a:pt x="1590" y="1585"/>
                  <a:pt x="1566" y="1585"/>
                </a:cubicBezTo>
                <a:cubicBezTo>
                  <a:pt x="1541" y="1577"/>
                  <a:pt x="1541" y="1585"/>
                  <a:pt x="1533" y="1569"/>
                </a:cubicBezTo>
                <a:cubicBezTo>
                  <a:pt x="1525" y="1545"/>
                  <a:pt x="1525" y="1561"/>
                  <a:pt x="1517" y="1545"/>
                </a:cubicBezTo>
                <a:cubicBezTo>
                  <a:pt x="1500" y="1537"/>
                  <a:pt x="1509" y="1545"/>
                  <a:pt x="1476" y="1537"/>
                </a:cubicBezTo>
                <a:cubicBezTo>
                  <a:pt x="1451" y="1522"/>
                  <a:pt x="1468" y="1529"/>
                  <a:pt x="1468" y="1522"/>
                </a:cubicBezTo>
                <a:cubicBezTo>
                  <a:pt x="1460" y="1506"/>
                  <a:pt x="1468" y="1514"/>
                  <a:pt x="1451" y="1514"/>
                </a:cubicBezTo>
                <a:cubicBezTo>
                  <a:pt x="1443" y="1506"/>
                  <a:pt x="1451" y="1506"/>
                  <a:pt x="1443" y="1506"/>
                </a:cubicBezTo>
                <a:cubicBezTo>
                  <a:pt x="1443" y="1506"/>
                  <a:pt x="1435" y="1514"/>
                  <a:pt x="1427" y="1514"/>
                </a:cubicBezTo>
                <a:lnTo>
                  <a:pt x="1427" y="1506"/>
                </a:lnTo>
                <a:close/>
                <a:moveTo>
                  <a:pt x="1753" y="646"/>
                </a:moveTo>
                <a:cubicBezTo>
                  <a:pt x="1753" y="631"/>
                  <a:pt x="1745" y="623"/>
                  <a:pt x="1762" y="615"/>
                </a:cubicBezTo>
                <a:cubicBezTo>
                  <a:pt x="1770" y="615"/>
                  <a:pt x="1778" y="631"/>
                  <a:pt x="1778" y="615"/>
                </a:cubicBezTo>
                <a:cubicBezTo>
                  <a:pt x="1778" y="599"/>
                  <a:pt x="1786" y="607"/>
                  <a:pt x="1778" y="591"/>
                </a:cubicBezTo>
                <a:cubicBezTo>
                  <a:pt x="1778" y="591"/>
                  <a:pt x="1778" y="607"/>
                  <a:pt x="1770" y="607"/>
                </a:cubicBezTo>
                <a:cubicBezTo>
                  <a:pt x="1770" y="607"/>
                  <a:pt x="1762" y="615"/>
                  <a:pt x="1753" y="615"/>
                </a:cubicBezTo>
                <a:lnTo>
                  <a:pt x="1745" y="607"/>
                </a:lnTo>
                <a:lnTo>
                  <a:pt x="1762" y="591"/>
                </a:lnTo>
                <a:lnTo>
                  <a:pt x="1762" y="560"/>
                </a:lnTo>
                <a:cubicBezTo>
                  <a:pt x="1762" y="560"/>
                  <a:pt x="1753" y="544"/>
                  <a:pt x="1745" y="528"/>
                </a:cubicBezTo>
                <a:cubicBezTo>
                  <a:pt x="1737" y="520"/>
                  <a:pt x="1729" y="512"/>
                  <a:pt x="1729" y="512"/>
                </a:cubicBezTo>
                <a:lnTo>
                  <a:pt x="1753" y="497"/>
                </a:lnTo>
                <a:lnTo>
                  <a:pt x="1762" y="489"/>
                </a:lnTo>
                <a:lnTo>
                  <a:pt x="1762" y="481"/>
                </a:lnTo>
                <a:cubicBezTo>
                  <a:pt x="1762" y="481"/>
                  <a:pt x="1778" y="497"/>
                  <a:pt x="1794" y="497"/>
                </a:cubicBezTo>
                <a:cubicBezTo>
                  <a:pt x="1802" y="497"/>
                  <a:pt x="1794" y="497"/>
                  <a:pt x="1810" y="489"/>
                </a:cubicBezTo>
                <a:cubicBezTo>
                  <a:pt x="1827" y="489"/>
                  <a:pt x="1851" y="465"/>
                  <a:pt x="1851" y="465"/>
                </a:cubicBezTo>
                <a:cubicBezTo>
                  <a:pt x="1851" y="465"/>
                  <a:pt x="1835" y="449"/>
                  <a:pt x="1827" y="449"/>
                </a:cubicBezTo>
                <a:cubicBezTo>
                  <a:pt x="1819" y="457"/>
                  <a:pt x="1827" y="457"/>
                  <a:pt x="1802" y="457"/>
                </a:cubicBezTo>
                <a:cubicBezTo>
                  <a:pt x="1778" y="449"/>
                  <a:pt x="1770" y="441"/>
                  <a:pt x="1770" y="441"/>
                </a:cubicBezTo>
                <a:lnTo>
                  <a:pt x="1753" y="441"/>
                </a:lnTo>
                <a:cubicBezTo>
                  <a:pt x="1745" y="441"/>
                  <a:pt x="1745" y="441"/>
                  <a:pt x="1737" y="433"/>
                </a:cubicBezTo>
                <a:cubicBezTo>
                  <a:pt x="1721" y="418"/>
                  <a:pt x="1704" y="402"/>
                  <a:pt x="1704" y="402"/>
                </a:cubicBezTo>
                <a:cubicBezTo>
                  <a:pt x="1704" y="402"/>
                  <a:pt x="1688" y="410"/>
                  <a:pt x="1688" y="402"/>
                </a:cubicBezTo>
                <a:lnTo>
                  <a:pt x="1696" y="386"/>
                </a:lnTo>
                <a:lnTo>
                  <a:pt x="1696" y="378"/>
                </a:lnTo>
                <a:lnTo>
                  <a:pt x="1688" y="370"/>
                </a:lnTo>
                <a:lnTo>
                  <a:pt x="1704" y="370"/>
                </a:lnTo>
                <a:lnTo>
                  <a:pt x="1713" y="362"/>
                </a:lnTo>
                <a:cubicBezTo>
                  <a:pt x="1729" y="347"/>
                  <a:pt x="1713" y="331"/>
                  <a:pt x="1688" y="339"/>
                </a:cubicBezTo>
                <a:cubicBezTo>
                  <a:pt x="1680" y="339"/>
                  <a:pt x="1672" y="347"/>
                  <a:pt x="1672" y="347"/>
                </a:cubicBezTo>
                <a:cubicBezTo>
                  <a:pt x="1664" y="347"/>
                  <a:pt x="1647" y="339"/>
                  <a:pt x="1647" y="331"/>
                </a:cubicBezTo>
                <a:cubicBezTo>
                  <a:pt x="1647" y="323"/>
                  <a:pt x="1639" y="323"/>
                  <a:pt x="1656" y="315"/>
                </a:cubicBezTo>
                <a:cubicBezTo>
                  <a:pt x="1664" y="315"/>
                  <a:pt x="1672" y="299"/>
                  <a:pt x="1672" y="299"/>
                </a:cubicBezTo>
                <a:lnTo>
                  <a:pt x="1656" y="276"/>
                </a:lnTo>
                <a:lnTo>
                  <a:pt x="1664" y="228"/>
                </a:lnTo>
                <a:lnTo>
                  <a:pt x="1631" y="221"/>
                </a:lnTo>
                <a:lnTo>
                  <a:pt x="1631" y="205"/>
                </a:lnTo>
                <a:lnTo>
                  <a:pt x="1615" y="197"/>
                </a:lnTo>
                <a:lnTo>
                  <a:pt x="1598" y="236"/>
                </a:lnTo>
                <a:cubicBezTo>
                  <a:pt x="1598" y="236"/>
                  <a:pt x="1574" y="244"/>
                  <a:pt x="1574" y="252"/>
                </a:cubicBezTo>
                <a:cubicBezTo>
                  <a:pt x="1566" y="260"/>
                  <a:pt x="1525" y="260"/>
                  <a:pt x="1525" y="260"/>
                </a:cubicBezTo>
                <a:lnTo>
                  <a:pt x="1492" y="260"/>
                </a:lnTo>
                <a:lnTo>
                  <a:pt x="1435" y="276"/>
                </a:lnTo>
                <a:cubicBezTo>
                  <a:pt x="1435" y="276"/>
                  <a:pt x="1419" y="284"/>
                  <a:pt x="1411" y="284"/>
                </a:cubicBezTo>
                <a:cubicBezTo>
                  <a:pt x="1403" y="284"/>
                  <a:pt x="1362" y="276"/>
                  <a:pt x="1362" y="276"/>
                </a:cubicBezTo>
                <a:lnTo>
                  <a:pt x="1337" y="284"/>
                </a:lnTo>
                <a:lnTo>
                  <a:pt x="1280" y="268"/>
                </a:lnTo>
                <a:lnTo>
                  <a:pt x="1264" y="252"/>
                </a:lnTo>
                <a:lnTo>
                  <a:pt x="1256" y="244"/>
                </a:lnTo>
                <a:lnTo>
                  <a:pt x="1215" y="236"/>
                </a:lnTo>
                <a:lnTo>
                  <a:pt x="1207" y="221"/>
                </a:lnTo>
                <a:lnTo>
                  <a:pt x="1174" y="221"/>
                </a:lnTo>
                <a:lnTo>
                  <a:pt x="1158" y="213"/>
                </a:lnTo>
                <a:lnTo>
                  <a:pt x="1158" y="205"/>
                </a:lnTo>
                <a:cubicBezTo>
                  <a:pt x="1150" y="205"/>
                  <a:pt x="1150" y="205"/>
                  <a:pt x="1150" y="197"/>
                </a:cubicBezTo>
                <a:lnTo>
                  <a:pt x="1141" y="189"/>
                </a:lnTo>
                <a:lnTo>
                  <a:pt x="1101" y="142"/>
                </a:lnTo>
                <a:lnTo>
                  <a:pt x="1093" y="142"/>
                </a:lnTo>
                <a:lnTo>
                  <a:pt x="1019" y="118"/>
                </a:lnTo>
                <a:lnTo>
                  <a:pt x="995" y="87"/>
                </a:lnTo>
                <a:lnTo>
                  <a:pt x="970" y="71"/>
                </a:lnTo>
                <a:lnTo>
                  <a:pt x="938" y="47"/>
                </a:lnTo>
                <a:lnTo>
                  <a:pt x="905" y="23"/>
                </a:lnTo>
                <a:lnTo>
                  <a:pt x="889" y="8"/>
                </a:lnTo>
                <a:lnTo>
                  <a:pt x="880" y="0"/>
                </a:lnTo>
                <a:lnTo>
                  <a:pt x="872" y="0"/>
                </a:lnTo>
                <a:lnTo>
                  <a:pt x="848" y="0"/>
                </a:lnTo>
                <a:cubicBezTo>
                  <a:pt x="848" y="0"/>
                  <a:pt x="840" y="8"/>
                  <a:pt x="831" y="8"/>
                </a:cubicBezTo>
                <a:lnTo>
                  <a:pt x="823" y="23"/>
                </a:lnTo>
                <a:lnTo>
                  <a:pt x="815" y="31"/>
                </a:lnTo>
                <a:lnTo>
                  <a:pt x="823" y="39"/>
                </a:lnTo>
                <a:cubicBezTo>
                  <a:pt x="840" y="71"/>
                  <a:pt x="848" y="71"/>
                  <a:pt x="807" y="63"/>
                </a:cubicBezTo>
                <a:lnTo>
                  <a:pt x="791" y="55"/>
                </a:lnTo>
                <a:lnTo>
                  <a:pt x="782" y="63"/>
                </a:lnTo>
                <a:lnTo>
                  <a:pt x="766" y="71"/>
                </a:lnTo>
                <a:lnTo>
                  <a:pt x="766" y="87"/>
                </a:lnTo>
                <a:lnTo>
                  <a:pt x="758" y="102"/>
                </a:lnTo>
                <a:lnTo>
                  <a:pt x="742" y="110"/>
                </a:lnTo>
                <a:lnTo>
                  <a:pt x="725" y="118"/>
                </a:lnTo>
                <a:lnTo>
                  <a:pt x="717" y="126"/>
                </a:lnTo>
                <a:lnTo>
                  <a:pt x="701" y="126"/>
                </a:lnTo>
                <a:lnTo>
                  <a:pt x="685" y="134"/>
                </a:lnTo>
                <a:lnTo>
                  <a:pt x="676" y="150"/>
                </a:lnTo>
                <a:lnTo>
                  <a:pt x="660" y="150"/>
                </a:lnTo>
                <a:lnTo>
                  <a:pt x="636" y="157"/>
                </a:lnTo>
                <a:lnTo>
                  <a:pt x="636" y="173"/>
                </a:lnTo>
                <a:lnTo>
                  <a:pt x="627" y="181"/>
                </a:lnTo>
                <a:lnTo>
                  <a:pt x="627" y="205"/>
                </a:lnTo>
                <a:lnTo>
                  <a:pt x="644" y="213"/>
                </a:lnTo>
                <a:lnTo>
                  <a:pt x="652" y="221"/>
                </a:lnTo>
                <a:lnTo>
                  <a:pt x="660" y="228"/>
                </a:lnTo>
                <a:lnTo>
                  <a:pt x="668" y="236"/>
                </a:lnTo>
                <a:cubicBezTo>
                  <a:pt x="660" y="236"/>
                  <a:pt x="660" y="260"/>
                  <a:pt x="660" y="260"/>
                </a:cubicBezTo>
                <a:lnTo>
                  <a:pt x="668" y="284"/>
                </a:lnTo>
                <a:lnTo>
                  <a:pt x="660" y="292"/>
                </a:lnTo>
                <a:lnTo>
                  <a:pt x="668" y="307"/>
                </a:lnTo>
                <a:cubicBezTo>
                  <a:pt x="668" y="307"/>
                  <a:pt x="676" y="307"/>
                  <a:pt x="668" y="315"/>
                </a:cubicBezTo>
                <a:cubicBezTo>
                  <a:pt x="660" y="315"/>
                  <a:pt x="652" y="323"/>
                  <a:pt x="652" y="323"/>
                </a:cubicBezTo>
                <a:lnTo>
                  <a:pt x="636" y="323"/>
                </a:lnTo>
                <a:lnTo>
                  <a:pt x="619" y="323"/>
                </a:lnTo>
                <a:lnTo>
                  <a:pt x="611" y="339"/>
                </a:lnTo>
                <a:lnTo>
                  <a:pt x="595" y="331"/>
                </a:lnTo>
                <a:lnTo>
                  <a:pt x="595" y="347"/>
                </a:lnTo>
                <a:lnTo>
                  <a:pt x="570" y="355"/>
                </a:lnTo>
                <a:lnTo>
                  <a:pt x="554" y="362"/>
                </a:lnTo>
                <a:lnTo>
                  <a:pt x="546" y="378"/>
                </a:lnTo>
                <a:lnTo>
                  <a:pt x="554" y="386"/>
                </a:lnTo>
                <a:cubicBezTo>
                  <a:pt x="554" y="386"/>
                  <a:pt x="562" y="394"/>
                  <a:pt x="562" y="386"/>
                </a:cubicBezTo>
                <a:lnTo>
                  <a:pt x="562" y="378"/>
                </a:lnTo>
                <a:cubicBezTo>
                  <a:pt x="570" y="386"/>
                  <a:pt x="578" y="394"/>
                  <a:pt x="578" y="394"/>
                </a:cubicBezTo>
                <a:lnTo>
                  <a:pt x="587" y="410"/>
                </a:lnTo>
                <a:lnTo>
                  <a:pt x="570" y="410"/>
                </a:lnTo>
                <a:lnTo>
                  <a:pt x="562" y="418"/>
                </a:lnTo>
                <a:lnTo>
                  <a:pt x="554" y="426"/>
                </a:lnTo>
                <a:lnTo>
                  <a:pt x="554" y="441"/>
                </a:lnTo>
                <a:lnTo>
                  <a:pt x="554" y="449"/>
                </a:lnTo>
                <a:cubicBezTo>
                  <a:pt x="562" y="449"/>
                  <a:pt x="570" y="465"/>
                  <a:pt x="570" y="465"/>
                </a:cubicBezTo>
                <a:lnTo>
                  <a:pt x="578" y="473"/>
                </a:lnTo>
                <a:lnTo>
                  <a:pt x="578" y="481"/>
                </a:lnTo>
                <a:cubicBezTo>
                  <a:pt x="578" y="481"/>
                  <a:pt x="570" y="489"/>
                  <a:pt x="562" y="489"/>
                </a:cubicBezTo>
                <a:lnTo>
                  <a:pt x="546" y="489"/>
                </a:lnTo>
                <a:lnTo>
                  <a:pt x="538" y="504"/>
                </a:lnTo>
                <a:lnTo>
                  <a:pt x="521" y="504"/>
                </a:lnTo>
                <a:cubicBezTo>
                  <a:pt x="521" y="504"/>
                  <a:pt x="538" y="512"/>
                  <a:pt x="521" y="504"/>
                </a:cubicBezTo>
                <a:cubicBezTo>
                  <a:pt x="497" y="497"/>
                  <a:pt x="497" y="489"/>
                  <a:pt x="497" y="489"/>
                </a:cubicBezTo>
                <a:lnTo>
                  <a:pt x="489" y="481"/>
                </a:lnTo>
                <a:lnTo>
                  <a:pt x="472" y="481"/>
                </a:lnTo>
                <a:lnTo>
                  <a:pt x="456" y="481"/>
                </a:lnTo>
                <a:lnTo>
                  <a:pt x="448" y="473"/>
                </a:lnTo>
                <a:lnTo>
                  <a:pt x="440" y="489"/>
                </a:lnTo>
                <a:cubicBezTo>
                  <a:pt x="440" y="489"/>
                  <a:pt x="440" y="497"/>
                  <a:pt x="432" y="497"/>
                </a:cubicBezTo>
                <a:cubicBezTo>
                  <a:pt x="423" y="504"/>
                  <a:pt x="432" y="504"/>
                  <a:pt x="423" y="504"/>
                </a:cubicBezTo>
                <a:cubicBezTo>
                  <a:pt x="407" y="504"/>
                  <a:pt x="400" y="489"/>
                  <a:pt x="400" y="489"/>
                </a:cubicBezTo>
                <a:lnTo>
                  <a:pt x="384" y="481"/>
                </a:lnTo>
                <a:lnTo>
                  <a:pt x="375" y="473"/>
                </a:lnTo>
                <a:cubicBezTo>
                  <a:pt x="367" y="473"/>
                  <a:pt x="367" y="481"/>
                  <a:pt x="367" y="465"/>
                </a:cubicBezTo>
                <a:lnTo>
                  <a:pt x="367" y="457"/>
                </a:lnTo>
                <a:cubicBezTo>
                  <a:pt x="359" y="449"/>
                  <a:pt x="359" y="457"/>
                  <a:pt x="351" y="449"/>
                </a:cubicBezTo>
                <a:cubicBezTo>
                  <a:pt x="351" y="441"/>
                  <a:pt x="343" y="433"/>
                  <a:pt x="343" y="433"/>
                </a:cubicBezTo>
                <a:lnTo>
                  <a:pt x="335" y="418"/>
                </a:lnTo>
                <a:lnTo>
                  <a:pt x="335" y="426"/>
                </a:lnTo>
                <a:cubicBezTo>
                  <a:pt x="326" y="433"/>
                  <a:pt x="318" y="433"/>
                  <a:pt x="318" y="433"/>
                </a:cubicBezTo>
                <a:cubicBezTo>
                  <a:pt x="318" y="441"/>
                  <a:pt x="310" y="449"/>
                  <a:pt x="310" y="449"/>
                </a:cubicBezTo>
                <a:cubicBezTo>
                  <a:pt x="310" y="449"/>
                  <a:pt x="302" y="457"/>
                  <a:pt x="302" y="465"/>
                </a:cubicBezTo>
                <a:cubicBezTo>
                  <a:pt x="310" y="465"/>
                  <a:pt x="310" y="465"/>
                  <a:pt x="310" y="473"/>
                </a:cubicBezTo>
                <a:lnTo>
                  <a:pt x="302" y="481"/>
                </a:lnTo>
                <a:cubicBezTo>
                  <a:pt x="294" y="489"/>
                  <a:pt x="294" y="489"/>
                  <a:pt x="286" y="489"/>
                </a:cubicBezTo>
                <a:cubicBezTo>
                  <a:pt x="286" y="497"/>
                  <a:pt x="269" y="504"/>
                  <a:pt x="269" y="504"/>
                </a:cubicBezTo>
                <a:lnTo>
                  <a:pt x="253" y="504"/>
                </a:lnTo>
                <a:lnTo>
                  <a:pt x="229" y="497"/>
                </a:lnTo>
                <a:lnTo>
                  <a:pt x="212" y="512"/>
                </a:lnTo>
                <a:lnTo>
                  <a:pt x="204" y="512"/>
                </a:lnTo>
                <a:lnTo>
                  <a:pt x="188" y="512"/>
                </a:lnTo>
                <a:cubicBezTo>
                  <a:pt x="188" y="512"/>
                  <a:pt x="180" y="504"/>
                  <a:pt x="171" y="504"/>
                </a:cubicBezTo>
                <a:lnTo>
                  <a:pt x="163" y="504"/>
                </a:lnTo>
                <a:lnTo>
                  <a:pt x="147" y="504"/>
                </a:lnTo>
                <a:lnTo>
                  <a:pt x="147" y="512"/>
                </a:lnTo>
                <a:lnTo>
                  <a:pt x="155" y="512"/>
                </a:lnTo>
                <a:lnTo>
                  <a:pt x="155" y="528"/>
                </a:lnTo>
                <a:lnTo>
                  <a:pt x="147" y="528"/>
                </a:lnTo>
                <a:cubicBezTo>
                  <a:pt x="147" y="536"/>
                  <a:pt x="131" y="536"/>
                  <a:pt x="131" y="536"/>
                </a:cubicBezTo>
                <a:lnTo>
                  <a:pt x="131" y="544"/>
                </a:lnTo>
                <a:lnTo>
                  <a:pt x="123" y="544"/>
                </a:lnTo>
                <a:lnTo>
                  <a:pt x="106" y="544"/>
                </a:lnTo>
                <a:cubicBezTo>
                  <a:pt x="106" y="536"/>
                  <a:pt x="98" y="536"/>
                  <a:pt x="90" y="536"/>
                </a:cubicBezTo>
                <a:lnTo>
                  <a:pt x="65" y="528"/>
                </a:lnTo>
                <a:lnTo>
                  <a:pt x="57" y="536"/>
                </a:lnTo>
                <a:cubicBezTo>
                  <a:pt x="49" y="536"/>
                  <a:pt x="41" y="536"/>
                  <a:pt x="33" y="528"/>
                </a:cubicBezTo>
                <a:lnTo>
                  <a:pt x="25" y="528"/>
                </a:lnTo>
                <a:lnTo>
                  <a:pt x="25" y="512"/>
                </a:lnTo>
                <a:lnTo>
                  <a:pt x="0" y="528"/>
                </a:lnTo>
                <a:lnTo>
                  <a:pt x="16" y="560"/>
                </a:lnTo>
                <a:lnTo>
                  <a:pt x="8" y="567"/>
                </a:lnTo>
                <a:lnTo>
                  <a:pt x="16" y="575"/>
                </a:lnTo>
                <a:cubicBezTo>
                  <a:pt x="16" y="583"/>
                  <a:pt x="25" y="583"/>
                  <a:pt x="25" y="591"/>
                </a:cubicBezTo>
                <a:lnTo>
                  <a:pt x="25" y="607"/>
                </a:lnTo>
                <a:lnTo>
                  <a:pt x="33" y="607"/>
                </a:lnTo>
                <a:lnTo>
                  <a:pt x="41" y="623"/>
                </a:lnTo>
                <a:lnTo>
                  <a:pt x="41" y="631"/>
                </a:lnTo>
                <a:lnTo>
                  <a:pt x="41" y="646"/>
                </a:lnTo>
                <a:cubicBezTo>
                  <a:pt x="41" y="646"/>
                  <a:pt x="49" y="654"/>
                  <a:pt x="49" y="662"/>
                </a:cubicBezTo>
                <a:lnTo>
                  <a:pt x="49" y="678"/>
                </a:lnTo>
                <a:lnTo>
                  <a:pt x="65" y="694"/>
                </a:lnTo>
                <a:lnTo>
                  <a:pt x="65" y="709"/>
                </a:lnTo>
                <a:cubicBezTo>
                  <a:pt x="65" y="709"/>
                  <a:pt x="74" y="717"/>
                  <a:pt x="82" y="725"/>
                </a:cubicBezTo>
                <a:lnTo>
                  <a:pt x="90" y="733"/>
                </a:lnTo>
                <a:lnTo>
                  <a:pt x="98" y="749"/>
                </a:lnTo>
                <a:lnTo>
                  <a:pt x="106" y="765"/>
                </a:lnTo>
                <a:lnTo>
                  <a:pt x="114" y="772"/>
                </a:lnTo>
                <a:lnTo>
                  <a:pt x="123" y="788"/>
                </a:lnTo>
                <a:lnTo>
                  <a:pt x="131" y="796"/>
                </a:lnTo>
                <a:lnTo>
                  <a:pt x="139" y="804"/>
                </a:lnTo>
                <a:cubicBezTo>
                  <a:pt x="139" y="804"/>
                  <a:pt x="139" y="812"/>
                  <a:pt x="147" y="812"/>
                </a:cubicBezTo>
                <a:lnTo>
                  <a:pt x="163" y="812"/>
                </a:lnTo>
                <a:cubicBezTo>
                  <a:pt x="171" y="812"/>
                  <a:pt x="171" y="820"/>
                  <a:pt x="180" y="796"/>
                </a:cubicBezTo>
                <a:lnTo>
                  <a:pt x="180" y="772"/>
                </a:lnTo>
                <a:cubicBezTo>
                  <a:pt x="180" y="772"/>
                  <a:pt x="188" y="772"/>
                  <a:pt x="188" y="765"/>
                </a:cubicBezTo>
                <a:cubicBezTo>
                  <a:pt x="196" y="765"/>
                  <a:pt x="204" y="765"/>
                  <a:pt x="204" y="757"/>
                </a:cubicBezTo>
                <a:cubicBezTo>
                  <a:pt x="204" y="741"/>
                  <a:pt x="188" y="733"/>
                  <a:pt x="188" y="733"/>
                </a:cubicBezTo>
                <a:cubicBezTo>
                  <a:pt x="188" y="733"/>
                  <a:pt x="204" y="725"/>
                  <a:pt x="212" y="733"/>
                </a:cubicBezTo>
                <a:cubicBezTo>
                  <a:pt x="212" y="741"/>
                  <a:pt x="212" y="749"/>
                  <a:pt x="220" y="741"/>
                </a:cubicBezTo>
                <a:lnTo>
                  <a:pt x="229" y="725"/>
                </a:lnTo>
                <a:cubicBezTo>
                  <a:pt x="220" y="717"/>
                  <a:pt x="220" y="709"/>
                  <a:pt x="220" y="702"/>
                </a:cubicBezTo>
                <a:cubicBezTo>
                  <a:pt x="220" y="702"/>
                  <a:pt x="229" y="694"/>
                  <a:pt x="229" y="686"/>
                </a:cubicBezTo>
                <a:cubicBezTo>
                  <a:pt x="237" y="678"/>
                  <a:pt x="237" y="670"/>
                  <a:pt x="237" y="662"/>
                </a:cubicBezTo>
                <a:cubicBezTo>
                  <a:pt x="237" y="646"/>
                  <a:pt x="237" y="654"/>
                  <a:pt x="245" y="638"/>
                </a:cubicBezTo>
                <a:lnTo>
                  <a:pt x="245" y="607"/>
                </a:lnTo>
                <a:cubicBezTo>
                  <a:pt x="253" y="583"/>
                  <a:pt x="253" y="575"/>
                  <a:pt x="261" y="575"/>
                </a:cubicBezTo>
                <a:lnTo>
                  <a:pt x="327" y="599"/>
                </a:lnTo>
                <a:lnTo>
                  <a:pt x="335" y="615"/>
                </a:lnTo>
                <a:lnTo>
                  <a:pt x="335" y="631"/>
                </a:lnTo>
                <a:cubicBezTo>
                  <a:pt x="335" y="638"/>
                  <a:pt x="327" y="654"/>
                  <a:pt x="327" y="654"/>
                </a:cubicBezTo>
                <a:lnTo>
                  <a:pt x="327" y="662"/>
                </a:lnTo>
                <a:cubicBezTo>
                  <a:pt x="327" y="662"/>
                  <a:pt x="310" y="662"/>
                  <a:pt x="310" y="678"/>
                </a:cubicBezTo>
                <a:cubicBezTo>
                  <a:pt x="302" y="686"/>
                  <a:pt x="302" y="686"/>
                  <a:pt x="310" y="694"/>
                </a:cubicBezTo>
                <a:cubicBezTo>
                  <a:pt x="318" y="702"/>
                  <a:pt x="327" y="709"/>
                  <a:pt x="327" y="709"/>
                </a:cubicBezTo>
                <a:cubicBezTo>
                  <a:pt x="335" y="709"/>
                  <a:pt x="343" y="702"/>
                  <a:pt x="351" y="702"/>
                </a:cubicBezTo>
                <a:lnTo>
                  <a:pt x="359" y="702"/>
                </a:lnTo>
                <a:cubicBezTo>
                  <a:pt x="359" y="709"/>
                  <a:pt x="359" y="717"/>
                  <a:pt x="367" y="725"/>
                </a:cubicBezTo>
                <a:cubicBezTo>
                  <a:pt x="375" y="725"/>
                  <a:pt x="384" y="733"/>
                  <a:pt x="384" y="733"/>
                </a:cubicBezTo>
                <a:lnTo>
                  <a:pt x="400" y="733"/>
                </a:lnTo>
                <a:cubicBezTo>
                  <a:pt x="400" y="733"/>
                  <a:pt x="407" y="725"/>
                  <a:pt x="415" y="725"/>
                </a:cubicBezTo>
                <a:cubicBezTo>
                  <a:pt x="415" y="725"/>
                  <a:pt x="440" y="749"/>
                  <a:pt x="423" y="717"/>
                </a:cubicBezTo>
                <a:cubicBezTo>
                  <a:pt x="400" y="694"/>
                  <a:pt x="400" y="694"/>
                  <a:pt x="400" y="686"/>
                </a:cubicBezTo>
                <a:cubicBezTo>
                  <a:pt x="392" y="686"/>
                  <a:pt x="384" y="678"/>
                  <a:pt x="384" y="678"/>
                </a:cubicBezTo>
                <a:lnTo>
                  <a:pt x="375" y="678"/>
                </a:lnTo>
                <a:lnTo>
                  <a:pt x="375" y="662"/>
                </a:lnTo>
                <a:cubicBezTo>
                  <a:pt x="384" y="654"/>
                  <a:pt x="384" y="654"/>
                  <a:pt x="392" y="654"/>
                </a:cubicBezTo>
                <a:cubicBezTo>
                  <a:pt x="400" y="654"/>
                  <a:pt x="400" y="646"/>
                  <a:pt x="415" y="662"/>
                </a:cubicBezTo>
                <a:cubicBezTo>
                  <a:pt x="423" y="670"/>
                  <a:pt x="423" y="670"/>
                  <a:pt x="423" y="678"/>
                </a:cubicBezTo>
                <a:cubicBezTo>
                  <a:pt x="432" y="694"/>
                  <a:pt x="440" y="702"/>
                  <a:pt x="448" y="709"/>
                </a:cubicBezTo>
                <a:cubicBezTo>
                  <a:pt x="448" y="709"/>
                  <a:pt x="456" y="709"/>
                  <a:pt x="456" y="725"/>
                </a:cubicBezTo>
                <a:lnTo>
                  <a:pt x="456" y="765"/>
                </a:lnTo>
                <a:lnTo>
                  <a:pt x="456" y="796"/>
                </a:lnTo>
                <a:lnTo>
                  <a:pt x="456" y="820"/>
                </a:lnTo>
                <a:cubicBezTo>
                  <a:pt x="456" y="828"/>
                  <a:pt x="497" y="883"/>
                  <a:pt x="497" y="883"/>
                </a:cubicBezTo>
                <a:cubicBezTo>
                  <a:pt x="497" y="883"/>
                  <a:pt x="513" y="907"/>
                  <a:pt x="521" y="907"/>
                </a:cubicBezTo>
                <a:cubicBezTo>
                  <a:pt x="521" y="907"/>
                  <a:pt x="530" y="930"/>
                  <a:pt x="538" y="938"/>
                </a:cubicBezTo>
                <a:cubicBezTo>
                  <a:pt x="554" y="938"/>
                  <a:pt x="587" y="954"/>
                  <a:pt x="587" y="954"/>
                </a:cubicBezTo>
                <a:lnTo>
                  <a:pt x="644" y="985"/>
                </a:lnTo>
                <a:cubicBezTo>
                  <a:pt x="644" y="985"/>
                  <a:pt x="660" y="1009"/>
                  <a:pt x="668" y="1009"/>
                </a:cubicBezTo>
                <a:cubicBezTo>
                  <a:pt x="668" y="1009"/>
                  <a:pt x="709" y="1009"/>
                  <a:pt x="676" y="1009"/>
                </a:cubicBezTo>
                <a:cubicBezTo>
                  <a:pt x="652" y="1009"/>
                  <a:pt x="619" y="993"/>
                  <a:pt x="619" y="993"/>
                </a:cubicBezTo>
                <a:lnTo>
                  <a:pt x="611" y="978"/>
                </a:lnTo>
                <a:cubicBezTo>
                  <a:pt x="603" y="978"/>
                  <a:pt x="570" y="970"/>
                  <a:pt x="562" y="962"/>
                </a:cubicBezTo>
                <a:cubicBezTo>
                  <a:pt x="562" y="962"/>
                  <a:pt x="554" y="954"/>
                  <a:pt x="546" y="946"/>
                </a:cubicBezTo>
                <a:cubicBezTo>
                  <a:pt x="538" y="930"/>
                  <a:pt x="521" y="922"/>
                  <a:pt x="521" y="922"/>
                </a:cubicBezTo>
                <a:cubicBezTo>
                  <a:pt x="521" y="922"/>
                  <a:pt x="513" y="914"/>
                  <a:pt x="505" y="899"/>
                </a:cubicBezTo>
                <a:cubicBezTo>
                  <a:pt x="497" y="891"/>
                  <a:pt x="497" y="891"/>
                  <a:pt x="497" y="883"/>
                </a:cubicBezTo>
                <a:cubicBezTo>
                  <a:pt x="489" y="883"/>
                  <a:pt x="497" y="883"/>
                  <a:pt x="481" y="875"/>
                </a:cubicBezTo>
                <a:cubicBezTo>
                  <a:pt x="464" y="867"/>
                  <a:pt x="456" y="859"/>
                  <a:pt x="456" y="859"/>
                </a:cubicBezTo>
                <a:cubicBezTo>
                  <a:pt x="448" y="859"/>
                  <a:pt x="432" y="851"/>
                  <a:pt x="432" y="851"/>
                </a:cubicBezTo>
                <a:lnTo>
                  <a:pt x="415" y="836"/>
                </a:lnTo>
                <a:cubicBezTo>
                  <a:pt x="415" y="836"/>
                  <a:pt x="407" y="851"/>
                  <a:pt x="423" y="859"/>
                </a:cubicBezTo>
                <a:cubicBezTo>
                  <a:pt x="432" y="859"/>
                  <a:pt x="448" y="875"/>
                  <a:pt x="448" y="875"/>
                </a:cubicBezTo>
                <a:lnTo>
                  <a:pt x="464" y="883"/>
                </a:lnTo>
                <a:lnTo>
                  <a:pt x="464" y="899"/>
                </a:lnTo>
                <a:cubicBezTo>
                  <a:pt x="464" y="899"/>
                  <a:pt x="440" y="891"/>
                  <a:pt x="464" y="899"/>
                </a:cubicBezTo>
                <a:cubicBezTo>
                  <a:pt x="481" y="907"/>
                  <a:pt x="497" y="907"/>
                  <a:pt x="497" y="907"/>
                </a:cubicBezTo>
                <a:cubicBezTo>
                  <a:pt x="497" y="907"/>
                  <a:pt x="481" y="914"/>
                  <a:pt x="472" y="914"/>
                </a:cubicBezTo>
                <a:cubicBezTo>
                  <a:pt x="472" y="922"/>
                  <a:pt x="489" y="946"/>
                  <a:pt x="489" y="938"/>
                </a:cubicBezTo>
                <a:cubicBezTo>
                  <a:pt x="497" y="938"/>
                  <a:pt x="505" y="946"/>
                  <a:pt x="513" y="946"/>
                </a:cubicBezTo>
                <a:cubicBezTo>
                  <a:pt x="513" y="946"/>
                  <a:pt x="530" y="946"/>
                  <a:pt x="530" y="954"/>
                </a:cubicBezTo>
                <a:cubicBezTo>
                  <a:pt x="538" y="954"/>
                  <a:pt x="538" y="954"/>
                  <a:pt x="538" y="962"/>
                </a:cubicBezTo>
                <a:cubicBezTo>
                  <a:pt x="530" y="962"/>
                  <a:pt x="538" y="978"/>
                  <a:pt x="538" y="978"/>
                </a:cubicBezTo>
                <a:lnTo>
                  <a:pt x="554" y="985"/>
                </a:lnTo>
                <a:cubicBezTo>
                  <a:pt x="554" y="985"/>
                  <a:pt x="530" y="985"/>
                  <a:pt x="530" y="978"/>
                </a:cubicBezTo>
                <a:cubicBezTo>
                  <a:pt x="521" y="978"/>
                  <a:pt x="521" y="970"/>
                  <a:pt x="513" y="978"/>
                </a:cubicBezTo>
                <a:cubicBezTo>
                  <a:pt x="505" y="985"/>
                  <a:pt x="505" y="985"/>
                  <a:pt x="505" y="993"/>
                </a:cubicBezTo>
                <a:cubicBezTo>
                  <a:pt x="513" y="1001"/>
                  <a:pt x="521" y="1009"/>
                  <a:pt x="530" y="1001"/>
                </a:cubicBezTo>
                <a:lnTo>
                  <a:pt x="538" y="993"/>
                </a:lnTo>
                <a:lnTo>
                  <a:pt x="554" y="993"/>
                </a:lnTo>
                <a:lnTo>
                  <a:pt x="562" y="985"/>
                </a:lnTo>
                <a:lnTo>
                  <a:pt x="562" y="993"/>
                </a:lnTo>
                <a:cubicBezTo>
                  <a:pt x="562" y="993"/>
                  <a:pt x="570" y="993"/>
                  <a:pt x="562" y="1001"/>
                </a:cubicBezTo>
                <a:cubicBezTo>
                  <a:pt x="562" y="1009"/>
                  <a:pt x="554" y="1009"/>
                  <a:pt x="554" y="1009"/>
                </a:cubicBezTo>
                <a:cubicBezTo>
                  <a:pt x="554" y="1017"/>
                  <a:pt x="546" y="1009"/>
                  <a:pt x="554" y="1025"/>
                </a:cubicBezTo>
                <a:lnTo>
                  <a:pt x="554" y="1041"/>
                </a:lnTo>
                <a:lnTo>
                  <a:pt x="562" y="1041"/>
                </a:lnTo>
                <a:cubicBezTo>
                  <a:pt x="570" y="1048"/>
                  <a:pt x="570" y="1056"/>
                  <a:pt x="570" y="1064"/>
                </a:cubicBezTo>
                <a:cubicBezTo>
                  <a:pt x="579" y="1064"/>
                  <a:pt x="595" y="1088"/>
                  <a:pt x="595" y="1088"/>
                </a:cubicBezTo>
                <a:lnTo>
                  <a:pt x="619" y="1104"/>
                </a:lnTo>
                <a:lnTo>
                  <a:pt x="627" y="1112"/>
                </a:lnTo>
                <a:cubicBezTo>
                  <a:pt x="627" y="1112"/>
                  <a:pt x="627" y="1119"/>
                  <a:pt x="619" y="1112"/>
                </a:cubicBezTo>
                <a:cubicBezTo>
                  <a:pt x="611" y="1104"/>
                  <a:pt x="595" y="1096"/>
                  <a:pt x="595" y="1096"/>
                </a:cubicBezTo>
                <a:lnTo>
                  <a:pt x="595" y="1112"/>
                </a:lnTo>
                <a:cubicBezTo>
                  <a:pt x="595" y="1112"/>
                  <a:pt x="603" y="1119"/>
                  <a:pt x="611" y="1119"/>
                </a:cubicBezTo>
                <a:cubicBezTo>
                  <a:pt x="611" y="1127"/>
                  <a:pt x="611" y="1127"/>
                  <a:pt x="619" y="1135"/>
                </a:cubicBezTo>
                <a:lnTo>
                  <a:pt x="644" y="1135"/>
                </a:lnTo>
                <a:cubicBezTo>
                  <a:pt x="644" y="1143"/>
                  <a:pt x="644" y="1127"/>
                  <a:pt x="644" y="1127"/>
                </a:cubicBezTo>
                <a:lnTo>
                  <a:pt x="652" y="1127"/>
                </a:lnTo>
                <a:cubicBezTo>
                  <a:pt x="652" y="1135"/>
                  <a:pt x="660" y="1143"/>
                  <a:pt x="652" y="1151"/>
                </a:cubicBezTo>
                <a:cubicBezTo>
                  <a:pt x="652" y="1151"/>
                  <a:pt x="652" y="1159"/>
                  <a:pt x="644" y="1151"/>
                </a:cubicBezTo>
                <a:cubicBezTo>
                  <a:pt x="636" y="1151"/>
                  <a:pt x="627" y="1143"/>
                  <a:pt x="619" y="1143"/>
                </a:cubicBezTo>
                <a:cubicBezTo>
                  <a:pt x="619" y="1143"/>
                  <a:pt x="611" y="1135"/>
                  <a:pt x="603" y="1143"/>
                </a:cubicBezTo>
                <a:cubicBezTo>
                  <a:pt x="603" y="1143"/>
                  <a:pt x="587" y="1135"/>
                  <a:pt x="587" y="1143"/>
                </a:cubicBezTo>
                <a:lnTo>
                  <a:pt x="587" y="1159"/>
                </a:lnTo>
                <a:cubicBezTo>
                  <a:pt x="587" y="1159"/>
                  <a:pt x="579" y="1127"/>
                  <a:pt x="570" y="1127"/>
                </a:cubicBezTo>
                <a:cubicBezTo>
                  <a:pt x="562" y="1127"/>
                  <a:pt x="546" y="1119"/>
                  <a:pt x="546" y="1119"/>
                </a:cubicBezTo>
                <a:lnTo>
                  <a:pt x="538" y="1104"/>
                </a:lnTo>
                <a:lnTo>
                  <a:pt x="546" y="1104"/>
                </a:lnTo>
                <a:cubicBezTo>
                  <a:pt x="554" y="1112"/>
                  <a:pt x="546" y="1112"/>
                  <a:pt x="554" y="1112"/>
                </a:cubicBezTo>
                <a:cubicBezTo>
                  <a:pt x="562" y="1112"/>
                  <a:pt x="546" y="1096"/>
                  <a:pt x="562" y="1096"/>
                </a:cubicBezTo>
                <a:lnTo>
                  <a:pt x="579" y="1096"/>
                </a:lnTo>
                <a:cubicBezTo>
                  <a:pt x="579" y="1088"/>
                  <a:pt x="595" y="1088"/>
                  <a:pt x="579" y="1080"/>
                </a:cubicBezTo>
                <a:lnTo>
                  <a:pt x="562" y="1072"/>
                </a:lnTo>
                <a:cubicBezTo>
                  <a:pt x="554" y="1072"/>
                  <a:pt x="554" y="1072"/>
                  <a:pt x="554" y="1064"/>
                </a:cubicBezTo>
                <a:cubicBezTo>
                  <a:pt x="546" y="1056"/>
                  <a:pt x="546" y="1048"/>
                  <a:pt x="538" y="1048"/>
                </a:cubicBezTo>
                <a:lnTo>
                  <a:pt x="513" y="1048"/>
                </a:lnTo>
                <a:cubicBezTo>
                  <a:pt x="513" y="1048"/>
                  <a:pt x="505" y="1041"/>
                  <a:pt x="497" y="1041"/>
                </a:cubicBezTo>
                <a:cubicBezTo>
                  <a:pt x="489" y="1041"/>
                  <a:pt x="472" y="1025"/>
                  <a:pt x="472" y="1025"/>
                </a:cubicBezTo>
                <a:cubicBezTo>
                  <a:pt x="464" y="1017"/>
                  <a:pt x="440" y="1009"/>
                  <a:pt x="440" y="1009"/>
                </a:cubicBezTo>
                <a:cubicBezTo>
                  <a:pt x="440" y="1009"/>
                  <a:pt x="432" y="1001"/>
                  <a:pt x="423" y="1001"/>
                </a:cubicBezTo>
                <a:lnTo>
                  <a:pt x="407" y="1001"/>
                </a:lnTo>
                <a:cubicBezTo>
                  <a:pt x="400" y="993"/>
                  <a:pt x="392" y="985"/>
                  <a:pt x="392" y="985"/>
                </a:cubicBezTo>
                <a:cubicBezTo>
                  <a:pt x="384" y="978"/>
                  <a:pt x="375" y="978"/>
                  <a:pt x="375" y="978"/>
                </a:cubicBezTo>
                <a:cubicBezTo>
                  <a:pt x="384" y="985"/>
                  <a:pt x="375" y="985"/>
                  <a:pt x="392" y="993"/>
                </a:cubicBezTo>
                <a:cubicBezTo>
                  <a:pt x="400" y="1001"/>
                  <a:pt x="407" y="1001"/>
                  <a:pt x="407" y="1001"/>
                </a:cubicBezTo>
                <a:lnTo>
                  <a:pt x="415" y="1009"/>
                </a:lnTo>
                <a:cubicBezTo>
                  <a:pt x="415" y="1017"/>
                  <a:pt x="423" y="1009"/>
                  <a:pt x="432" y="1009"/>
                </a:cubicBezTo>
                <a:cubicBezTo>
                  <a:pt x="432" y="1017"/>
                  <a:pt x="440" y="1017"/>
                  <a:pt x="440" y="1025"/>
                </a:cubicBezTo>
                <a:cubicBezTo>
                  <a:pt x="440" y="1025"/>
                  <a:pt x="464" y="1025"/>
                  <a:pt x="464" y="1033"/>
                </a:cubicBezTo>
                <a:cubicBezTo>
                  <a:pt x="464" y="1041"/>
                  <a:pt x="472" y="1048"/>
                  <a:pt x="464" y="1048"/>
                </a:cubicBezTo>
                <a:lnTo>
                  <a:pt x="456" y="1056"/>
                </a:lnTo>
                <a:cubicBezTo>
                  <a:pt x="464" y="1056"/>
                  <a:pt x="472" y="1064"/>
                  <a:pt x="481" y="1064"/>
                </a:cubicBezTo>
                <a:cubicBezTo>
                  <a:pt x="489" y="1064"/>
                  <a:pt x="481" y="1064"/>
                  <a:pt x="497" y="1072"/>
                </a:cubicBezTo>
                <a:cubicBezTo>
                  <a:pt x="513" y="1072"/>
                  <a:pt x="513" y="1088"/>
                  <a:pt x="513" y="1088"/>
                </a:cubicBezTo>
                <a:cubicBezTo>
                  <a:pt x="513" y="1096"/>
                  <a:pt x="530" y="1104"/>
                  <a:pt x="530" y="1104"/>
                </a:cubicBezTo>
                <a:cubicBezTo>
                  <a:pt x="530" y="1104"/>
                  <a:pt x="521" y="1104"/>
                  <a:pt x="530" y="1112"/>
                </a:cubicBezTo>
                <a:cubicBezTo>
                  <a:pt x="530" y="1112"/>
                  <a:pt x="521" y="1112"/>
                  <a:pt x="530" y="1119"/>
                </a:cubicBezTo>
                <a:lnTo>
                  <a:pt x="546" y="1119"/>
                </a:lnTo>
                <a:lnTo>
                  <a:pt x="546" y="1135"/>
                </a:lnTo>
                <a:cubicBezTo>
                  <a:pt x="546" y="1135"/>
                  <a:pt x="530" y="1151"/>
                  <a:pt x="554" y="1151"/>
                </a:cubicBezTo>
                <a:lnTo>
                  <a:pt x="570" y="1151"/>
                </a:lnTo>
                <a:lnTo>
                  <a:pt x="579" y="1159"/>
                </a:lnTo>
                <a:cubicBezTo>
                  <a:pt x="579" y="1159"/>
                  <a:pt x="570" y="1167"/>
                  <a:pt x="579" y="1175"/>
                </a:cubicBezTo>
                <a:cubicBezTo>
                  <a:pt x="579" y="1183"/>
                  <a:pt x="611" y="1183"/>
                  <a:pt x="611" y="1183"/>
                </a:cubicBezTo>
                <a:lnTo>
                  <a:pt x="611" y="1175"/>
                </a:lnTo>
                <a:cubicBezTo>
                  <a:pt x="611" y="1175"/>
                  <a:pt x="627" y="1183"/>
                  <a:pt x="619" y="1183"/>
                </a:cubicBezTo>
                <a:cubicBezTo>
                  <a:pt x="619" y="1190"/>
                  <a:pt x="611" y="1190"/>
                  <a:pt x="611" y="1190"/>
                </a:cubicBezTo>
                <a:cubicBezTo>
                  <a:pt x="611" y="1190"/>
                  <a:pt x="611" y="1206"/>
                  <a:pt x="619" y="1206"/>
                </a:cubicBezTo>
                <a:cubicBezTo>
                  <a:pt x="627" y="1206"/>
                  <a:pt x="636" y="1214"/>
                  <a:pt x="636" y="1214"/>
                </a:cubicBezTo>
                <a:cubicBezTo>
                  <a:pt x="636" y="1214"/>
                  <a:pt x="644" y="1214"/>
                  <a:pt x="644" y="1222"/>
                </a:cubicBezTo>
                <a:cubicBezTo>
                  <a:pt x="652" y="1222"/>
                  <a:pt x="652" y="1230"/>
                  <a:pt x="652" y="1230"/>
                </a:cubicBezTo>
                <a:cubicBezTo>
                  <a:pt x="660" y="1230"/>
                  <a:pt x="668" y="1230"/>
                  <a:pt x="668" y="1238"/>
                </a:cubicBezTo>
                <a:cubicBezTo>
                  <a:pt x="676" y="1238"/>
                  <a:pt x="685" y="1246"/>
                  <a:pt x="685" y="1238"/>
                </a:cubicBezTo>
                <a:cubicBezTo>
                  <a:pt x="685" y="1230"/>
                  <a:pt x="693" y="1230"/>
                  <a:pt x="685" y="1222"/>
                </a:cubicBezTo>
                <a:cubicBezTo>
                  <a:pt x="676" y="1214"/>
                  <a:pt x="668" y="1214"/>
                  <a:pt x="660" y="1214"/>
                </a:cubicBezTo>
                <a:cubicBezTo>
                  <a:pt x="660" y="1214"/>
                  <a:pt x="652" y="1214"/>
                  <a:pt x="652" y="1206"/>
                </a:cubicBezTo>
                <a:cubicBezTo>
                  <a:pt x="644" y="1206"/>
                  <a:pt x="644" y="1206"/>
                  <a:pt x="644" y="1198"/>
                </a:cubicBezTo>
                <a:cubicBezTo>
                  <a:pt x="644" y="1190"/>
                  <a:pt x="636" y="1183"/>
                  <a:pt x="636" y="1183"/>
                </a:cubicBezTo>
                <a:lnTo>
                  <a:pt x="636" y="1167"/>
                </a:lnTo>
                <a:lnTo>
                  <a:pt x="619" y="1167"/>
                </a:lnTo>
                <a:lnTo>
                  <a:pt x="611" y="1159"/>
                </a:lnTo>
                <a:lnTo>
                  <a:pt x="595" y="1159"/>
                </a:lnTo>
                <a:cubicBezTo>
                  <a:pt x="595" y="1151"/>
                  <a:pt x="603" y="1151"/>
                  <a:pt x="603" y="1151"/>
                </a:cubicBezTo>
                <a:lnTo>
                  <a:pt x="619" y="1151"/>
                </a:lnTo>
                <a:cubicBezTo>
                  <a:pt x="627" y="1159"/>
                  <a:pt x="627" y="1151"/>
                  <a:pt x="636" y="1159"/>
                </a:cubicBezTo>
                <a:cubicBezTo>
                  <a:pt x="644" y="1159"/>
                  <a:pt x="636" y="1167"/>
                  <a:pt x="644" y="1167"/>
                </a:cubicBezTo>
                <a:cubicBezTo>
                  <a:pt x="660" y="1167"/>
                  <a:pt x="660" y="1159"/>
                  <a:pt x="660" y="1159"/>
                </a:cubicBezTo>
                <a:lnTo>
                  <a:pt x="676" y="1151"/>
                </a:lnTo>
                <a:lnTo>
                  <a:pt x="685" y="1159"/>
                </a:lnTo>
                <a:cubicBezTo>
                  <a:pt x="693" y="1159"/>
                  <a:pt x="676" y="1167"/>
                  <a:pt x="693" y="1167"/>
                </a:cubicBezTo>
                <a:lnTo>
                  <a:pt x="717" y="1167"/>
                </a:lnTo>
                <a:lnTo>
                  <a:pt x="717" y="1183"/>
                </a:lnTo>
                <a:lnTo>
                  <a:pt x="717" y="1190"/>
                </a:lnTo>
                <a:lnTo>
                  <a:pt x="742" y="1190"/>
                </a:lnTo>
                <a:cubicBezTo>
                  <a:pt x="742" y="1190"/>
                  <a:pt x="750" y="1190"/>
                  <a:pt x="750" y="1198"/>
                </a:cubicBezTo>
                <a:cubicBezTo>
                  <a:pt x="758" y="1206"/>
                  <a:pt x="734" y="1214"/>
                  <a:pt x="734" y="1214"/>
                </a:cubicBezTo>
                <a:cubicBezTo>
                  <a:pt x="734" y="1214"/>
                  <a:pt x="725" y="1206"/>
                  <a:pt x="725" y="1214"/>
                </a:cubicBezTo>
                <a:cubicBezTo>
                  <a:pt x="725" y="1222"/>
                  <a:pt x="717" y="1222"/>
                  <a:pt x="725" y="1230"/>
                </a:cubicBezTo>
                <a:cubicBezTo>
                  <a:pt x="734" y="1230"/>
                  <a:pt x="725" y="1230"/>
                  <a:pt x="725" y="1230"/>
                </a:cubicBezTo>
                <a:cubicBezTo>
                  <a:pt x="717" y="1230"/>
                  <a:pt x="709" y="1222"/>
                  <a:pt x="717" y="1238"/>
                </a:cubicBezTo>
                <a:cubicBezTo>
                  <a:pt x="717" y="1246"/>
                  <a:pt x="725" y="1253"/>
                  <a:pt x="725" y="1253"/>
                </a:cubicBezTo>
                <a:lnTo>
                  <a:pt x="750" y="1253"/>
                </a:lnTo>
                <a:cubicBezTo>
                  <a:pt x="758" y="1253"/>
                  <a:pt x="766" y="1253"/>
                  <a:pt x="758" y="1253"/>
                </a:cubicBezTo>
                <a:cubicBezTo>
                  <a:pt x="750" y="1246"/>
                  <a:pt x="742" y="1246"/>
                  <a:pt x="742" y="1246"/>
                </a:cubicBezTo>
                <a:lnTo>
                  <a:pt x="742" y="1238"/>
                </a:lnTo>
                <a:lnTo>
                  <a:pt x="750" y="1238"/>
                </a:lnTo>
                <a:cubicBezTo>
                  <a:pt x="750" y="1230"/>
                  <a:pt x="758" y="1222"/>
                  <a:pt x="758" y="1222"/>
                </a:cubicBezTo>
                <a:cubicBezTo>
                  <a:pt x="758" y="1222"/>
                  <a:pt x="766" y="1206"/>
                  <a:pt x="774" y="1214"/>
                </a:cubicBezTo>
                <a:cubicBezTo>
                  <a:pt x="774" y="1222"/>
                  <a:pt x="774" y="1222"/>
                  <a:pt x="783" y="1222"/>
                </a:cubicBezTo>
                <a:lnTo>
                  <a:pt x="807" y="1198"/>
                </a:lnTo>
                <a:cubicBezTo>
                  <a:pt x="807" y="1198"/>
                  <a:pt x="815" y="1198"/>
                  <a:pt x="807" y="1206"/>
                </a:cubicBezTo>
                <a:cubicBezTo>
                  <a:pt x="807" y="1214"/>
                  <a:pt x="799" y="1222"/>
                  <a:pt x="807" y="1230"/>
                </a:cubicBezTo>
                <a:lnTo>
                  <a:pt x="807" y="1238"/>
                </a:lnTo>
                <a:cubicBezTo>
                  <a:pt x="815" y="1246"/>
                  <a:pt x="807" y="1246"/>
                  <a:pt x="815" y="1253"/>
                </a:cubicBezTo>
                <a:lnTo>
                  <a:pt x="815" y="1261"/>
                </a:lnTo>
                <a:cubicBezTo>
                  <a:pt x="823" y="1269"/>
                  <a:pt x="831" y="1285"/>
                  <a:pt x="831" y="1285"/>
                </a:cubicBezTo>
                <a:cubicBezTo>
                  <a:pt x="831" y="1285"/>
                  <a:pt x="823" y="1293"/>
                  <a:pt x="831" y="1293"/>
                </a:cubicBezTo>
                <a:cubicBezTo>
                  <a:pt x="840" y="1301"/>
                  <a:pt x="856" y="1301"/>
                  <a:pt x="856" y="1301"/>
                </a:cubicBezTo>
                <a:cubicBezTo>
                  <a:pt x="856" y="1301"/>
                  <a:pt x="864" y="1309"/>
                  <a:pt x="872" y="1301"/>
                </a:cubicBezTo>
                <a:cubicBezTo>
                  <a:pt x="872" y="1293"/>
                  <a:pt x="880" y="1293"/>
                  <a:pt x="880" y="1293"/>
                </a:cubicBezTo>
                <a:lnTo>
                  <a:pt x="897" y="1293"/>
                </a:lnTo>
                <a:cubicBezTo>
                  <a:pt x="913" y="1293"/>
                  <a:pt x="913" y="1301"/>
                  <a:pt x="921" y="1293"/>
                </a:cubicBezTo>
                <a:cubicBezTo>
                  <a:pt x="929" y="1285"/>
                  <a:pt x="921" y="1285"/>
                  <a:pt x="938" y="1285"/>
                </a:cubicBezTo>
                <a:cubicBezTo>
                  <a:pt x="954" y="1285"/>
                  <a:pt x="970" y="1277"/>
                  <a:pt x="970" y="1277"/>
                </a:cubicBezTo>
                <a:lnTo>
                  <a:pt x="995" y="1277"/>
                </a:lnTo>
                <a:lnTo>
                  <a:pt x="1011" y="1285"/>
                </a:lnTo>
                <a:cubicBezTo>
                  <a:pt x="1011" y="1285"/>
                  <a:pt x="1019" y="1293"/>
                  <a:pt x="1027" y="1293"/>
                </a:cubicBezTo>
                <a:lnTo>
                  <a:pt x="1044" y="1293"/>
                </a:lnTo>
                <a:lnTo>
                  <a:pt x="1076" y="1301"/>
                </a:lnTo>
                <a:lnTo>
                  <a:pt x="1109" y="1309"/>
                </a:lnTo>
                <a:lnTo>
                  <a:pt x="1125" y="1317"/>
                </a:lnTo>
                <a:lnTo>
                  <a:pt x="1158" y="1340"/>
                </a:lnTo>
                <a:lnTo>
                  <a:pt x="1191" y="1372"/>
                </a:lnTo>
                <a:lnTo>
                  <a:pt x="1231" y="1387"/>
                </a:lnTo>
                <a:lnTo>
                  <a:pt x="1256" y="1403"/>
                </a:lnTo>
                <a:lnTo>
                  <a:pt x="1272" y="1419"/>
                </a:lnTo>
                <a:lnTo>
                  <a:pt x="1297" y="1435"/>
                </a:lnTo>
                <a:cubicBezTo>
                  <a:pt x="1305" y="1435"/>
                  <a:pt x="1329" y="1451"/>
                  <a:pt x="1329" y="1451"/>
                </a:cubicBezTo>
                <a:lnTo>
                  <a:pt x="1354" y="1466"/>
                </a:lnTo>
                <a:lnTo>
                  <a:pt x="1362" y="1482"/>
                </a:lnTo>
                <a:cubicBezTo>
                  <a:pt x="1362" y="1490"/>
                  <a:pt x="1354" y="1482"/>
                  <a:pt x="1346" y="1482"/>
                </a:cubicBezTo>
                <a:cubicBezTo>
                  <a:pt x="1337" y="1490"/>
                  <a:pt x="1305" y="1474"/>
                  <a:pt x="1305" y="1474"/>
                </a:cubicBezTo>
                <a:lnTo>
                  <a:pt x="1288" y="1458"/>
                </a:lnTo>
                <a:lnTo>
                  <a:pt x="1264" y="1458"/>
                </a:lnTo>
                <a:lnTo>
                  <a:pt x="1248" y="1451"/>
                </a:lnTo>
                <a:lnTo>
                  <a:pt x="1215" y="1458"/>
                </a:lnTo>
                <a:lnTo>
                  <a:pt x="1191" y="1451"/>
                </a:lnTo>
                <a:cubicBezTo>
                  <a:pt x="1191" y="1451"/>
                  <a:pt x="1182" y="1451"/>
                  <a:pt x="1191" y="1458"/>
                </a:cubicBezTo>
                <a:lnTo>
                  <a:pt x="1191" y="1466"/>
                </a:lnTo>
                <a:lnTo>
                  <a:pt x="1166" y="1482"/>
                </a:lnTo>
                <a:lnTo>
                  <a:pt x="1133" y="1490"/>
                </a:lnTo>
                <a:lnTo>
                  <a:pt x="1101" y="1490"/>
                </a:lnTo>
                <a:lnTo>
                  <a:pt x="1076" y="1490"/>
                </a:lnTo>
                <a:lnTo>
                  <a:pt x="1076" y="1506"/>
                </a:lnTo>
                <a:cubicBezTo>
                  <a:pt x="1076" y="1506"/>
                  <a:pt x="1044" y="1506"/>
                  <a:pt x="1076" y="1514"/>
                </a:cubicBezTo>
                <a:cubicBezTo>
                  <a:pt x="1109" y="1514"/>
                  <a:pt x="1125" y="1514"/>
                  <a:pt x="1125" y="1506"/>
                </a:cubicBezTo>
                <a:cubicBezTo>
                  <a:pt x="1133" y="1506"/>
                  <a:pt x="1133" y="1498"/>
                  <a:pt x="1142" y="1498"/>
                </a:cubicBezTo>
                <a:lnTo>
                  <a:pt x="1174" y="1498"/>
                </a:lnTo>
                <a:cubicBezTo>
                  <a:pt x="1174" y="1498"/>
                  <a:pt x="1182" y="1498"/>
                  <a:pt x="1199" y="1490"/>
                </a:cubicBezTo>
                <a:cubicBezTo>
                  <a:pt x="1207" y="1490"/>
                  <a:pt x="1207" y="1482"/>
                  <a:pt x="1223" y="1490"/>
                </a:cubicBezTo>
                <a:cubicBezTo>
                  <a:pt x="1239" y="1498"/>
                  <a:pt x="1231" y="1474"/>
                  <a:pt x="1231" y="1474"/>
                </a:cubicBezTo>
                <a:cubicBezTo>
                  <a:pt x="1231" y="1474"/>
                  <a:pt x="1231" y="1466"/>
                  <a:pt x="1239" y="1466"/>
                </a:cubicBezTo>
                <a:lnTo>
                  <a:pt x="1256" y="1474"/>
                </a:lnTo>
                <a:cubicBezTo>
                  <a:pt x="1264" y="1474"/>
                  <a:pt x="1280" y="1482"/>
                  <a:pt x="1280" y="1482"/>
                </a:cubicBezTo>
                <a:cubicBezTo>
                  <a:pt x="1288" y="1482"/>
                  <a:pt x="1321" y="1490"/>
                  <a:pt x="1321" y="1490"/>
                </a:cubicBezTo>
                <a:lnTo>
                  <a:pt x="1329" y="1514"/>
                </a:lnTo>
                <a:lnTo>
                  <a:pt x="1370" y="1514"/>
                </a:lnTo>
                <a:cubicBezTo>
                  <a:pt x="1378" y="1514"/>
                  <a:pt x="1394" y="1514"/>
                  <a:pt x="1403" y="1522"/>
                </a:cubicBezTo>
                <a:cubicBezTo>
                  <a:pt x="1411" y="1529"/>
                  <a:pt x="1419" y="1529"/>
                  <a:pt x="1419" y="1529"/>
                </a:cubicBezTo>
                <a:cubicBezTo>
                  <a:pt x="1419" y="1529"/>
                  <a:pt x="1427" y="1537"/>
                  <a:pt x="1435" y="1545"/>
                </a:cubicBezTo>
                <a:lnTo>
                  <a:pt x="1460" y="1561"/>
                </a:lnTo>
                <a:lnTo>
                  <a:pt x="1501" y="1577"/>
                </a:lnTo>
                <a:lnTo>
                  <a:pt x="1509" y="1569"/>
                </a:lnTo>
                <a:lnTo>
                  <a:pt x="1509" y="1553"/>
                </a:lnTo>
                <a:cubicBezTo>
                  <a:pt x="1501" y="1545"/>
                  <a:pt x="1468" y="1537"/>
                  <a:pt x="1468" y="1537"/>
                </a:cubicBezTo>
                <a:lnTo>
                  <a:pt x="1452" y="1529"/>
                </a:lnTo>
                <a:cubicBezTo>
                  <a:pt x="1443" y="1490"/>
                  <a:pt x="1452" y="1522"/>
                  <a:pt x="1427" y="1514"/>
                </a:cubicBezTo>
                <a:cubicBezTo>
                  <a:pt x="1411" y="1522"/>
                  <a:pt x="1411" y="1514"/>
                  <a:pt x="1411" y="1514"/>
                </a:cubicBezTo>
                <a:lnTo>
                  <a:pt x="1411" y="1506"/>
                </a:lnTo>
                <a:lnTo>
                  <a:pt x="1403" y="1498"/>
                </a:lnTo>
                <a:cubicBezTo>
                  <a:pt x="1403" y="1498"/>
                  <a:pt x="1394" y="1482"/>
                  <a:pt x="1403" y="1474"/>
                </a:cubicBezTo>
                <a:cubicBezTo>
                  <a:pt x="1411" y="1474"/>
                  <a:pt x="1394" y="1514"/>
                  <a:pt x="1427" y="1466"/>
                </a:cubicBezTo>
                <a:lnTo>
                  <a:pt x="1427" y="1458"/>
                </a:lnTo>
                <a:lnTo>
                  <a:pt x="1419" y="1458"/>
                </a:lnTo>
                <a:lnTo>
                  <a:pt x="1394" y="1458"/>
                </a:lnTo>
                <a:cubicBezTo>
                  <a:pt x="1394" y="1458"/>
                  <a:pt x="1394" y="1466"/>
                  <a:pt x="1386" y="1474"/>
                </a:cubicBezTo>
                <a:cubicBezTo>
                  <a:pt x="1378" y="1482"/>
                  <a:pt x="1378" y="1474"/>
                  <a:pt x="1378" y="1474"/>
                </a:cubicBezTo>
                <a:lnTo>
                  <a:pt x="1378" y="1466"/>
                </a:lnTo>
                <a:lnTo>
                  <a:pt x="1386" y="1458"/>
                </a:lnTo>
                <a:lnTo>
                  <a:pt x="1386" y="1427"/>
                </a:lnTo>
                <a:lnTo>
                  <a:pt x="1362" y="1411"/>
                </a:lnTo>
                <a:lnTo>
                  <a:pt x="1345" y="1395"/>
                </a:lnTo>
                <a:lnTo>
                  <a:pt x="1321" y="1380"/>
                </a:lnTo>
                <a:lnTo>
                  <a:pt x="1288" y="1348"/>
                </a:lnTo>
                <a:lnTo>
                  <a:pt x="1272" y="1340"/>
                </a:lnTo>
                <a:lnTo>
                  <a:pt x="1256" y="1324"/>
                </a:lnTo>
                <a:lnTo>
                  <a:pt x="1256" y="1309"/>
                </a:lnTo>
                <a:lnTo>
                  <a:pt x="1248" y="1277"/>
                </a:lnTo>
                <a:cubicBezTo>
                  <a:pt x="1248" y="1277"/>
                  <a:pt x="1215" y="1269"/>
                  <a:pt x="1199" y="1261"/>
                </a:cubicBezTo>
                <a:lnTo>
                  <a:pt x="1182" y="1253"/>
                </a:lnTo>
                <a:lnTo>
                  <a:pt x="1166" y="1230"/>
                </a:lnTo>
                <a:lnTo>
                  <a:pt x="1158" y="1222"/>
                </a:lnTo>
                <a:lnTo>
                  <a:pt x="1133" y="1198"/>
                </a:lnTo>
                <a:lnTo>
                  <a:pt x="1125" y="1198"/>
                </a:lnTo>
                <a:lnTo>
                  <a:pt x="1084" y="1183"/>
                </a:lnTo>
                <a:lnTo>
                  <a:pt x="1076" y="1167"/>
                </a:lnTo>
                <a:lnTo>
                  <a:pt x="1060" y="1159"/>
                </a:lnTo>
                <a:lnTo>
                  <a:pt x="1052" y="1143"/>
                </a:lnTo>
                <a:lnTo>
                  <a:pt x="1027" y="1135"/>
                </a:lnTo>
                <a:lnTo>
                  <a:pt x="1019" y="1119"/>
                </a:lnTo>
                <a:lnTo>
                  <a:pt x="1011" y="1112"/>
                </a:lnTo>
                <a:lnTo>
                  <a:pt x="986" y="1080"/>
                </a:lnTo>
                <a:lnTo>
                  <a:pt x="962" y="1064"/>
                </a:lnTo>
                <a:lnTo>
                  <a:pt x="954" y="1056"/>
                </a:lnTo>
                <a:lnTo>
                  <a:pt x="946" y="1048"/>
                </a:lnTo>
                <a:lnTo>
                  <a:pt x="929" y="1025"/>
                </a:lnTo>
                <a:lnTo>
                  <a:pt x="905" y="1001"/>
                </a:lnTo>
                <a:lnTo>
                  <a:pt x="889" y="985"/>
                </a:lnTo>
                <a:lnTo>
                  <a:pt x="872" y="962"/>
                </a:lnTo>
                <a:lnTo>
                  <a:pt x="889" y="946"/>
                </a:lnTo>
                <a:cubicBezTo>
                  <a:pt x="880" y="938"/>
                  <a:pt x="872" y="938"/>
                  <a:pt x="872" y="930"/>
                </a:cubicBezTo>
                <a:cubicBezTo>
                  <a:pt x="864" y="930"/>
                  <a:pt x="848" y="922"/>
                  <a:pt x="856" y="914"/>
                </a:cubicBezTo>
                <a:cubicBezTo>
                  <a:pt x="856" y="907"/>
                  <a:pt x="848" y="899"/>
                  <a:pt x="848" y="883"/>
                </a:cubicBezTo>
                <a:cubicBezTo>
                  <a:pt x="848" y="875"/>
                  <a:pt x="848" y="867"/>
                  <a:pt x="840" y="867"/>
                </a:cubicBezTo>
                <a:lnTo>
                  <a:pt x="831" y="859"/>
                </a:lnTo>
                <a:lnTo>
                  <a:pt x="815" y="859"/>
                </a:lnTo>
                <a:lnTo>
                  <a:pt x="807" y="859"/>
                </a:lnTo>
                <a:cubicBezTo>
                  <a:pt x="807" y="859"/>
                  <a:pt x="815" y="843"/>
                  <a:pt x="815" y="828"/>
                </a:cubicBezTo>
                <a:lnTo>
                  <a:pt x="782" y="820"/>
                </a:lnTo>
                <a:cubicBezTo>
                  <a:pt x="782" y="820"/>
                  <a:pt x="782" y="796"/>
                  <a:pt x="766" y="788"/>
                </a:cubicBezTo>
                <a:lnTo>
                  <a:pt x="750" y="788"/>
                </a:lnTo>
                <a:cubicBezTo>
                  <a:pt x="742" y="796"/>
                  <a:pt x="742" y="804"/>
                  <a:pt x="742" y="804"/>
                </a:cubicBezTo>
                <a:lnTo>
                  <a:pt x="709" y="772"/>
                </a:lnTo>
                <a:cubicBezTo>
                  <a:pt x="709" y="772"/>
                  <a:pt x="709" y="765"/>
                  <a:pt x="717" y="749"/>
                </a:cubicBezTo>
                <a:cubicBezTo>
                  <a:pt x="734" y="733"/>
                  <a:pt x="717" y="725"/>
                  <a:pt x="717" y="725"/>
                </a:cubicBezTo>
                <a:lnTo>
                  <a:pt x="709" y="702"/>
                </a:lnTo>
                <a:lnTo>
                  <a:pt x="717" y="686"/>
                </a:lnTo>
                <a:lnTo>
                  <a:pt x="709" y="678"/>
                </a:lnTo>
                <a:lnTo>
                  <a:pt x="701" y="670"/>
                </a:lnTo>
                <a:lnTo>
                  <a:pt x="717" y="638"/>
                </a:lnTo>
                <a:cubicBezTo>
                  <a:pt x="717" y="638"/>
                  <a:pt x="709" y="607"/>
                  <a:pt x="717" y="599"/>
                </a:cubicBezTo>
                <a:cubicBezTo>
                  <a:pt x="717" y="591"/>
                  <a:pt x="717" y="591"/>
                  <a:pt x="725" y="591"/>
                </a:cubicBezTo>
                <a:cubicBezTo>
                  <a:pt x="725" y="583"/>
                  <a:pt x="766" y="575"/>
                  <a:pt x="766" y="575"/>
                </a:cubicBezTo>
                <a:lnTo>
                  <a:pt x="782" y="567"/>
                </a:lnTo>
                <a:lnTo>
                  <a:pt x="815" y="607"/>
                </a:lnTo>
                <a:lnTo>
                  <a:pt x="848" y="638"/>
                </a:lnTo>
                <a:lnTo>
                  <a:pt x="872" y="654"/>
                </a:lnTo>
                <a:cubicBezTo>
                  <a:pt x="872" y="654"/>
                  <a:pt x="880" y="646"/>
                  <a:pt x="889" y="646"/>
                </a:cubicBezTo>
                <a:lnTo>
                  <a:pt x="889" y="623"/>
                </a:lnTo>
                <a:lnTo>
                  <a:pt x="905" y="607"/>
                </a:lnTo>
                <a:lnTo>
                  <a:pt x="913" y="591"/>
                </a:lnTo>
                <a:lnTo>
                  <a:pt x="913" y="575"/>
                </a:lnTo>
                <a:lnTo>
                  <a:pt x="929" y="567"/>
                </a:lnTo>
                <a:lnTo>
                  <a:pt x="954" y="560"/>
                </a:lnTo>
                <a:lnTo>
                  <a:pt x="986" y="552"/>
                </a:lnTo>
                <a:cubicBezTo>
                  <a:pt x="986" y="552"/>
                  <a:pt x="1011" y="560"/>
                  <a:pt x="1019" y="560"/>
                </a:cubicBezTo>
                <a:lnTo>
                  <a:pt x="1027" y="560"/>
                </a:lnTo>
                <a:lnTo>
                  <a:pt x="1044" y="536"/>
                </a:lnTo>
                <a:lnTo>
                  <a:pt x="1052" y="520"/>
                </a:lnTo>
                <a:lnTo>
                  <a:pt x="1093" y="536"/>
                </a:lnTo>
                <a:lnTo>
                  <a:pt x="1109" y="552"/>
                </a:lnTo>
                <a:lnTo>
                  <a:pt x="1150" y="560"/>
                </a:lnTo>
                <a:lnTo>
                  <a:pt x="1166" y="560"/>
                </a:lnTo>
                <a:lnTo>
                  <a:pt x="1166" y="552"/>
                </a:lnTo>
                <a:lnTo>
                  <a:pt x="1199" y="552"/>
                </a:lnTo>
                <a:lnTo>
                  <a:pt x="1239" y="560"/>
                </a:lnTo>
                <a:lnTo>
                  <a:pt x="1305" y="560"/>
                </a:lnTo>
                <a:lnTo>
                  <a:pt x="1329" y="567"/>
                </a:lnTo>
                <a:lnTo>
                  <a:pt x="1345" y="575"/>
                </a:lnTo>
                <a:lnTo>
                  <a:pt x="1354" y="567"/>
                </a:lnTo>
                <a:lnTo>
                  <a:pt x="1378" y="567"/>
                </a:lnTo>
                <a:lnTo>
                  <a:pt x="1386" y="544"/>
                </a:lnTo>
                <a:lnTo>
                  <a:pt x="1394" y="560"/>
                </a:lnTo>
                <a:lnTo>
                  <a:pt x="1419" y="560"/>
                </a:lnTo>
                <a:lnTo>
                  <a:pt x="1427" y="536"/>
                </a:lnTo>
                <a:lnTo>
                  <a:pt x="1435" y="544"/>
                </a:lnTo>
                <a:lnTo>
                  <a:pt x="1452" y="544"/>
                </a:lnTo>
                <a:cubicBezTo>
                  <a:pt x="1460" y="544"/>
                  <a:pt x="1468" y="536"/>
                  <a:pt x="1468" y="536"/>
                </a:cubicBezTo>
                <a:lnTo>
                  <a:pt x="1476" y="544"/>
                </a:lnTo>
                <a:cubicBezTo>
                  <a:pt x="1476" y="544"/>
                  <a:pt x="1484" y="536"/>
                  <a:pt x="1492" y="536"/>
                </a:cubicBezTo>
                <a:cubicBezTo>
                  <a:pt x="1509" y="536"/>
                  <a:pt x="1517" y="528"/>
                  <a:pt x="1517" y="528"/>
                </a:cubicBezTo>
                <a:cubicBezTo>
                  <a:pt x="1517" y="528"/>
                  <a:pt x="1525" y="544"/>
                  <a:pt x="1541" y="552"/>
                </a:cubicBezTo>
                <a:lnTo>
                  <a:pt x="1558" y="552"/>
                </a:lnTo>
                <a:cubicBezTo>
                  <a:pt x="1558" y="552"/>
                  <a:pt x="1566" y="544"/>
                  <a:pt x="1574" y="544"/>
                </a:cubicBezTo>
                <a:lnTo>
                  <a:pt x="1607" y="544"/>
                </a:lnTo>
                <a:cubicBezTo>
                  <a:pt x="1623" y="544"/>
                  <a:pt x="1631" y="560"/>
                  <a:pt x="1631" y="560"/>
                </a:cubicBezTo>
                <a:lnTo>
                  <a:pt x="1656" y="583"/>
                </a:lnTo>
                <a:cubicBezTo>
                  <a:pt x="1656" y="583"/>
                  <a:pt x="1664" y="599"/>
                  <a:pt x="1664" y="607"/>
                </a:cubicBezTo>
                <a:cubicBezTo>
                  <a:pt x="1672" y="615"/>
                  <a:pt x="1672" y="623"/>
                  <a:pt x="1672" y="623"/>
                </a:cubicBezTo>
                <a:cubicBezTo>
                  <a:pt x="1672" y="623"/>
                  <a:pt x="1737" y="646"/>
                  <a:pt x="1745" y="646"/>
                </a:cubicBezTo>
                <a:lnTo>
                  <a:pt x="1753" y="646"/>
                </a:ln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9" name="Freeform 21">
            <a:extLst>
              <a:ext uri="{FF2B5EF4-FFF2-40B4-BE49-F238E27FC236}">
                <a16:creationId xmlns:a16="http://schemas.microsoft.com/office/drawing/2014/main" id="{BEA1BCCF-B303-D48E-A97C-F3447CF75821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675964" y="4816026"/>
            <a:ext cx="14490" cy="23546"/>
          </a:xfrm>
          <a:custGeom>
            <a:avLst/>
            <a:gdLst>
              <a:gd name="T0" fmla="*/ 16 w 34"/>
              <a:gd name="T1" fmla="*/ 56 h 57"/>
              <a:gd name="T2" fmla="*/ 8 w 34"/>
              <a:gd name="T3" fmla="*/ 40 h 57"/>
              <a:gd name="T4" fmla="*/ 8 w 34"/>
              <a:gd name="T5" fmla="*/ 32 h 57"/>
              <a:gd name="T6" fmla="*/ 0 w 34"/>
              <a:gd name="T7" fmla="*/ 16 h 57"/>
              <a:gd name="T8" fmla="*/ 8 w 34"/>
              <a:gd name="T9" fmla="*/ 8 h 57"/>
              <a:gd name="T10" fmla="*/ 25 w 34"/>
              <a:gd name="T11" fmla="*/ 8 h 57"/>
              <a:gd name="T12" fmla="*/ 25 w 34"/>
              <a:gd name="T13" fmla="*/ 24 h 57"/>
              <a:gd name="T14" fmla="*/ 25 w 34"/>
              <a:gd name="T15" fmla="*/ 32 h 57"/>
              <a:gd name="T16" fmla="*/ 33 w 34"/>
              <a:gd name="T17" fmla="*/ 40 h 57"/>
              <a:gd name="T18" fmla="*/ 33 w 34"/>
              <a:gd name="T19" fmla="*/ 56 h 57"/>
              <a:gd name="T20" fmla="*/ 16 w 34"/>
              <a:gd name="T21" fmla="*/ 56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4" h="57">
                <a:moveTo>
                  <a:pt x="16" y="56"/>
                </a:moveTo>
                <a:cubicBezTo>
                  <a:pt x="16" y="56"/>
                  <a:pt x="8" y="48"/>
                  <a:pt x="8" y="40"/>
                </a:cubicBezTo>
                <a:lnTo>
                  <a:pt x="8" y="32"/>
                </a:lnTo>
                <a:cubicBezTo>
                  <a:pt x="8" y="24"/>
                  <a:pt x="0" y="24"/>
                  <a:pt x="0" y="16"/>
                </a:cubicBezTo>
                <a:cubicBezTo>
                  <a:pt x="8" y="16"/>
                  <a:pt x="8" y="8"/>
                  <a:pt x="8" y="8"/>
                </a:cubicBezTo>
                <a:cubicBezTo>
                  <a:pt x="16" y="0"/>
                  <a:pt x="25" y="0"/>
                  <a:pt x="25" y="8"/>
                </a:cubicBezTo>
                <a:lnTo>
                  <a:pt x="25" y="24"/>
                </a:lnTo>
                <a:lnTo>
                  <a:pt x="25" y="32"/>
                </a:lnTo>
                <a:cubicBezTo>
                  <a:pt x="25" y="40"/>
                  <a:pt x="33" y="40"/>
                  <a:pt x="33" y="40"/>
                </a:cubicBezTo>
                <a:lnTo>
                  <a:pt x="33" y="56"/>
                </a:lnTo>
                <a:lnTo>
                  <a:pt x="16" y="5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30" name="Freeform 22">
            <a:extLst>
              <a:ext uri="{FF2B5EF4-FFF2-40B4-BE49-F238E27FC236}">
                <a16:creationId xmlns:a16="http://schemas.microsoft.com/office/drawing/2014/main" id="{AF9D2F7A-7D3A-D702-0BB4-E70CF2B3CC52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683209" y="4839572"/>
            <a:ext cx="43469" cy="103239"/>
          </a:xfrm>
          <a:custGeom>
            <a:avLst/>
            <a:gdLst>
              <a:gd name="T0" fmla="*/ 9 w 107"/>
              <a:gd name="T1" fmla="*/ 0 h 253"/>
              <a:gd name="T2" fmla="*/ 25 w 107"/>
              <a:gd name="T3" fmla="*/ 0 h 253"/>
              <a:gd name="T4" fmla="*/ 25 w 107"/>
              <a:gd name="T5" fmla="*/ 15 h 253"/>
              <a:gd name="T6" fmla="*/ 33 w 107"/>
              <a:gd name="T7" fmla="*/ 23 h 253"/>
              <a:gd name="T8" fmla="*/ 41 w 107"/>
              <a:gd name="T9" fmla="*/ 23 h 253"/>
              <a:gd name="T10" fmla="*/ 49 w 107"/>
              <a:gd name="T11" fmla="*/ 23 h 253"/>
              <a:gd name="T12" fmla="*/ 66 w 107"/>
              <a:gd name="T13" fmla="*/ 15 h 253"/>
              <a:gd name="T14" fmla="*/ 74 w 107"/>
              <a:gd name="T15" fmla="*/ 23 h 253"/>
              <a:gd name="T16" fmla="*/ 66 w 107"/>
              <a:gd name="T17" fmla="*/ 39 h 253"/>
              <a:gd name="T18" fmla="*/ 49 w 107"/>
              <a:gd name="T19" fmla="*/ 31 h 253"/>
              <a:gd name="T20" fmla="*/ 41 w 107"/>
              <a:gd name="T21" fmla="*/ 31 h 253"/>
              <a:gd name="T22" fmla="*/ 41 w 107"/>
              <a:gd name="T23" fmla="*/ 47 h 253"/>
              <a:gd name="T24" fmla="*/ 49 w 107"/>
              <a:gd name="T25" fmla="*/ 55 h 253"/>
              <a:gd name="T26" fmla="*/ 41 w 107"/>
              <a:gd name="T27" fmla="*/ 63 h 253"/>
              <a:gd name="T28" fmla="*/ 49 w 107"/>
              <a:gd name="T29" fmla="*/ 78 h 253"/>
              <a:gd name="T30" fmla="*/ 49 w 107"/>
              <a:gd name="T31" fmla="*/ 86 h 253"/>
              <a:gd name="T32" fmla="*/ 58 w 107"/>
              <a:gd name="T33" fmla="*/ 94 h 253"/>
              <a:gd name="T34" fmla="*/ 58 w 107"/>
              <a:gd name="T35" fmla="*/ 110 h 253"/>
              <a:gd name="T36" fmla="*/ 66 w 107"/>
              <a:gd name="T37" fmla="*/ 118 h 253"/>
              <a:gd name="T38" fmla="*/ 58 w 107"/>
              <a:gd name="T39" fmla="*/ 134 h 253"/>
              <a:gd name="T40" fmla="*/ 66 w 107"/>
              <a:gd name="T41" fmla="*/ 141 h 253"/>
              <a:gd name="T42" fmla="*/ 82 w 107"/>
              <a:gd name="T43" fmla="*/ 165 h 253"/>
              <a:gd name="T44" fmla="*/ 74 w 107"/>
              <a:gd name="T45" fmla="*/ 181 h 253"/>
              <a:gd name="T46" fmla="*/ 66 w 107"/>
              <a:gd name="T47" fmla="*/ 181 h 253"/>
              <a:gd name="T48" fmla="*/ 49 w 107"/>
              <a:gd name="T49" fmla="*/ 157 h 253"/>
              <a:gd name="T50" fmla="*/ 41 w 107"/>
              <a:gd name="T51" fmla="*/ 173 h 253"/>
              <a:gd name="T52" fmla="*/ 58 w 107"/>
              <a:gd name="T53" fmla="*/ 189 h 253"/>
              <a:gd name="T54" fmla="*/ 58 w 107"/>
              <a:gd name="T55" fmla="*/ 189 h 253"/>
              <a:gd name="T56" fmla="*/ 74 w 107"/>
              <a:gd name="T57" fmla="*/ 212 h 253"/>
              <a:gd name="T58" fmla="*/ 90 w 107"/>
              <a:gd name="T59" fmla="*/ 220 h 253"/>
              <a:gd name="T60" fmla="*/ 98 w 107"/>
              <a:gd name="T61" fmla="*/ 236 h 253"/>
              <a:gd name="T62" fmla="*/ 98 w 107"/>
              <a:gd name="T63" fmla="*/ 244 h 253"/>
              <a:gd name="T64" fmla="*/ 90 w 107"/>
              <a:gd name="T65" fmla="*/ 252 h 253"/>
              <a:gd name="T66" fmla="*/ 82 w 107"/>
              <a:gd name="T67" fmla="*/ 236 h 253"/>
              <a:gd name="T68" fmla="*/ 74 w 107"/>
              <a:gd name="T69" fmla="*/ 212 h 253"/>
              <a:gd name="T70" fmla="*/ 58 w 107"/>
              <a:gd name="T71" fmla="*/ 205 h 253"/>
              <a:gd name="T72" fmla="*/ 49 w 107"/>
              <a:gd name="T73" fmla="*/ 197 h 253"/>
              <a:gd name="T74" fmla="*/ 41 w 107"/>
              <a:gd name="T75" fmla="*/ 197 h 253"/>
              <a:gd name="T76" fmla="*/ 25 w 107"/>
              <a:gd name="T77" fmla="*/ 197 h 253"/>
              <a:gd name="T78" fmla="*/ 33 w 107"/>
              <a:gd name="T79" fmla="*/ 181 h 253"/>
              <a:gd name="T80" fmla="*/ 41 w 107"/>
              <a:gd name="T81" fmla="*/ 181 h 253"/>
              <a:gd name="T82" fmla="*/ 33 w 107"/>
              <a:gd name="T83" fmla="*/ 173 h 253"/>
              <a:gd name="T84" fmla="*/ 33 w 107"/>
              <a:gd name="T85" fmla="*/ 165 h 253"/>
              <a:gd name="T86" fmla="*/ 25 w 107"/>
              <a:gd name="T87" fmla="*/ 165 h 253"/>
              <a:gd name="T88" fmla="*/ 25 w 107"/>
              <a:gd name="T89" fmla="*/ 134 h 253"/>
              <a:gd name="T90" fmla="*/ 33 w 107"/>
              <a:gd name="T91" fmla="*/ 141 h 253"/>
              <a:gd name="T92" fmla="*/ 41 w 107"/>
              <a:gd name="T93" fmla="*/ 126 h 253"/>
              <a:gd name="T94" fmla="*/ 33 w 107"/>
              <a:gd name="T95" fmla="*/ 126 h 253"/>
              <a:gd name="T96" fmla="*/ 25 w 107"/>
              <a:gd name="T97" fmla="*/ 110 h 253"/>
              <a:gd name="T98" fmla="*/ 25 w 107"/>
              <a:gd name="T99" fmla="*/ 102 h 253"/>
              <a:gd name="T100" fmla="*/ 17 w 107"/>
              <a:gd name="T101" fmla="*/ 94 h 253"/>
              <a:gd name="T102" fmla="*/ 9 w 107"/>
              <a:gd name="T103" fmla="*/ 78 h 253"/>
              <a:gd name="T104" fmla="*/ 9 w 107"/>
              <a:gd name="T105" fmla="*/ 70 h 253"/>
              <a:gd name="T106" fmla="*/ 0 w 107"/>
              <a:gd name="T107" fmla="*/ 63 h 253"/>
              <a:gd name="T108" fmla="*/ 9 w 107"/>
              <a:gd name="T109" fmla="*/ 47 h 253"/>
              <a:gd name="T110" fmla="*/ 17 w 107"/>
              <a:gd name="T111" fmla="*/ 47 h 253"/>
              <a:gd name="T112" fmla="*/ 25 w 107"/>
              <a:gd name="T113" fmla="*/ 55 h 253"/>
              <a:gd name="T114" fmla="*/ 25 w 107"/>
              <a:gd name="T115" fmla="*/ 39 h 253"/>
              <a:gd name="T116" fmla="*/ 17 w 107"/>
              <a:gd name="T117" fmla="*/ 23 h 253"/>
              <a:gd name="T118" fmla="*/ 9 w 107"/>
              <a:gd name="T119" fmla="*/ 15 h 253"/>
              <a:gd name="T120" fmla="*/ 9 w 107"/>
              <a:gd name="T121" fmla="*/ 0 h 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7" h="253">
                <a:moveTo>
                  <a:pt x="9" y="0"/>
                </a:moveTo>
                <a:lnTo>
                  <a:pt x="25" y="0"/>
                </a:lnTo>
                <a:lnTo>
                  <a:pt x="25" y="15"/>
                </a:lnTo>
                <a:cubicBezTo>
                  <a:pt x="33" y="15"/>
                  <a:pt x="33" y="23"/>
                  <a:pt x="33" y="23"/>
                </a:cubicBezTo>
                <a:lnTo>
                  <a:pt x="41" y="23"/>
                </a:lnTo>
                <a:cubicBezTo>
                  <a:pt x="41" y="23"/>
                  <a:pt x="49" y="15"/>
                  <a:pt x="49" y="23"/>
                </a:cubicBezTo>
                <a:cubicBezTo>
                  <a:pt x="58" y="23"/>
                  <a:pt x="66" y="15"/>
                  <a:pt x="66" y="15"/>
                </a:cubicBezTo>
                <a:lnTo>
                  <a:pt x="74" y="23"/>
                </a:lnTo>
                <a:cubicBezTo>
                  <a:pt x="74" y="31"/>
                  <a:pt x="66" y="39"/>
                  <a:pt x="66" y="39"/>
                </a:cubicBezTo>
                <a:cubicBezTo>
                  <a:pt x="58" y="39"/>
                  <a:pt x="49" y="31"/>
                  <a:pt x="49" y="31"/>
                </a:cubicBezTo>
                <a:cubicBezTo>
                  <a:pt x="49" y="31"/>
                  <a:pt x="41" y="23"/>
                  <a:pt x="41" y="31"/>
                </a:cubicBezTo>
                <a:lnTo>
                  <a:pt x="41" y="47"/>
                </a:lnTo>
                <a:cubicBezTo>
                  <a:pt x="49" y="47"/>
                  <a:pt x="49" y="47"/>
                  <a:pt x="49" y="55"/>
                </a:cubicBezTo>
                <a:cubicBezTo>
                  <a:pt x="41" y="55"/>
                  <a:pt x="41" y="63"/>
                  <a:pt x="41" y="63"/>
                </a:cubicBezTo>
                <a:cubicBezTo>
                  <a:pt x="41" y="70"/>
                  <a:pt x="49" y="78"/>
                  <a:pt x="49" y="78"/>
                </a:cubicBezTo>
                <a:lnTo>
                  <a:pt x="49" y="86"/>
                </a:lnTo>
                <a:lnTo>
                  <a:pt x="58" y="94"/>
                </a:lnTo>
                <a:lnTo>
                  <a:pt x="58" y="110"/>
                </a:lnTo>
                <a:lnTo>
                  <a:pt x="66" y="118"/>
                </a:lnTo>
                <a:lnTo>
                  <a:pt x="58" y="134"/>
                </a:lnTo>
                <a:lnTo>
                  <a:pt x="66" y="141"/>
                </a:lnTo>
                <a:cubicBezTo>
                  <a:pt x="66" y="149"/>
                  <a:pt x="82" y="157"/>
                  <a:pt x="82" y="165"/>
                </a:cubicBezTo>
                <a:cubicBezTo>
                  <a:pt x="82" y="165"/>
                  <a:pt x="82" y="181"/>
                  <a:pt x="74" y="181"/>
                </a:cubicBezTo>
                <a:cubicBezTo>
                  <a:pt x="74" y="181"/>
                  <a:pt x="66" y="189"/>
                  <a:pt x="66" y="181"/>
                </a:cubicBezTo>
                <a:cubicBezTo>
                  <a:pt x="58" y="173"/>
                  <a:pt x="49" y="157"/>
                  <a:pt x="49" y="157"/>
                </a:cubicBezTo>
                <a:cubicBezTo>
                  <a:pt x="49" y="165"/>
                  <a:pt x="41" y="173"/>
                  <a:pt x="41" y="173"/>
                </a:cubicBezTo>
                <a:cubicBezTo>
                  <a:pt x="41" y="181"/>
                  <a:pt x="58" y="189"/>
                  <a:pt x="58" y="189"/>
                </a:cubicBezTo>
                <a:cubicBezTo>
                  <a:pt x="58" y="189"/>
                  <a:pt x="49" y="173"/>
                  <a:pt x="58" y="189"/>
                </a:cubicBezTo>
                <a:cubicBezTo>
                  <a:pt x="66" y="205"/>
                  <a:pt x="74" y="212"/>
                  <a:pt x="74" y="212"/>
                </a:cubicBezTo>
                <a:cubicBezTo>
                  <a:pt x="74" y="212"/>
                  <a:pt x="82" y="220"/>
                  <a:pt x="90" y="220"/>
                </a:cubicBezTo>
                <a:cubicBezTo>
                  <a:pt x="90" y="228"/>
                  <a:pt x="90" y="228"/>
                  <a:pt x="98" y="236"/>
                </a:cubicBezTo>
                <a:cubicBezTo>
                  <a:pt x="98" y="236"/>
                  <a:pt x="106" y="244"/>
                  <a:pt x="98" y="244"/>
                </a:cubicBezTo>
                <a:cubicBezTo>
                  <a:pt x="90" y="252"/>
                  <a:pt x="98" y="252"/>
                  <a:pt x="90" y="252"/>
                </a:cubicBezTo>
                <a:cubicBezTo>
                  <a:pt x="90" y="244"/>
                  <a:pt x="82" y="244"/>
                  <a:pt x="82" y="236"/>
                </a:cubicBezTo>
                <a:cubicBezTo>
                  <a:pt x="82" y="228"/>
                  <a:pt x="74" y="220"/>
                  <a:pt x="74" y="212"/>
                </a:cubicBezTo>
                <a:cubicBezTo>
                  <a:pt x="66" y="212"/>
                  <a:pt x="58" y="205"/>
                  <a:pt x="58" y="205"/>
                </a:cubicBezTo>
                <a:cubicBezTo>
                  <a:pt x="49" y="205"/>
                  <a:pt x="49" y="197"/>
                  <a:pt x="49" y="197"/>
                </a:cubicBezTo>
                <a:lnTo>
                  <a:pt x="41" y="197"/>
                </a:lnTo>
                <a:lnTo>
                  <a:pt x="25" y="197"/>
                </a:lnTo>
                <a:cubicBezTo>
                  <a:pt x="25" y="189"/>
                  <a:pt x="25" y="189"/>
                  <a:pt x="33" y="181"/>
                </a:cubicBezTo>
                <a:lnTo>
                  <a:pt x="41" y="181"/>
                </a:lnTo>
                <a:lnTo>
                  <a:pt x="33" y="173"/>
                </a:lnTo>
                <a:lnTo>
                  <a:pt x="33" y="165"/>
                </a:lnTo>
                <a:cubicBezTo>
                  <a:pt x="25" y="165"/>
                  <a:pt x="25" y="173"/>
                  <a:pt x="25" y="165"/>
                </a:cubicBezTo>
                <a:lnTo>
                  <a:pt x="25" y="134"/>
                </a:lnTo>
                <a:lnTo>
                  <a:pt x="33" y="141"/>
                </a:lnTo>
                <a:lnTo>
                  <a:pt x="41" y="126"/>
                </a:lnTo>
                <a:lnTo>
                  <a:pt x="33" y="126"/>
                </a:lnTo>
                <a:cubicBezTo>
                  <a:pt x="25" y="126"/>
                  <a:pt x="25" y="110"/>
                  <a:pt x="25" y="110"/>
                </a:cubicBezTo>
                <a:lnTo>
                  <a:pt x="25" y="102"/>
                </a:lnTo>
                <a:cubicBezTo>
                  <a:pt x="25" y="102"/>
                  <a:pt x="17" y="102"/>
                  <a:pt x="17" y="94"/>
                </a:cubicBezTo>
                <a:cubicBezTo>
                  <a:pt x="9" y="86"/>
                  <a:pt x="9" y="78"/>
                  <a:pt x="9" y="78"/>
                </a:cubicBezTo>
                <a:cubicBezTo>
                  <a:pt x="9" y="78"/>
                  <a:pt x="17" y="78"/>
                  <a:pt x="9" y="70"/>
                </a:cubicBezTo>
                <a:cubicBezTo>
                  <a:pt x="9" y="63"/>
                  <a:pt x="9" y="63"/>
                  <a:pt x="0" y="63"/>
                </a:cubicBezTo>
                <a:cubicBezTo>
                  <a:pt x="0" y="55"/>
                  <a:pt x="0" y="47"/>
                  <a:pt x="9" y="47"/>
                </a:cubicBezTo>
                <a:lnTo>
                  <a:pt x="17" y="47"/>
                </a:lnTo>
                <a:cubicBezTo>
                  <a:pt x="17" y="55"/>
                  <a:pt x="25" y="55"/>
                  <a:pt x="25" y="55"/>
                </a:cubicBezTo>
                <a:cubicBezTo>
                  <a:pt x="25" y="47"/>
                  <a:pt x="33" y="39"/>
                  <a:pt x="25" y="39"/>
                </a:cubicBezTo>
                <a:cubicBezTo>
                  <a:pt x="25" y="31"/>
                  <a:pt x="17" y="23"/>
                  <a:pt x="17" y="23"/>
                </a:cubicBezTo>
                <a:lnTo>
                  <a:pt x="9" y="15"/>
                </a:lnTo>
                <a:lnTo>
                  <a:pt x="9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31" name="Freeform 23">
            <a:extLst>
              <a:ext uri="{FF2B5EF4-FFF2-40B4-BE49-F238E27FC236}">
                <a16:creationId xmlns:a16="http://schemas.microsoft.com/office/drawing/2014/main" id="{2168467F-07CE-8058-0DF5-DD7DB6AC7B36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675964" y="4901153"/>
            <a:ext cx="10867" cy="12678"/>
          </a:xfrm>
          <a:custGeom>
            <a:avLst/>
            <a:gdLst>
              <a:gd name="T0" fmla="*/ 25 w 26"/>
              <a:gd name="T1" fmla="*/ 32 h 33"/>
              <a:gd name="T2" fmla="*/ 8 w 26"/>
              <a:gd name="T3" fmla="*/ 32 h 33"/>
              <a:gd name="T4" fmla="*/ 0 w 26"/>
              <a:gd name="T5" fmla="*/ 24 h 33"/>
              <a:gd name="T6" fmla="*/ 8 w 26"/>
              <a:gd name="T7" fmla="*/ 16 h 33"/>
              <a:gd name="T8" fmla="*/ 8 w 26"/>
              <a:gd name="T9" fmla="*/ 0 h 33"/>
              <a:gd name="T10" fmla="*/ 16 w 26"/>
              <a:gd name="T11" fmla="*/ 0 h 33"/>
              <a:gd name="T12" fmla="*/ 25 w 26"/>
              <a:gd name="T13" fmla="*/ 8 h 33"/>
              <a:gd name="T14" fmla="*/ 25 w 26"/>
              <a:gd name="T15" fmla="*/ 3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33">
                <a:moveTo>
                  <a:pt x="25" y="32"/>
                </a:moveTo>
                <a:lnTo>
                  <a:pt x="8" y="32"/>
                </a:lnTo>
                <a:cubicBezTo>
                  <a:pt x="8" y="32"/>
                  <a:pt x="0" y="32"/>
                  <a:pt x="0" y="24"/>
                </a:cubicBezTo>
                <a:cubicBezTo>
                  <a:pt x="0" y="24"/>
                  <a:pt x="0" y="16"/>
                  <a:pt x="8" y="16"/>
                </a:cubicBezTo>
                <a:lnTo>
                  <a:pt x="8" y="0"/>
                </a:lnTo>
                <a:lnTo>
                  <a:pt x="16" y="0"/>
                </a:lnTo>
                <a:lnTo>
                  <a:pt x="25" y="8"/>
                </a:lnTo>
                <a:lnTo>
                  <a:pt x="25" y="3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32" name="Freeform 24">
            <a:extLst>
              <a:ext uri="{FF2B5EF4-FFF2-40B4-BE49-F238E27FC236}">
                <a16:creationId xmlns:a16="http://schemas.microsoft.com/office/drawing/2014/main" id="{4F928E66-9BBF-485F-4CD1-FB9A6FD9B40F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686831" y="4926510"/>
            <a:ext cx="7245" cy="10867"/>
          </a:xfrm>
          <a:custGeom>
            <a:avLst/>
            <a:gdLst>
              <a:gd name="T0" fmla="*/ 0 w 17"/>
              <a:gd name="T1" fmla="*/ 0 h 25"/>
              <a:gd name="T2" fmla="*/ 8 w 17"/>
              <a:gd name="T3" fmla="*/ 0 h 25"/>
              <a:gd name="T4" fmla="*/ 16 w 17"/>
              <a:gd name="T5" fmla="*/ 16 h 25"/>
              <a:gd name="T6" fmla="*/ 8 w 17"/>
              <a:gd name="T7" fmla="*/ 24 h 25"/>
              <a:gd name="T8" fmla="*/ 0 w 17"/>
              <a:gd name="T9" fmla="*/ 16 h 25"/>
              <a:gd name="T10" fmla="*/ 0 w 17"/>
              <a:gd name="T11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25">
                <a:moveTo>
                  <a:pt x="0" y="0"/>
                </a:moveTo>
                <a:lnTo>
                  <a:pt x="8" y="0"/>
                </a:lnTo>
                <a:cubicBezTo>
                  <a:pt x="16" y="8"/>
                  <a:pt x="8" y="8"/>
                  <a:pt x="16" y="16"/>
                </a:cubicBezTo>
                <a:lnTo>
                  <a:pt x="8" y="24"/>
                </a:lnTo>
                <a:lnTo>
                  <a:pt x="0" y="16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33" name="Freeform 25">
            <a:extLst>
              <a:ext uri="{FF2B5EF4-FFF2-40B4-BE49-F238E27FC236}">
                <a16:creationId xmlns:a16="http://schemas.microsoft.com/office/drawing/2014/main" id="{01C87AFC-13F9-3E50-BBFF-C8D1F9538C92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735733" y="4942811"/>
            <a:ext cx="9057" cy="12679"/>
          </a:xfrm>
          <a:custGeom>
            <a:avLst/>
            <a:gdLst>
              <a:gd name="T0" fmla="*/ 0 w 24"/>
              <a:gd name="T1" fmla="*/ 0 h 32"/>
              <a:gd name="T2" fmla="*/ 7 w 24"/>
              <a:gd name="T3" fmla="*/ 8 h 32"/>
              <a:gd name="T4" fmla="*/ 15 w 24"/>
              <a:gd name="T5" fmla="*/ 16 h 32"/>
              <a:gd name="T6" fmla="*/ 15 w 24"/>
              <a:gd name="T7" fmla="*/ 24 h 32"/>
              <a:gd name="T8" fmla="*/ 15 w 24"/>
              <a:gd name="T9" fmla="*/ 31 h 32"/>
              <a:gd name="T10" fmla="*/ 7 w 24"/>
              <a:gd name="T11" fmla="*/ 24 h 32"/>
              <a:gd name="T12" fmla="*/ 0 w 24"/>
              <a:gd name="T13" fmla="*/ 16 h 32"/>
              <a:gd name="T14" fmla="*/ 0 w 24"/>
              <a:gd name="T15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" h="32">
                <a:moveTo>
                  <a:pt x="0" y="0"/>
                </a:moveTo>
                <a:cubicBezTo>
                  <a:pt x="0" y="0"/>
                  <a:pt x="7" y="0"/>
                  <a:pt x="7" y="8"/>
                </a:cubicBezTo>
                <a:cubicBezTo>
                  <a:pt x="7" y="8"/>
                  <a:pt x="15" y="8"/>
                  <a:pt x="15" y="16"/>
                </a:cubicBezTo>
                <a:lnTo>
                  <a:pt x="15" y="24"/>
                </a:lnTo>
                <a:cubicBezTo>
                  <a:pt x="15" y="31"/>
                  <a:pt x="23" y="31"/>
                  <a:pt x="15" y="31"/>
                </a:cubicBezTo>
                <a:lnTo>
                  <a:pt x="7" y="24"/>
                </a:lnTo>
                <a:lnTo>
                  <a:pt x="0" y="16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34" name="Freeform 26">
            <a:extLst>
              <a:ext uri="{FF2B5EF4-FFF2-40B4-BE49-F238E27FC236}">
                <a16:creationId xmlns:a16="http://schemas.microsoft.com/office/drawing/2014/main" id="{A861AC83-6749-C410-C28C-1C3842DF6A18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750223" y="4941000"/>
            <a:ext cx="7245" cy="12678"/>
          </a:xfrm>
          <a:custGeom>
            <a:avLst/>
            <a:gdLst>
              <a:gd name="T0" fmla="*/ 0 w 17"/>
              <a:gd name="T1" fmla="*/ 8 h 33"/>
              <a:gd name="T2" fmla="*/ 0 w 17"/>
              <a:gd name="T3" fmla="*/ 0 h 33"/>
              <a:gd name="T4" fmla="*/ 8 w 17"/>
              <a:gd name="T5" fmla="*/ 8 h 33"/>
              <a:gd name="T6" fmla="*/ 16 w 17"/>
              <a:gd name="T7" fmla="*/ 16 h 33"/>
              <a:gd name="T8" fmla="*/ 8 w 17"/>
              <a:gd name="T9" fmla="*/ 24 h 33"/>
              <a:gd name="T10" fmla="*/ 8 w 17"/>
              <a:gd name="T11" fmla="*/ 32 h 33"/>
              <a:gd name="T12" fmla="*/ 0 w 17"/>
              <a:gd name="T13" fmla="*/ 32 h 33"/>
              <a:gd name="T14" fmla="*/ 0 w 17"/>
              <a:gd name="T15" fmla="*/ 8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33">
                <a:moveTo>
                  <a:pt x="0" y="8"/>
                </a:moveTo>
                <a:lnTo>
                  <a:pt x="0" y="0"/>
                </a:lnTo>
                <a:cubicBezTo>
                  <a:pt x="0" y="0"/>
                  <a:pt x="8" y="0"/>
                  <a:pt x="8" y="8"/>
                </a:cubicBezTo>
                <a:lnTo>
                  <a:pt x="16" y="16"/>
                </a:lnTo>
                <a:cubicBezTo>
                  <a:pt x="16" y="24"/>
                  <a:pt x="8" y="24"/>
                  <a:pt x="8" y="24"/>
                </a:cubicBezTo>
                <a:cubicBezTo>
                  <a:pt x="8" y="32"/>
                  <a:pt x="16" y="32"/>
                  <a:pt x="8" y="32"/>
                </a:cubicBezTo>
                <a:lnTo>
                  <a:pt x="0" y="32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35" name="Freeform 27">
            <a:extLst>
              <a:ext uri="{FF2B5EF4-FFF2-40B4-BE49-F238E27FC236}">
                <a16:creationId xmlns:a16="http://schemas.microsoft.com/office/drawing/2014/main" id="{619B1D9A-FB66-FBF4-046C-CA3070AA3638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755657" y="4926510"/>
            <a:ext cx="18112" cy="19923"/>
          </a:xfrm>
          <a:custGeom>
            <a:avLst/>
            <a:gdLst>
              <a:gd name="T0" fmla="*/ 0 w 42"/>
              <a:gd name="T1" fmla="*/ 8 h 49"/>
              <a:gd name="T2" fmla="*/ 8 w 42"/>
              <a:gd name="T3" fmla="*/ 8 h 49"/>
              <a:gd name="T4" fmla="*/ 16 w 42"/>
              <a:gd name="T5" fmla="*/ 16 h 49"/>
              <a:gd name="T6" fmla="*/ 41 w 42"/>
              <a:gd name="T7" fmla="*/ 24 h 49"/>
              <a:gd name="T8" fmla="*/ 41 w 42"/>
              <a:gd name="T9" fmla="*/ 40 h 49"/>
              <a:gd name="T10" fmla="*/ 33 w 42"/>
              <a:gd name="T11" fmla="*/ 40 h 49"/>
              <a:gd name="T12" fmla="*/ 24 w 42"/>
              <a:gd name="T13" fmla="*/ 32 h 49"/>
              <a:gd name="T14" fmla="*/ 16 w 42"/>
              <a:gd name="T15" fmla="*/ 24 h 49"/>
              <a:gd name="T16" fmla="*/ 0 w 42"/>
              <a:gd name="T17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" h="49">
                <a:moveTo>
                  <a:pt x="0" y="8"/>
                </a:moveTo>
                <a:cubicBezTo>
                  <a:pt x="0" y="8"/>
                  <a:pt x="8" y="0"/>
                  <a:pt x="8" y="8"/>
                </a:cubicBezTo>
                <a:cubicBezTo>
                  <a:pt x="16" y="8"/>
                  <a:pt x="16" y="16"/>
                  <a:pt x="16" y="16"/>
                </a:cubicBezTo>
                <a:cubicBezTo>
                  <a:pt x="24" y="24"/>
                  <a:pt x="33" y="24"/>
                  <a:pt x="41" y="24"/>
                </a:cubicBezTo>
                <a:lnTo>
                  <a:pt x="41" y="40"/>
                </a:lnTo>
                <a:cubicBezTo>
                  <a:pt x="41" y="40"/>
                  <a:pt x="33" y="48"/>
                  <a:pt x="33" y="40"/>
                </a:cubicBezTo>
                <a:lnTo>
                  <a:pt x="24" y="32"/>
                </a:lnTo>
                <a:lnTo>
                  <a:pt x="16" y="24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36" name="Freeform 28">
            <a:extLst>
              <a:ext uri="{FF2B5EF4-FFF2-40B4-BE49-F238E27FC236}">
                <a16:creationId xmlns:a16="http://schemas.microsoft.com/office/drawing/2014/main" id="{352624EB-3E18-DC92-FBB3-38093EE6FBB4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7730300" y="4863117"/>
            <a:ext cx="27168" cy="32602"/>
          </a:xfrm>
          <a:custGeom>
            <a:avLst/>
            <a:gdLst>
              <a:gd name="T0" fmla="*/ 31 w 65"/>
              <a:gd name="T1" fmla="*/ 55 h 80"/>
              <a:gd name="T2" fmla="*/ 23 w 65"/>
              <a:gd name="T3" fmla="*/ 55 h 80"/>
              <a:gd name="T4" fmla="*/ 0 w 65"/>
              <a:gd name="T5" fmla="*/ 47 h 80"/>
              <a:gd name="T6" fmla="*/ 8 w 65"/>
              <a:gd name="T7" fmla="*/ 39 h 80"/>
              <a:gd name="T8" fmla="*/ 8 w 65"/>
              <a:gd name="T9" fmla="*/ 23 h 80"/>
              <a:gd name="T10" fmla="*/ 16 w 65"/>
              <a:gd name="T11" fmla="*/ 15 h 80"/>
              <a:gd name="T12" fmla="*/ 23 w 65"/>
              <a:gd name="T13" fmla="*/ 15 h 80"/>
              <a:gd name="T14" fmla="*/ 23 w 65"/>
              <a:gd name="T15" fmla="*/ 8 h 80"/>
              <a:gd name="T16" fmla="*/ 31 w 65"/>
              <a:gd name="T17" fmla="*/ 0 h 80"/>
              <a:gd name="T18" fmla="*/ 48 w 65"/>
              <a:gd name="T19" fmla="*/ 23 h 80"/>
              <a:gd name="T20" fmla="*/ 23 w 65"/>
              <a:gd name="T21" fmla="*/ 23 h 80"/>
              <a:gd name="T22" fmla="*/ 31 w 65"/>
              <a:gd name="T23" fmla="*/ 39 h 80"/>
              <a:gd name="T24" fmla="*/ 39 w 65"/>
              <a:gd name="T25" fmla="*/ 39 h 80"/>
              <a:gd name="T26" fmla="*/ 56 w 65"/>
              <a:gd name="T27" fmla="*/ 47 h 80"/>
              <a:gd name="T28" fmla="*/ 64 w 65"/>
              <a:gd name="T29" fmla="*/ 63 h 80"/>
              <a:gd name="T30" fmla="*/ 56 w 65"/>
              <a:gd name="T31" fmla="*/ 71 h 80"/>
              <a:gd name="T32" fmla="*/ 48 w 65"/>
              <a:gd name="T33" fmla="*/ 71 h 80"/>
              <a:gd name="T34" fmla="*/ 31 w 65"/>
              <a:gd name="T35" fmla="*/ 55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5" h="80">
                <a:moveTo>
                  <a:pt x="31" y="55"/>
                </a:moveTo>
                <a:lnTo>
                  <a:pt x="23" y="55"/>
                </a:lnTo>
                <a:cubicBezTo>
                  <a:pt x="23" y="55"/>
                  <a:pt x="8" y="47"/>
                  <a:pt x="0" y="47"/>
                </a:cubicBezTo>
                <a:cubicBezTo>
                  <a:pt x="0" y="39"/>
                  <a:pt x="0" y="39"/>
                  <a:pt x="8" y="39"/>
                </a:cubicBezTo>
                <a:lnTo>
                  <a:pt x="8" y="23"/>
                </a:lnTo>
                <a:lnTo>
                  <a:pt x="16" y="15"/>
                </a:lnTo>
                <a:lnTo>
                  <a:pt x="23" y="15"/>
                </a:lnTo>
                <a:lnTo>
                  <a:pt x="23" y="8"/>
                </a:lnTo>
                <a:cubicBezTo>
                  <a:pt x="23" y="0"/>
                  <a:pt x="31" y="0"/>
                  <a:pt x="31" y="0"/>
                </a:cubicBezTo>
                <a:cubicBezTo>
                  <a:pt x="31" y="0"/>
                  <a:pt x="48" y="15"/>
                  <a:pt x="48" y="23"/>
                </a:cubicBezTo>
                <a:lnTo>
                  <a:pt x="23" y="23"/>
                </a:lnTo>
                <a:lnTo>
                  <a:pt x="31" y="39"/>
                </a:lnTo>
                <a:cubicBezTo>
                  <a:pt x="39" y="47"/>
                  <a:pt x="39" y="39"/>
                  <a:pt x="39" y="39"/>
                </a:cubicBezTo>
                <a:cubicBezTo>
                  <a:pt x="39" y="47"/>
                  <a:pt x="39" y="47"/>
                  <a:pt x="56" y="47"/>
                </a:cubicBezTo>
                <a:cubicBezTo>
                  <a:pt x="64" y="55"/>
                  <a:pt x="56" y="55"/>
                  <a:pt x="64" y="63"/>
                </a:cubicBezTo>
                <a:lnTo>
                  <a:pt x="56" y="71"/>
                </a:lnTo>
                <a:cubicBezTo>
                  <a:pt x="48" y="79"/>
                  <a:pt x="48" y="71"/>
                  <a:pt x="48" y="71"/>
                </a:cubicBezTo>
                <a:cubicBezTo>
                  <a:pt x="48" y="71"/>
                  <a:pt x="39" y="55"/>
                  <a:pt x="31" y="55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37" name="Freeform 29">
            <a:extLst>
              <a:ext uri="{FF2B5EF4-FFF2-40B4-BE49-F238E27FC236}">
                <a16:creationId xmlns:a16="http://schemas.microsoft.com/office/drawing/2014/main" id="{54FE3B55-587E-8E4A-BCC8-9DCA76AFAC3C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739356" y="4852250"/>
            <a:ext cx="10867" cy="12679"/>
          </a:xfrm>
          <a:custGeom>
            <a:avLst/>
            <a:gdLst>
              <a:gd name="T0" fmla="*/ 0 w 26"/>
              <a:gd name="T1" fmla="*/ 8 h 33"/>
              <a:gd name="T2" fmla="*/ 0 w 26"/>
              <a:gd name="T3" fmla="*/ 0 h 33"/>
              <a:gd name="T4" fmla="*/ 8 w 26"/>
              <a:gd name="T5" fmla="*/ 0 h 33"/>
              <a:gd name="T6" fmla="*/ 16 w 26"/>
              <a:gd name="T7" fmla="*/ 8 h 33"/>
              <a:gd name="T8" fmla="*/ 25 w 26"/>
              <a:gd name="T9" fmla="*/ 8 h 33"/>
              <a:gd name="T10" fmla="*/ 25 w 26"/>
              <a:gd name="T11" fmla="*/ 16 h 33"/>
              <a:gd name="T12" fmla="*/ 16 w 26"/>
              <a:gd name="T13" fmla="*/ 24 h 33"/>
              <a:gd name="T14" fmla="*/ 0 w 26"/>
              <a:gd name="T15" fmla="*/ 16 h 33"/>
              <a:gd name="T16" fmla="*/ 0 w 26"/>
              <a:gd name="T17" fmla="*/ 8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" h="33">
                <a:moveTo>
                  <a:pt x="0" y="8"/>
                </a:moveTo>
                <a:lnTo>
                  <a:pt x="0" y="0"/>
                </a:lnTo>
                <a:lnTo>
                  <a:pt x="8" y="0"/>
                </a:lnTo>
                <a:cubicBezTo>
                  <a:pt x="8" y="8"/>
                  <a:pt x="8" y="8"/>
                  <a:pt x="16" y="8"/>
                </a:cubicBezTo>
                <a:lnTo>
                  <a:pt x="25" y="8"/>
                </a:lnTo>
                <a:lnTo>
                  <a:pt x="25" y="16"/>
                </a:lnTo>
                <a:cubicBezTo>
                  <a:pt x="25" y="16"/>
                  <a:pt x="25" y="32"/>
                  <a:pt x="16" y="24"/>
                </a:cubicBezTo>
                <a:cubicBezTo>
                  <a:pt x="8" y="24"/>
                  <a:pt x="0" y="24"/>
                  <a:pt x="0" y="16"/>
                </a:cubicBez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38" name="Freeform 30">
            <a:extLst>
              <a:ext uri="{FF2B5EF4-FFF2-40B4-BE49-F238E27FC236}">
                <a16:creationId xmlns:a16="http://schemas.microsoft.com/office/drawing/2014/main" id="{AFE0F343-E782-5F71-01DF-F7649457D702}"/>
              </a:ext>
            </a:extLst>
          </p:cNvPr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7944024" y="5093142"/>
            <a:ext cx="94183" cy="23545"/>
          </a:xfrm>
          <a:custGeom>
            <a:avLst/>
            <a:gdLst>
              <a:gd name="T0" fmla="*/ 73 w 229"/>
              <a:gd name="T1" fmla="*/ 39 h 56"/>
              <a:gd name="T2" fmla="*/ 41 w 229"/>
              <a:gd name="T3" fmla="*/ 23 h 56"/>
              <a:gd name="T4" fmla="*/ 16 w 229"/>
              <a:gd name="T5" fmla="*/ 23 h 56"/>
              <a:gd name="T6" fmla="*/ 8 w 229"/>
              <a:gd name="T7" fmla="*/ 7 h 56"/>
              <a:gd name="T8" fmla="*/ 24 w 229"/>
              <a:gd name="T9" fmla="*/ 7 h 56"/>
              <a:gd name="T10" fmla="*/ 41 w 229"/>
              <a:gd name="T11" fmla="*/ 23 h 56"/>
              <a:gd name="T12" fmla="*/ 65 w 229"/>
              <a:gd name="T13" fmla="*/ 31 h 56"/>
              <a:gd name="T14" fmla="*/ 73 w 229"/>
              <a:gd name="T15" fmla="*/ 31 h 56"/>
              <a:gd name="T16" fmla="*/ 81 w 229"/>
              <a:gd name="T17" fmla="*/ 15 h 56"/>
              <a:gd name="T18" fmla="*/ 73 w 229"/>
              <a:gd name="T19" fmla="*/ 7 h 56"/>
              <a:gd name="T20" fmla="*/ 98 w 229"/>
              <a:gd name="T21" fmla="*/ 0 h 56"/>
              <a:gd name="T22" fmla="*/ 122 w 229"/>
              <a:gd name="T23" fmla="*/ 7 h 56"/>
              <a:gd name="T24" fmla="*/ 147 w 229"/>
              <a:gd name="T25" fmla="*/ 7 h 56"/>
              <a:gd name="T26" fmla="*/ 179 w 229"/>
              <a:gd name="T27" fmla="*/ 7 h 56"/>
              <a:gd name="T28" fmla="*/ 204 w 229"/>
              <a:gd name="T29" fmla="*/ 7 h 56"/>
              <a:gd name="T30" fmla="*/ 220 w 229"/>
              <a:gd name="T31" fmla="*/ 23 h 56"/>
              <a:gd name="T32" fmla="*/ 220 w 229"/>
              <a:gd name="T33" fmla="*/ 39 h 56"/>
              <a:gd name="T34" fmla="*/ 188 w 229"/>
              <a:gd name="T35" fmla="*/ 47 h 56"/>
              <a:gd name="T36" fmla="*/ 171 w 229"/>
              <a:gd name="T37" fmla="*/ 55 h 56"/>
              <a:gd name="T38" fmla="*/ 130 w 229"/>
              <a:gd name="T39" fmla="*/ 55 h 56"/>
              <a:gd name="T40" fmla="*/ 114 w 229"/>
              <a:gd name="T41" fmla="*/ 55 h 56"/>
              <a:gd name="T42" fmla="*/ 81 w 229"/>
              <a:gd name="T43" fmla="*/ 47 h 56"/>
              <a:gd name="T44" fmla="*/ 73 w 229"/>
              <a:gd name="T45" fmla="*/ 39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29" h="56">
                <a:moveTo>
                  <a:pt x="73" y="39"/>
                </a:moveTo>
                <a:lnTo>
                  <a:pt x="41" y="23"/>
                </a:lnTo>
                <a:lnTo>
                  <a:pt x="16" y="23"/>
                </a:lnTo>
                <a:cubicBezTo>
                  <a:pt x="16" y="23"/>
                  <a:pt x="0" y="15"/>
                  <a:pt x="8" y="7"/>
                </a:cubicBezTo>
                <a:cubicBezTo>
                  <a:pt x="8" y="7"/>
                  <a:pt x="16" y="0"/>
                  <a:pt x="24" y="7"/>
                </a:cubicBezTo>
                <a:cubicBezTo>
                  <a:pt x="32" y="15"/>
                  <a:pt x="41" y="15"/>
                  <a:pt x="41" y="23"/>
                </a:cubicBezTo>
                <a:cubicBezTo>
                  <a:pt x="49" y="23"/>
                  <a:pt x="65" y="31"/>
                  <a:pt x="65" y="31"/>
                </a:cubicBezTo>
                <a:cubicBezTo>
                  <a:pt x="73" y="31"/>
                  <a:pt x="73" y="39"/>
                  <a:pt x="73" y="31"/>
                </a:cubicBezTo>
                <a:cubicBezTo>
                  <a:pt x="81" y="31"/>
                  <a:pt x="81" y="15"/>
                  <a:pt x="81" y="15"/>
                </a:cubicBezTo>
                <a:cubicBezTo>
                  <a:pt x="81" y="7"/>
                  <a:pt x="73" y="7"/>
                  <a:pt x="73" y="7"/>
                </a:cubicBezTo>
                <a:cubicBezTo>
                  <a:pt x="81" y="7"/>
                  <a:pt x="98" y="0"/>
                  <a:pt x="98" y="0"/>
                </a:cubicBezTo>
                <a:cubicBezTo>
                  <a:pt x="106" y="7"/>
                  <a:pt x="114" y="7"/>
                  <a:pt x="122" y="7"/>
                </a:cubicBezTo>
                <a:cubicBezTo>
                  <a:pt x="122" y="7"/>
                  <a:pt x="114" y="7"/>
                  <a:pt x="147" y="7"/>
                </a:cubicBezTo>
                <a:lnTo>
                  <a:pt x="179" y="7"/>
                </a:lnTo>
                <a:lnTo>
                  <a:pt x="204" y="7"/>
                </a:lnTo>
                <a:cubicBezTo>
                  <a:pt x="204" y="15"/>
                  <a:pt x="220" y="23"/>
                  <a:pt x="220" y="23"/>
                </a:cubicBezTo>
                <a:cubicBezTo>
                  <a:pt x="220" y="31"/>
                  <a:pt x="228" y="31"/>
                  <a:pt x="220" y="39"/>
                </a:cubicBezTo>
                <a:cubicBezTo>
                  <a:pt x="204" y="47"/>
                  <a:pt x="204" y="47"/>
                  <a:pt x="188" y="47"/>
                </a:cubicBezTo>
                <a:cubicBezTo>
                  <a:pt x="179" y="47"/>
                  <a:pt x="188" y="47"/>
                  <a:pt x="171" y="55"/>
                </a:cubicBezTo>
                <a:lnTo>
                  <a:pt x="130" y="55"/>
                </a:lnTo>
                <a:cubicBezTo>
                  <a:pt x="130" y="55"/>
                  <a:pt x="139" y="55"/>
                  <a:pt x="114" y="55"/>
                </a:cubicBezTo>
                <a:cubicBezTo>
                  <a:pt x="98" y="47"/>
                  <a:pt x="90" y="55"/>
                  <a:pt x="81" y="47"/>
                </a:cubicBezTo>
                <a:lnTo>
                  <a:pt x="73" y="39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39" name="Freeform 31">
            <a:extLst>
              <a:ext uri="{FF2B5EF4-FFF2-40B4-BE49-F238E27FC236}">
                <a16:creationId xmlns:a16="http://schemas.microsoft.com/office/drawing/2014/main" id="{64E680E8-E151-926E-F595-89E4B09FD43D}"/>
              </a:ext>
            </a:extLst>
          </p:cNvPr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971191" y="5123933"/>
            <a:ext cx="110485" cy="19924"/>
          </a:xfrm>
          <a:custGeom>
            <a:avLst/>
            <a:gdLst>
              <a:gd name="T0" fmla="*/ 41 w 270"/>
              <a:gd name="T1" fmla="*/ 8 h 49"/>
              <a:gd name="T2" fmla="*/ 57 w 270"/>
              <a:gd name="T3" fmla="*/ 0 h 49"/>
              <a:gd name="T4" fmla="*/ 90 w 270"/>
              <a:gd name="T5" fmla="*/ 0 h 49"/>
              <a:gd name="T6" fmla="*/ 106 w 270"/>
              <a:gd name="T7" fmla="*/ 8 h 49"/>
              <a:gd name="T8" fmla="*/ 180 w 270"/>
              <a:gd name="T9" fmla="*/ 8 h 49"/>
              <a:gd name="T10" fmla="*/ 196 w 270"/>
              <a:gd name="T11" fmla="*/ 8 h 49"/>
              <a:gd name="T12" fmla="*/ 212 w 270"/>
              <a:gd name="T13" fmla="*/ 16 h 49"/>
              <a:gd name="T14" fmla="*/ 229 w 270"/>
              <a:gd name="T15" fmla="*/ 16 h 49"/>
              <a:gd name="T16" fmla="*/ 237 w 270"/>
              <a:gd name="T17" fmla="*/ 16 h 49"/>
              <a:gd name="T18" fmla="*/ 245 w 270"/>
              <a:gd name="T19" fmla="*/ 8 h 49"/>
              <a:gd name="T20" fmla="*/ 261 w 270"/>
              <a:gd name="T21" fmla="*/ 0 h 49"/>
              <a:gd name="T22" fmla="*/ 269 w 270"/>
              <a:gd name="T23" fmla="*/ 0 h 49"/>
              <a:gd name="T24" fmla="*/ 269 w 270"/>
              <a:gd name="T25" fmla="*/ 24 h 49"/>
              <a:gd name="T26" fmla="*/ 269 w 270"/>
              <a:gd name="T27" fmla="*/ 32 h 49"/>
              <a:gd name="T28" fmla="*/ 253 w 270"/>
              <a:gd name="T29" fmla="*/ 40 h 49"/>
              <a:gd name="T30" fmla="*/ 245 w 270"/>
              <a:gd name="T31" fmla="*/ 32 h 49"/>
              <a:gd name="T32" fmla="*/ 237 w 270"/>
              <a:gd name="T33" fmla="*/ 24 h 49"/>
              <a:gd name="T34" fmla="*/ 212 w 270"/>
              <a:gd name="T35" fmla="*/ 32 h 49"/>
              <a:gd name="T36" fmla="*/ 204 w 270"/>
              <a:gd name="T37" fmla="*/ 24 h 49"/>
              <a:gd name="T38" fmla="*/ 180 w 270"/>
              <a:gd name="T39" fmla="*/ 24 h 49"/>
              <a:gd name="T40" fmla="*/ 163 w 270"/>
              <a:gd name="T41" fmla="*/ 24 h 49"/>
              <a:gd name="T42" fmla="*/ 139 w 270"/>
              <a:gd name="T43" fmla="*/ 24 h 49"/>
              <a:gd name="T44" fmla="*/ 114 w 270"/>
              <a:gd name="T45" fmla="*/ 32 h 49"/>
              <a:gd name="T46" fmla="*/ 114 w 270"/>
              <a:gd name="T47" fmla="*/ 40 h 49"/>
              <a:gd name="T48" fmla="*/ 114 w 270"/>
              <a:gd name="T49" fmla="*/ 48 h 49"/>
              <a:gd name="T50" fmla="*/ 98 w 270"/>
              <a:gd name="T51" fmla="*/ 40 h 49"/>
              <a:gd name="T52" fmla="*/ 82 w 270"/>
              <a:gd name="T53" fmla="*/ 32 h 49"/>
              <a:gd name="T54" fmla="*/ 57 w 270"/>
              <a:gd name="T55" fmla="*/ 24 h 49"/>
              <a:gd name="T56" fmla="*/ 33 w 270"/>
              <a:gd name="T57" fmla="*/ 24 h 49"/>
              <a:gd name="T58" fmla="*/ 25 w 270"/>
              <a:gd name="T59" fmla="*/ 32 h 49"/>
              <a:gd name="T60" fmla="*/ 0 w 270"/>
              <a:gd name="T61" fmla="*/ 32 h 49"/>
              <a:gd name="T62" fmla="*/ 8 w 270"/>
              <a:gd name="T63" fmla="*/ 8 h 49"/>
              <a:gd name="T64" fmla="*/ 41 w 270"/>
              <a:gd name="T65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49">
                <a:moveTo>
                  <a:pt x="41" y="8"/>
                </a:moveTo>
                <a:lnTo>
                  <a:pt x="57" y="0"/>
                </a:lnTo>
                <a:lnTo>
                  <a:pt x="90" y="0"/>
                </a:lnTo>
                <a:cubicBezTo>
                  <a:pt x="98" y="0"/>
                  <a:pt x="98" y="8"/>
                  <a:pt x="106" y="8"/>
                </a:cubicBezTo>
                <a:lnTo>
                  <a:pt x="180" y="8"/>
                </a:lnTo>
                <a:cubicBezTo>
                  <a:pt x="180" y="16"/>
                  <a:pt x="188" y="8"/>
                  <a:pt x="196" y="8"/>
                </a:cubicBezTo>
                <a:lnTo>
                  <a:pt x="212" y="16"/>
                </a:lnTo>
                <a:cubicBezTo>
                  <a:pt x="220" y="16"/>
                  <a:pt x="212" y="24"/>
                  <a:pt x="229" y="16"/>
                </a:cubicBezTo>
                <a:lnTo>
                  <a:pt x="237" y="16"/>
                </a:lnTo>
                <a:lnTo>
                  <a:pt x="245" y="8"/>
                </a:lnTo>
                <a:cubicBezTo>
                  <a:pt x="253" y="8"/>
                  <a:pt x="261" y="0"/>
                  <a:pt x="261" y="0"/>
                </a:cubicBezTo>
                <a:lnTo>
                  <a:pt x="269" y="0"/>
                </a:lnTo>
                <a:lnTo>
                  <a:pt x="269" y="24"/>
                </a:lnTo>
                <a:lnTo>
                  <a:pt x="269" y="32"/>
                </a:lnTo>
                <a:cubicBezTo>
                  <a:pt x="269" y="32"/>
                  <a:pt x="261" y="40"/>
                  <a:pt x="253" y="40"/>
                </a:cubicBezTo>
                <a:lnTo>
                  <a:pt x="245" y="32"/>
                </a:lnTo>
                <a:cubicBezTo>
                  <a:pt x="245" y="24"/>
                  <a:pt x="237" y="24"/>
                  <a:pt x="237" y="24"/>
                </a:cubicBezTo>
                <a:cubicBezTo>
                  <a:pt x="229" y="24"/>
                  <a:pt x="220" y="32"/>
                  <a:pt x="212" y="32"/>
                </a:cubicBezTo>
                <a:lnTo>
                  <a:pt x="204" y="24"/>
                </a:lnTo>
                <a:lnTo>
                  <a:pt x="180" y="24"/>
                </a:lnTo>
                <a:lnTo>
                  <a:pt x="163" y="24"/>
                </a:lnTo>
                <a:lnTo>
                  <a:pt x="139" y="24"/>
                </a:lnTo>
                <a:cubicBezTo>
                  <a:pt x="131" y="32"/>
                  <a:pt x="114" y="24"/>
                  <a:pt x="114" y="32"/>
                </a:cubicBezTo>
                <a:lnTo>
                  <a:pt x="114" y="40"/>
                </a:lnTo>
                <a:cubicBezTo>
                  <a:pt x="114" y="40"/>
                  <a:pt x="122" y="48"/>
                  <a:pt x="114" y="48"/>
                </a:cubicBezTo>
                <a:cubicBezTo>
                  <a:pt x="98" y="48"/>
                  <a:pt x="98" y="48"/>
                  <a:pt x="98" y="40"/>
                </a:cubicBezTo>
                <a:cubicBezTo>
                  <a:pt x="90" y="32"/>
                  <a:pt x="106" y="24"/>
                  <a:pt x="82" y="32"/>
                </a:cubicBezTo>
                <a:cubicBezTo>
                  <a:pt x="65" y="32"/>
                  <a:pt x="65" y="24"/>
                  <a:pt x="57" y="24"/>
                </a:cubicBezTo>
                <a:cubicBezTo>
                  <a:pt x="57" y="32"/>
                  <a:pt x="41" y="16"/>
                  <a:pt x="33" y="24"/>
                </a:cubicBezTo>
                <a:lnTo>
                  <a:pt x="25" y="32"/>
                </a:lnTo>
                <a:lnTo>
                  <a:pt x="0" y="32"/>
                </a:lnTo>
                <a:lnTo>
                  <a:pt x="8" y="8"/>
                </a:lnTo>
                <a:lnTo>
                  <a:pt x="41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40" name="Freeform 32">
            <a:extLst>
              <a:ext uri="{FF2B5EF4-FFF2-40B4-BE49-F238E27FC236}">
                <a16:creationId xmlns:a16="http://schemas.microsoft.com/office/drawing/2014/main" id="{8F237EB3-F9A5-2395-F0F8-080113173429}"/>
              </a:ext>
            </a:extLst>
          </p:cNvPr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7929534" y="5160157"/>
            <a:ext cx="34413" cy="16302"/>
          </a:xfrm>
          <a:custGeom>
            <a:avLst/>
            <a:gdLst>
              <a:gd name="T0" fmla="*/ 49 w 83"/>
              <a:gd name="T1" fmla="*/ 8 h 41"/>
              <a:gd name="T2" fmla="*/ 65 w 83"/>
              <a:gd name="T3" fmla="*/ 0 h 41"/>
              <a:gd name="T4" fmla="*/ 74 w 83"/>
              <a:gd name="T5" fmla="*/ 16 h 41"/>
              <a:gd name="T6" fmla="*/ 65 w 83"/>
              <a:gd name="T7" fmla="*/ 24 h 41"/>
              <a:gd name="T8" fmla="*/ 41 w 83"/>
              <a:gd name="T9" fmla="*/ 40 h 41"/>
              <a:gd name="T10" fmla="*/ 33 w 83"/>
              <a:gd name="T11" fmla="*/ 40 h 41"/>
              <a:gd name="T12" fmla="*/ 8 w 83"/>
              <a:gd name="T13" fmla="*/ 24 h 41"/>
              <a:gd name="T14" fmla="*/ 17 w 83"/>
              <a:gd name="T15" fmla="*/ 16 h 41"/>
              <a:gd name="T16" fmla="*/ 33 w 83"/>
              <a:gd name="T17" fmla="*/ 8 h 41"/>
              <a:gd name="T18" fmla="*/ 49 w 83"/>
              <a:gd name="T19" fmla="*/ 8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3" h="41">
                <a:moveTo>
                  <a:pt x="49" y="8"/>
                </a:moveTo>
                <a:lnTo>
                  <a:pt x="65" y="0"/>
                </a:lnTo>
                <a:cubicBezTo>
                  <a:pt x="74" y="8"/>
                  <a:pt x="82" y="8"/>
                  <a:pt x="74" y="16"/>
                </a:cubicBezTo>
                <a:lnTo>
                  <a:pt x="65" y="24"/>
                </a:lnTo>
                <a:cubicBezTo>
                  <a:pt x="57" y="32"/>
                  <a:pt x="41" y="40"/>
                  <a:pt x="41" y="40"/>
                </a:cubicBezTo>
                <a:lnTo>
                  <a:pt x="33" y="40"/>
                </a:lnTo>
                <a:cubicBezTo>
                  <a:pt x="17" y="32"/>
                  <a:pt x="8" y="24"/>
                  <a:pt x="8" y="24"/>
                </a:cubicBezTo>
                <a:cubicBezTo>
                  <a:pt x="8" y="24"/>
                  <a:pt x="0" y="16"/>
                  <a:pt x="17" y="16"/>
                </a:cubicBezTo>
                <a:cubicBezTo>
                  <a:pt x="25" y="8"/>
                  <a:pt x="33" y="8"/>
                  <a:pt x="33" y="8"/>
                </a:cubicBezTo>
                <a:lnTo>
                  <a:pt x="49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41" name="Freeform 33">
            <a:extLst>
              <a:ext uri="{FF2B5EF4-FFF2-40B4-BE49-F238E27FC236}">
                <a16:creationId xmlns:a16="http://schemas.microsoft.com/office/drawing/2014/main" id="{958ACF5D-C655-A321-D4DB-76E5F81A66B6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7929534" y="5176458"/>
            <a:ext cx="7245" cy="9056"/>
          </a:xfrm>
          <a:custGeom>
            <a:avLst/>
            <a:gdLst>
              <a:gd name="T0" fmla="*/ 0 w 18"/>
              <a:gd name="T1" fmla="*/ 7 h 24"/>
              <a:gd name="T2" fmla="*/ 17 w 18"/>
              <a:gd name="T3" fmla="*/ 7 h 24"/>
              <a:gd name="T4" fmla="*/ 8 w 18"/>
              <a:gd name="T5" fmla="*/ 23 h 24"/>
              <a:gd name="T6" fmla="*/ 0 w 18"/>
              <a:gd name="T7" fmla="*/ 23 h 24"/>
              <a:gd name="T8" fmla="*/ 0 w 18"/>
              <a:gd name="T9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24">
                <a:moveTo>
                  <a:pt x="0" y="7"/>
                </a:moveTo>
                <a:cubicBezTo>
                  <a:pt x="8" y="7"/>
                  <a:pt x="17" y="0"/>
                  <a:pt x="17" y="7"/>
                </a:cubicBezTo>
                <a:cubicBezTo>
                  <a:pt x="17" y="15"/>
                  <a:pt x="8" y="23"/>
                  <a:pt x="8" y="23"/>
                </a:cubicBezTo>
                <a:lnTo>
                  <a:pt x="0" y="23"/>
                </a:lnTo>
                <a:lnTo>
                  <a:pt x="0" y="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42" name="Freeform 34">
            <a:extLst>
              <a:ext uri="{FF2B5EF4-FFF2-40B4-BE49-F238E27FC236}">
                <a16:creationId xmlns:a16="http://schemas.microsoft.com/office/drawing/2014/main" id="{3DA781FD-1391-A293-B23D-E5A8F6676F6D}"/>
              </a:ext>
            </a:extLst>
          </p:cNvPr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8034585" y="5192759"/>
            <a:ext cx="19923" cy="12679"/>
          </a:xfrm>
          <a:custGeom>
            <a:avLst/>
            <a:gdLst>
              <a:gd name="T0" fmla="*/ 0 w 50"/>
              <a:gd name="T1" fmla="*/ 8 h 33"/>
              <a:gd name="T2" fmla="*/ 33 w 50"/>
              <a:gd name="T3" fmla="*/ 0 h 33"/>
              <a:gd name="T4" fmla="*/ 49 w 50"/>
              <a:gd name="T5" fmla="*/ 8 h 33"/>
              <a:gd name="T6" fmla="*/ 41 w 50"/>
              <a:gd name="T7" fmla="*/ 16 h 33"/>
              <a:gd name="T8" fmla="*/ 25 w 50"/>
              <a:gd name="T9" fmla="*/ 32 h 33"/>
              <a:gd name="T10" fmla="*/ 0 w 50"/>
              <a:gd name="T11" fmla="*/ 16 h 33"/>
              <a:gd name="T12" fmla="*/ 0 w 50"/>
              <a:gd name="T13" fmla="*/ 8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" h="33">
                <a:moveTo>
                  <a:pt x="0" y="8"/>
                </a:moveTo>
                <a:lnTo>
                  <a:pt x="33" y="0"/>
                </a:lnTo>
                <a:lnTo>
                  <a:pt x="49" y="8"/>
                </a:lnTo>
                <a:cubicBezTo>
                  <a:pt x="49" y="8"/>
                  <a:pt x="49" y="16"/>
                  <a:pt x="41" y="16"/>
                </a:cubicBezTo>
                <a:lnTo>
                  <a:pt x="25" y="32"/>
                </a:lnTo>
                <a:lnTo>
                  <a:pt x="0" y="16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43" name="Freeform 35">
            <a:extLst>
              <a:ext uri="{FF2B5EF4-FFF2-40B4-BE49-F238E27FC236}">
                <a16:creationId xmlns:a16="http://schemas.microsoft.com/office/drawing/2014/main" id="{63A41478-04A1-B34A-CCAF-38D967ED7FF3}"/>
              </a:ext>
            </a:extLst>
          </p:cNvPr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8105221" y="5180081"/>
            <a:ext cx="57959" cy="16300"/>
          </a:xfrm>
          <a:custGeom>
            <a:avLst/>
            <a:gdLst>
              <a:gd name="T0" fmla="*/ 82 w 140"/>
              <a:gd name="T1" fmla="*/ 32 h 41"/>
              <a:gd name="T2" fmla="*/ 58 w 140"/>
              <a:gd name="T3" fmla="*/ 32 h 41"/>
              <a:gd name="T4" fmla="*/ 41 w 140"/>
              <a:gd name="T5" fmla="*/ 24 h 41"/>
              <a:gd name="T6" fmla="*/ 17 w 140"/>
              <a:gd name="T7" fmla="*/ 24 h 41"/>
              <a:gd name="T8" fmla="*/ 0 w 140"/>
              <a:gd name="T9" fmla="*/ 16 h 41"/>
              <a:gd name="T10" fmla="*/ 0 w 140"/>
              <a:gd name="T11" fmla="*/ 8 h 41"/>
              <a:gd name="T12" fmla="*/ 17 w 140"/>
              <a:gd name="T13" fmla="*/ 0 h 41"/>
              <a:gd name="T14" fmla="*/ 66 w 140"/>
              <a:gd name="T15" fmla="*/ 16 h 41"/>
              <a:gd name="T16" fmla="*/ 107 w 140"/>
              <a:gd name="T17" fmla="*/ 16 h 41"/>
              <a:gd name="T18" fmla="*/ 123 w 140"/>
              <a:gd name="T19" fmla="*/ 24 h 41"/>
              <a:gd name="T20" fmla="*/ 131 w 140"/>
              <a:gd name="T21" fmla="*/ 32 h 41"/>
              <a:gd name="T22" fmla="*/ 131 w 140"/>
              <a:gd name="T23" fmla="*/ 40 h 41"/>
              <a:gd name="T24" fmla="*/ 123 w 140"/>
              <a:gd name="T25" fmla="*/ 40 h 41"/>
              <a:gd name="T26" fmla="*/ 107 w 140"/>
              <a:gd name="T27" fmla="*/ 32 h 41"/>
              <a:gd name="T28" fmla="*/ 90 w 140"/>
              <a:gd name="T29" fmla="*/ 32 h 41"/>
              <a:gd name="T30" fmla="*/ 82 w 140"/>
              <a:gd name="T31" fmla="*/ 3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0" h="41">
                <a:moveTo>
                  <a:pt x="82" y="32"/>
                </a:moveTo>
                <a:lnTo>
                  <a:pt x="58" y="32"/>
                </a:lnTo>
                <a:cubicBezTo>
                  <a:pt x="58" y="32"/>
                  <a:pt x="49" y="24"/>
                  <a:pt x="41" y="24"/>
                </a:cubicBezTo>
                <a:lnTo>
                  <a:pt x="17" y="24"/>
                </a:lnTo>
                <a:cubicBezTo>
                  <a:pt x="9" y="24"/>
                  <a:pt x="0" y="16"/>
                  <a:pt x="0" y="16"/>
                </a:cubicBezTo>
                <a:lnTo>
                  <a:pt x="0" y="8"/>
                </a:lnTo>
                <a:lnTo>
                  <a:pt x="17" y="0"/>
                </a:lnTo>
                <a:cubicBezTo>
                  <a:pt x="17" y="8"/>
                  <a:pt x="66" y="16"/>
                  <a:pt x="66" y="16"/>
                </a:cubicBezTo>
                <a:lnTo>
                  <a:pt x="107" y="16"/>
                </a:lnTo>
                <a:cubicBezTo>
                  <a:pt x="107" y="16"/>
                  <a:pt x="115" y="16"/>
                  <a:pt x="123" y="24"/>
                </a:cubicBezTo>
                <a:cubicBezTo>
                  <a:pt x="131" y="24"/>
                  <a:pt x="131" y="24"/>
                  <a:pt x="131" y="32"/>
                </a:cubicBezTo>
                <a:cubicBezTo>
                  <a:pt x="131" y="32"/>
                  <a:pt x="139" y="40"/>
                  <a:pt x="131" y="40"/>
                </a:cubicBezTo>
                <a:lnTo>
                  <a:pt x="123" y="40"/>
                </a:lnTo>
                <a:lnTo>
                  <a:pt x="107" y="32"/>
                </a:lnTo>
                <a:lnTo>
                  <a:pt x="90" y="32"/>
                </a:lnTo>
                <a:lnTo>
                  <a:pt x="82" y="3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44" name="Freeform 36">
            <a:extLst>
              <a:ext uri="{FF2B5EF4-FFF2-40B4-BE49-F238E27FC236}">
                <a16:creationId xmlns:a16="http://schemas.microsoft.com/office/drawing/2014/main" id="{789D246A-8670-A613-4204-3E90881A6FC3}"/>
              </a:ext>
            </a:extLst>
          </p:cNvPr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8157747" y="5167402"/>
            <a:ext cx="106861" cy="68826"/>
          </a:xfrm>
          <a:custGeom>
            <a:avLst/>
            <a:gdLst>
              <a:gd name="T0" fmla="*/ 0 w 262"/>
              <a:gd name="T1" fmla="*/ 8 h 167"/>
              <a:gd name="T2" fmla="*/ 8 w 262"/>
              <a:gd name="T3" fmla="*/ 0 h 167"/>
              <a:gd name="T4" fmla="*/ 33 w 262"/>
              <a:gd name="T5" fmla="*/ 0 h 167"/>
              <a:gd name="T6" fmla="*/ 57 w 262"/>
              <a:gd name="T7" fmla="*/ 8 h 167"/>
              <a:gd name="T8" fmla="*/ 73 w 262"/>
              <a:gd name="T9" fmla="*/ 24 h 167"/>
              <a:gd name="T10" fmla="*/ 82 w 262"/>
              <a:gd name="T11" fmla="*/ 39 h 167"/>
              <a:gd name="T12" fmla="*/ 98 w 262"/>
              <a:gd name="T13" fmla="*/ 55 h 167"/>
              <a:gd name="T14" fmla="*/ 139 w 262"/>
              <a:gd name="T15" fmla="*/ 79 h 167"/>
              <a:gd name="T16" fmla="*/ 188 w 262"/>
              <a:gd name="T17" fmla="*/ 102 h 167"/>
              <a:gd name="T18" fmla="*/ 228 w 262"/>
              <a:gd name="T19" fmla="*/ 118 h 167"/>
              <a:gd name="T20" fmla="*/ 237 w 262"/>
              <a:gd name="T21" fmla="*/ 126 h 167"/>
              <a:gd name="T22" fmla="*/ 253 w 262"/>
              <a:gd name="T23" fmla="*/ 158 h 167"/>
              <a:gd name="T24" fmla="*/ 237 w 262"/>
              <a:gd name="T25" fmla="*/ 150 h 167"/>
              <a:gd name="T26" fmla="*/ 220 w 262"/>
              <a:gd name="T27" fmla="*/ 126 h 167"/>
              <a:gd name="T28" fmla="*/ 180 w 262"/>
              <a:gd name="T29" fmla="*/ 118 h 167"/>
              <a:gd name="T30" fmla="*/ 171 w 262"/>
              <a:gd name="T31" fmla="*/ 102 h 167"/>
              <a:gd name="T32" fmla="*/ 139 w 262"/>
              <a:gd name="T33" fmla="*/ 87 h 167"/>
              <a:gd name="T34" fmla="*/ 106 w 262"/>
              <a:gd name="T35" fmla="*/ 71 h 167"/>
              <a:gd name="T36" fmla="*/ 90 w 262"/>
              <a:gd name="T37" fmla="*/ 47 h 167"/>
              <a:gd name="T38" fmla="*/ 49 w 262"/>
              <a:gd name="T39" fmla="*/ 39 h 167"/>
              <a:gd name="T40" fmla="*/ 41 w 262"/>
              <a:gd name="T41" fmla="*/ 24 h 167"/>
              <a:gd name="T42" fmla="*/ 24 w 262"/>
              <a:gd name="T43" fmla="*/ 16 h 167"/>
              <a:gd name="T44" fmla="*/ 16 w 262"/>
              <a:gd name="T45" fmla="*/ 8 h 167"/>
              <a:gd name="T46" fmla="*/ 0 w 262"/>
              <a:gd name="T47" fmla="*/ 16 h 167"/>
              <a:gd name="T48" fmla="*/ 0 w 262"/>
              <a:gd name="T49" fmla="*/ 8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62" h="167">
                <a:moveTo>
                  <a:pt x="0" y="8"/>
                </a:moveTo>
                <a:cubicBezTo>
                  <a:pt x="8" y="8"/>
                  <a:pt x="8" y="0"/>
                  <a:pt x="8" y="0"/>
                </a:cubicBezTo>
                <a:lnTo>
                  <a:pt x="33" y="0"/>
                </a:lnTo>
                <a:lnTo>
                  <a:pt x="57" y="8"/>
                </a:lnTo>
                <a:lnTo>
                  <a:pt x="73" y="24"/>
                </a:lnTo>
                <a:lnTo>
                  <a:pt x="82" y="39"/>
                </a:lnTo>
                <a:lnTo>
                  <a:pt x="98" y="55"/>
                </a:lnTo>
                <a:lnTo>
                  <a:pt x="139" y="79"/>
                </a:lnTo>
                <a:lnTo>
                  <a:pt x="188" y="102"/>
                </a:lnTo>
                <a:cubicBezTo>
                  <a:pt x="188" y="102"/>
                  <a:pt x="220" y="118"/>
                  <a:pt x="228" y="118"/>
                </a:cubicBezTo>
                <a:cubicBezTo>
                  <a:pt x="228" y="118"/>
                  <a:pt x="228" y="126"/>
                  <a:pt x="237" y="126"/>
                </a:cubicBezTo>
                <a:cubicBezTo>
                  <a:pt x="237" y="134"/>
                  <a:pt x="253" y="158"/>
                  <a:pt x="253" y="158"/>
                </a:cubicBezTo>
                <a:cubicBezTo>
                  <a:pt x="261" y="166"/>
                  <a:pt x="237" y="150"/>
                  <a:pt x="237" y="150"/>
                </a:cubicBezTo>
                <a:cubicBezTo>
                  <a:pt x="237" y="150"/>
                  <a:pt x="228" y="134"/>
                  <a:pt x="220" y="126"/>
                </a:cubicBezTo>
                <a:cubicBezTo>
                  <a:pt x="204" y="126"/>
                  <a:pt x="188" y="126"/>
                  <a:pt x="180" y="118"/>
                </a:cubicBezTo>
                <a:cubicBezTo>
                  <a:pt x="171" y="110"/>
                  <a:pt x="171" y="102"/>
                  <a:pt x="171" y="102"/>
                </a:cubicBezTo>
                <a:cubicBezTo>
                  <a:pt x="163" y="102"/>
                  <a:pt x="163" y="87"/>
                  <a:pt x="139" y="87"/>
                </a:cubicBezTo>
                <a:cubicBezTo>
                  <a:pt x="114" y="79"/>
                  <a:pt x="114" y="87"/>
                  <a:pt x="106" y="71"/>
                </a:cubicBezTo>
                <a:cubicBezTo>
                  <a:pt x="98" y="47"/>
                  <a:pt x="98" y="63"/>
                  <a:pt x="90" y="47"/>
                </a:cubicBezTo>
                <a:cubicBezTo>
                  <a:pt x="73" y="39"/>
                  <a:pt x="82" y="47"/>
                  <a:pt x="49" y="39"/>
                </a:cubicBezTo>
                <a:cubicBezTo>
                  <a:pt x="24" y="24"/>
                  <a:pt x="41" y="31"/>
                  <a:pt x="41" y="24"/>
                </a:cubicBezTo>
                <a:cubicBezTo>
                  <a:pt x="33" y="8"/>
                  <a:pt x="41" y="16"/>
                  <a:pt x="24" y="16"/>
                </a:cubicBezTo>
                <a:cubicBezTo>
                  <a:pt x="16" y="8"/>
                  <a:pt x="24" y="8"/>
                  <a:pt x="16" y="8"/>
                </a:cubicBezTo>
                <a:cubicBezTo>
                  <a:pt x="16" y="8"/>
                  <a:pt x="8" y="16"/>
                  <a:pt x="0" y="16"/>
                </a:cubicBez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45" name="Freeform 37">
            <a:extLst>
              <a:ext uri="{FF2B5EF4-FFF2-40B4-BE49-F238E27FC236}">
                <a16:creationId xmlns:a16="http://schemas.microsoft.com/office/drawing/2014/main" id="{2D506692-231C-31B5-E412-B47EF048CBA4}"/>
              </a:ext>
            </a:extLst>
          </p:cNvPr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7572724" y="4551588"/>
            <a:ext cx="760711" cy="648416"/>
          </a:xfrm>
          <a:custGeom>
            <a:avLst/>
            <a:gdLst>
              <a:gd name="T0" fmla="*/ 1762 w 1852"/>
              <a:gd name="T1" fmla="*/ 560 h 1578"/>
              <a:gd name="T2" fmla="*/ 1827 w 1852"/>
              <a:gd name="T3" fmla="*/ 449 h 1578"/>
              <a:gd name="T4" fmla="*/ 1688 w 1852"/>
              <a:gd name="T5" fmla="*/ 370 h 1578"/>
              <a:gd name="T6" fmla="*/ 1664 w 1852"/>
              <a:gd name="T7" fmla="*/ 228 h 1578"/>
              <a:gd name="T8" fmla="*/ 1411 w 1852"/>
              <a:gd name="T9" fmla="*/ 284 h 1578"/>
              <a:gd name="T10" fmla="*/ 1158 w 1852"/>
              <a:gd name="T11" fmla="*/ 213 h 1578"/>
              <a:gd name="T12" fmla="*/ 938 w 1852"/>
              <a:gd name="T13" fmla="*/ 47 h 1578"/>
              <a:gd name="T14" fmla="*/ 823 w 1852"/>
              <a:gd name="T15" fmla="*/ 39 h 1578"/>
              <a:gd name="T16" fmla="*/ 717 w 1852"/>
              <a:gd name="T17" fmla="*/ 126 h 1578"/>
              <a:gd name="T18" fmla="*/ 644 w 1852"/>
              <a:gd name="T19" fmla="*/ 213 h 1578"/>
              <a:gd name="T20" fmla="*/ 652 w 1852"/>
              <a:gd name="T21" fmla="*/ 323 h 1578"/>
              <a:gd name="T22" fmla="*/ 554 w 1852"/>
              <a:gd name="T23" fmla="*/ 386 h 1578"/>
              <a:gd name="T24" fmla="*/ 554 w 1852"/>
              <a:gd name="T25" fmla="*/ 449 h 1578"/>
              <a:gd name="T26" fmla="*/ 497 w 1852"/>
              <a:gd name="T27" fmla="*/ 489 h 1578"/>
              <a:gd name="T28" fmla="*/ 384 w 1852"/>
              <a:gd name="T29" fmla="*/ 481 h 1578"/>
              <a:gd name="T30" fmla="*/ 310 w 1852"/>
              <a:gd name="T31" fmla="*/ 449 h 1578"/>
              <a:gd name="T32" fmla="*/ 204 w 1852"/>
              <a:gd name="T33" fmla="*/ 512 h 1578"/>
              <a:gd name="T34" fmla="*/ 131 w 1852"/>
              <a:gd name="T35" fmla="*/ 536 h 1578"/>
              <a:gd name="T36" fmla="*/ 25 w 1852"/>
              <a:gd name="T37" fmla="*/ 512 h 1578"/>
              <a:gd name="T38" fmla="*/ 41 w 1852"/>
              <a:gd name="T39" fmla="*/ 631 h 1578"/>
              <a:gd name="T40" fmla="*/ 106 w 1852"/>
              <a:gd name="T41" fmla="*/ 765 h 1578"/>
              <a:gd name="T42" fmla="*/ 188 w 1852"/>
              <a:gd name="T43" fmla="*/ 765 h 1578"/>
              <a:gd name="T44" fmla="*/ 245 w 1852"/>
              <a:gd name="T45" fmla="*/ 638 h 1578"/>
              <a:gd name="T46" fmla="*/ 310 w 1852"/>
              <a:gd name="T47" fmla="*/ 694 h 1578"/>
              <a:gd name="T48" fmla="*/ 400 w 1852"/>
              <a:gd name="T49" fmla="*/ 686 h 1578"/>
              <a:gd name="T50" fmla="*/ 456 w 1852"/>
              <a:gd name="T51" fmla="*/ 765 h 1578"/>
              <a:gd name="T52" fmla="*/ 676 w 1852"/>
              <a:gd name="T53" fmla="*/ 1009 h 1578"/>
              <a:gd name="T54" fmla="*/ 456 w 1852"/>
              <a:gd name="T55" fmla="*/ 859 h 1578"/>
              <a:gd name="T56" fmla="*/ 472 w 1852"/>
              <a:gd name="T57" fmla="*/ 914 h 1578"/>
              <a:gd name="T58" fmla="*/ 505 w 1852"/>
              <a:gd name="T59" fmla="*/ 993 h 1578"/>
              <a:gd name="T60" fmla="*/ 554 w 1852"/>
              <a:gd name="T61" fmla="*/ 1041 h 1578"/>
              <a:gd name="T62" fmla="*/ 611 w 1852"/>
              <a:gd name="T63" fmla="*/ 1119 h 1578"/>
              <a:gd name="T64" fmla="*/ 587 w 1852"/>
              <a:gd name="T65" fmla="*/ 1143 h 1578"/>
              <a:gd name="T66" fmla="*/ 579 w 1852"/>
              <a:gd name="T67" fmla="*/ 1080 h 1578"/>
              <a:gd name="T68" fmla="*/ 407 w 1852"/>
              <a:gd name="T69" fmla="*/ 1001 h 1578"/>
              <a:gd name="T70" fmla="*/ 464 w 1852"/>
              <a:gd name="T71" fmla="*/ 1048 h 1578"/>
              <a:gd name="T72" fmla="*/ 546 w 1852"/>
              <a:gd name="T73" fmla="*/ 1135 h 1578"/>
              <a:gd name="T74" fmla="*/ 619 w 1852"/>
              <a:gd name="T75" fmla="*/ 1206 h 1578"/>
              <a:gd name="T76" fmla="*/ 644 w 1852"/>
              <a:gd name="T77" fmla="*/ 1198 h 1578"/>
              <a:gd name="T78" fmla="*/ 644 w 1852"/>
              <a:gd name="T79" fmla="*/ 1167 h 1578"/>
              <a:gd name="T80" fmla="*/ 750 w 1852"/>
              <a:gd name="T81" fmla="*/ 1198 h 1578"/>
              <a:gd name="T82" fmla="*/ 742 w 1852"/>
              <a:gd name="T83" fmla="*/ 1246 h 1578"/>
              <a:gd name="T84" fmla="*/ 807 w 1852"/>
              <a:gd name="T85" fmla="*/ 1238 h 1578"/>
              <a:gd name="T86" fmla="*/ 921 w 1852"/>
              <a:gd name="T87" fmla="*/ 1293 h 1578"/>
              <a:gd name="T88" fmla="*/ 1125 w 1852"/>
              <a:gd name="T89" fmla="*/ 1317 h 1578"/>
              <a:gd name="T90" fmla="*/ 1362 w 1852"/>
              <a:gd name="T91" fmla="*/ 1482 h 1578"/>
              <a:gd name="T92" fmla="*/ 1191 w 1852"/>
              <a:gd name="T93" fmla="*/ 1466 h 1578"/>
              <a:gd name="T94" fmla="*/ 1174 w 1852"/>
              <a:gd name="T95" fmla="*/ 1498 h 1578"/>
              <a:gd name="T96" fmla="*/ 1370 w 1852"/>
              <a:gd name="T97" fmla="*/ 1514 h 1578"/>
              <a:gd name="T98" fmla="*/ 1452 w 1852"/>
              <a:gd name="T99" fmla="*/ 1529 h 1578"/>
              <a:gd name="T100" fmla="*/ 1394 w 1852"/>
              <a:gd name="T101" fmla="*/ 1458 h 1578"/>
              <a:gd name="T102" fmla="*/ 1288 w 1852"/>
              <a:gd name="T103" fmla="*/ 1348 h 1578"/>
              <a:gd name="T104" fmla="*/ 1133 w 1852"/>
              <a:gd name="T105" fmla="*/ 1198 h 1578"/>
              <a:gd name="T106" fmla="*/ 986 w 1852"/>
              <a:gd name="T107" fmla="*/ 1080 h 1578"/>
              <a:gd name="T108" fmla="*/ 872 w 1852"/>
              <a:gd name="T109" fmla="*/ 930 h 1578"/>
              <a:gd name="T110" fmla="*/ 766 w 1852"/>
              <a:gd name="T111" fmla="*/ 788 h 1578"/>
              <a:gd name="T112" fmla="*/ 701 w 1852"/>
              <a:gd name="T113" fmla="*/ 670 h 1578"/>
              <a:gd name="T114" fmla="*/ 889 w 1852"/>
              <a:gd name="T115" fmla="*/ 646 h 1578"/>
              <a:gd name="T116" fmla="*/ 1027 w 1852"/>
              <a:gd name="T117" fmla="*/ 560 h 1578"/>
              <a:gd name="T118" fmla="*/ 1239 w 1852"/>
              <a:gd name="T119" fmla="*/ 560 h 1578"/>
              <a:gd name="T120" fmla="*/ 1427 w 1852"/>
              <a:gd name="T121" fmla="*/ 536 h 1578"/>
              <a:gd name="T122" fmla="*/ 1574 w 1852"/>
              <a:gd name="T123" fmla="*/ 544 h 1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852" h="1578">
                <a:moveTo>
                  <a:pt x="1753" y="646"/>
                </a:moveTo>
                <a:cubicBezTo>
                  <a:pt x="1753" y="631"/>
                  <a:pt x="1745" y="623"/>
                  <a:pt x="1762" y="615"/>
                </a:cubicBezTo>
                <a:cubicBezTo>
                  <a:pt x="1770" y="615"/>
                  <a:pt x="1778" y="631"/>
                  <a:pt x="1778" y="615"/>
                </a:cubicBezTo>
                <a:cubicBezTo>
                  <a:pt x="1778" y="599"/>
                  <a:pt x="1786" y="607"/>
                  <a:pt x="1778" y="591"/>
                </a:cubicBezTo>
                <a:cubicBezTo>
                  <a:pt x="1778" y="591"/>
                  <a:pt x="1778" y="607"/>
                  <a:pt x="1770" y="607"/>
                </a:cubicBezTo>
                <a:cubicBezTo>
                  <a:pt x="1770" y="607"/>
                  <a:pt x="1762" y="615"/>
                  <a:pt x="1753" y="615"/>
                </a:cubicBezTo>
                <a:lnTo>
                  <a:pt x="1745" y="607"/>
                </a:lnTo>
                <a:lnTo>
                  <a:pt x="1762" y="591"/>
                </a:lnTo>
                <a:lnTo>
                  <a:pt x="1762" y="560"/>
                </a:lnTo>
                <a:cubicBezTo>
                  <a:pt x="1762" y="560"/>
                  <a:pt x="1753" y="544"/>
                  <a:pt x="1745" y="528"/>
                </a:cubicBezTo>
                <a:cubicBezTo>
                  <a:pt x="1737" y="520"/>
                  <a:pt x="1729" y="512"/>
                  <a:pt x="1729" y="512"/>
                </a:cubicBezTo>
                <a:lnTo>
                  <a:pt x="1753" y="497"/>
                </a:lnTo>
                <a:lnTo>
                  <a:pt x="1762" y="489"/>
                </a:lnTo>
                <a:lnTo>
                  <a:pt x="1762" y="481"/>
                </a:lnTo>
                <a:cubicBezTo>
                  <a:pt x="1762" y="481"/>
                  <a:pt x="1778" y="497"/>
                  <a:pt x="1794" y="497"/>
                </a:cubicBezTo>
                <a:cubicBezTo>
                  <a:pt x="1802" y="497"/>
                  <a:pt x="1794" y="497"/>
                  <a:pt x="1810" y="489"/>
                </a:cubicBezTo>
                <a:cubicBezTo>
                  <a:pt x="1827" y="489"/>
                  <a:pt x="1851" y="465"/>
                  <a:pt x="1851" y="465"/>
                </a:cubicBezTo>
                <a:cubicBezTo>
                  <a:pt x="1851" y="465"/>
                  <a:pt x="1835" y="449"/>
                  <a:pt x="1827" y="449"/>
                </a:cubicBezTo>
                <a:cubicBezTo>
                  <a:pt x="1819" y="457"/>
                  <a:pt x="1827" y="457"/>
                  <a:pt x="1802" y="457"/>
                </a:cubicBezTo>
                <a:cubicBezTo>
                  <a:pt x="1778" y="449"/>
                  <a:pt x="1770" y="441"/>
                  <a:pt x="1770" y="441"/>
                </a:cubicBezTo>
                <a:lnTo>
                  <a:pt x="1753" y="441"/>
                </a:lnTo>
                <a:cubicBezTo>
                  <a:pt x="1745" y="441"/>
                  <a:pt x="1745" y="441"/>
                  <a:pt x="1737" y="433"/>
                </a:cubicBezTo>
                <a:cubicBezTo>
                  <a:pt x="1721" y="418"/>
                  <a:pt x="1704" y="402"/>
                  <a:pt x="1704" y="402"/>
                </a:cubicBezTo>
                <a:cubicBezTo>
                  <a:pt x="1704" y="402"/>
                  <a:pt x="1688" y="410"/>
                  <a:pt x="1688" y="402"/>
                </a:cubicBezTo>
                <a:lnTo>
                  <a:pt x="1696" y="386"/>
                </a:lnTo>
                <a:lnTo>
                  <a:pt x="1696" y="378"/>
                </a:lnTo>
                <a:lnTo>
                  <a:pt x="1688" y="370"/>
                </a:lnTo>
                <a:lnTo>
                  <a:pt x="1704" y="370"/>
                </a:lnTo>
                <a:lnTo>
                  <a:pt x="1713" y="362"/>
                </a:lnTo>
                <a:cubicBezTo>
                  <a:pt x="1729" y="347"/>
                  <a:pt x="1713" y="331"/>
                  <a:pt x="1688" y="339"/>
                </a:cubicBezTo>
                <a:cubicBezTo>
                  <a:pt x="1680" y="339"/>
                  <a:pt x="1672" y="347"/>
                  <a:pt x="1672" y="347"/>
                </a:cubicBezTo>
                <a:cubicBezTo>
                  <a:pt x="1664" y="347"/>
                  <a:pt x="1647" y="339"/>
                  <a:pt x="1647" y="331"/>
                </a:cubicBezTo>
                <a:cubicBezTo>
                  <a:pt x="1647" y="323"/>
                  <a:pt x="1639" y="323"/>
                  <a:pt x="1656" y="315"/>
                </a:cubicBezTo>
                <a:cubicBezTo>
                  <a:pt x="1664" y="315"/>
                  <a:pt x="1672" y="299"/>
                  <a:pt x="1672" y="299"/>
                </a:cubicBezTo>
                <a:lnTo>
                  <a:pt x="1656" y="276"/>
                </a:lnTo>
                <a:lnTo>
                  <a:pt x="1664" y="228"/>
                </a:lnTo>
                <a:lnTo>
                  <a:pt x="1631" y="221"/>
                </a:lnTo>
                <a:lnTo>
                  <a:pt x="1631" y="205"/>
                </a:lnTo>
                <a:lnTo>
                  <a:pt x="1615" y="197"/>
                </a:lnTo>
                <a:lnTo>
                  <a:pt x="1598" y="236"/>
                </a:lnTo>
                <a:cubicBezTo>
                  <a:pt x="1598" y="236"/>
                  <a:pt x="1574" y="244"/>
                  <a:pt x="1574" y="252"/>
                </a:cubicBezTo>
                <a:cubicBezTo>
                  <a:pt x="1566" y="260"/>
                  <a:pt x="1525" y="260"/>
                  <a:pt x="1525" y="260"/>
                </a:cubicBezTo>
                <a:lnTo>
                  <a:pt x="1492" y="260"/>
                </a:lnTo>
                <a:lnTo>
                  <a:pt x="1435" y="276"/>
                </a:lnTo>
                <a:cubicBezTo>
                  <a:pt x="1435" y="276"/>
                  <a:pt x="1419" y="284"/>
                  <a:pt x="1411" y="284"/>
                </a:cubicBezTo>
                <a:cubicBezTo>
                  <a:pt x="1403" y="284"/>
                  <a:pt x="1362" y="276"/>
                  <a:pt x="1362" y="276"/>
                </a:cubicBezTo>
                <a:lnTo>
                  <a:pt x="1337" y="284"/>
                </a:lnTo>
                <a:lnTo>
                  <a:pt x="1280" y="268"/>
                </a:lnTo>
                <a:lnTo>
                  <a:pt x="1264" y="252"/>
                </a:lnTo>
                <a:lnTo>
                  <a:pt x="1256" y="244"/>
                </a:lnTo>
                <a:lnTo>
                  <a:pt x="1215" y="236"/>
                </a:lnTo>
                <a:lnTo>
                  <a:pt x="1207" y="221"/>
                </a:lnTo>
                <a:lnTo>
                  <a:pt x="1174" y="221"/>
                </a:lnTo>
                <a:lnTo>
                  <a:pt x="1158" y="213"/>
                </a:lnTo>
                <a:lnTo>
                  <a:pt x="1158" y="205"/>
                </a:lnTo>
                <a:cubicBezTo>
                  <a:pt x="1150" y="205"/>
                  <a:pt x="1150" y="205"/>
                  <a:pt x="1150" y="197"/>
                </a:cubicBezTo>
                <a:lnTo>
                  <a:pt x="1141" y="189"/>
                </a:lnTo>
                <a:lnTo>
                  <a:pt x="1101" y="142"/>
                </a:lnTo>
                <a:lnTo>
                  <a:pt x="1093" y="142"/>
                </a:lnTo>
                <a:lnTo>
                  <a:pt x="1019" y="118"/>
                </a:lnTo>
                <a:lnTo>
                  <a:pt x="995" y="87"/>
                </a:lnTo>
                <a:lnTo>
                  <a:pt x="970" y="71"/>
                </a:lnTo>
                <a:lnTo>
                  <a:pt x="938" y="47"/>
                </a:lnTo>
                <a:lnTo>
                  <a:pt x="905" y="23"/>
                </a:lnTo>
                <a:lnTo>
                  <a:pt x="889" y="8"/>
                </a:lnTo>
                <a:lnTo>
                  <a:pt x="880" y="0"/>
                </a:lnTo>
                <a:lnTo>
                  <a:pt x="872" y="0"/>
                </a:lnTo>
                <a:lnTo>
                  <a:pt x="848" y="0"/>
                </a:lnTo>
                <a:cubicBezTo>
                  <a:pt x="848" y="0"/>
                  <a:pt x="840" y="8"/>
                  <a:pt x="831" y="8"/>
                </a:cubicBezTo>
                <a:lnTo>
                  <a:pt x="823" y="23"/>
                </a:lnTo>
                <a:lnTo>
                  <a:pt x="815" y="31"/>
                </a:lnTo>
                <a:lnTo>
                  <a:pt x="823" y="39"/>
                </a:lnTo>
                <a:cubicBezTo>
                  <a:pt x="840" y="71"/>
                  <a:pt x="848" y="71"/>
                  <a:pt x="807" y="63"/>
                </a:cubicBezTo>
                <a:lnTo>
                  <a:pt x="791" y="55"/>
                </a:lnTo>
                <a:lnTo>
                  <a:pt x="782" y="63"/>
                </a:lnTo>
                <a:lnTo>
                  <a:pt x="766" y="71"/>
                </a:lnTo>
                <a:lnTo>
                  <a:pt x="766" y="87"/>
                </a:lnTo>
                <a:lnTo>
                  <a:pt x="758" y="102"/>
                </a:lnTo>
                <a:lnTo>
                  <a:pt x="742" y="110"/>
                </a:lnTo>
                <a:lnTo>
                  <a:pt x="725" y="118"/>
                </a:lnTo>
                <a:lnTo>
                  <a:pt x="717" y="126"/>
                </a:lnTo>
                <a:lnTo>
                  <a:pt x="701" y="126"/>
                </a:lnTo>
                <a:lnTo>
                  <a:pt x="685" y="134"/>
                </a:lnTo>
                <a:lnTo>
                  <a:pt x="676" y="150"/>
                </a:lnTo>
                <a:lnTo>
                  <a:pt x="660" y="150"/>
                </a:lnTo>
                <a:lnTo>
                  <a:pt x="636" y="157"/>
                </a:lnTo>
                <a:lnTo>
                  <a:pt x="636" y="173"/>
                </a:lnTo>
                <a:lnTo>
                  <a:pt x="627" y="181"/>
                </a:lnTo>
                <a:lnTo>
                  <a:pt x="627" y="205"/>
                </a:lnTo>
                <a:lnTo>
                  <a:pt x="644" y="213"/>
                </a:lnTo>
                <a:lnTo>
                  <a:pt x="652" y="221"/>
                </a:lnTo>
                <a:lnTo>
                  <a:pt x="660" y="228"/>
                </a:lnTo>
                <a:lnTo>
                  <a:pt x="668" y="236"/>
                </a:lnTo>
                <a:cubicBezTo>
                  <a:pt x="660" y="236"/>
                  <a:pt x="660" y="260"/>
                  <a:pt x="660" y="260"/>
                </a:cubicBezTo>
                <a:lnTo>
                  <a:pt x="668" y="284"/>
                </a:lnTo>
                <a:lnTo>
                  <a:pt x="660" y="292"/>
                </a:lnTo>
                <a:lnTo>
                  <a:pt x="668" y="307"/>
                </a:lnTo>
                <a:cubicBezTo>
                  <a:pt x="668" y="307"/>
                  <a:pt x="676" y="307"/>
                  <a:pt x="668" y="315"/>
                </a:cubicBezTo>
                <a:cubicBezTo>
                  <a:pt x="660" y="315"/>
                  <a:pt x="652" y="323"/>
                  <a:pt x="652" y="323"/>
                </a:cubicBezTo>
                <a:lnTo>
                  <a:pt x="636" y="323"/>
                </a:lnTo>
                <a:lnTo>
                  <a:pt x="619" y="323"/>
                </a:lnTo>
                <a:lnTo>
                  <a:pt x="611" y="339"/>
                </a:lnTo>
                <a:lnTo>
                  <a:pt x="595" y="331"/>
                </a:lnTo>
                <a:lnTo>
                  <a:pt x="595" y="347"/>
                </a:lnTo>
                <a:lnTo>
                  <a:pt x="570" y="355"/>
                </a:lnTo>
                <a:lnTo>
                  <a:pt x="554" y="362"/>
                </a:lnTo>
                <a:lnTo>
                  <a:pt x="546" y="378"/>
                </a:lnTo>
                <a:lnTo>
                  <a:pt x="554" y="386"/>
                </a:lnTo>
                <a:cubicBezTo>
                  <a:pt x="554" y="386"/>
                  <a:pt x="562" y="394"/>
                  <a:pt x="562" y="386"/>
                </a:cubicBezTo>
                <a:lnTo>
                  <a:pt x="562" y="378"/>
                </a:lnTo>
                <a:cubicBezTo>
                  <a:pt x="570" y="386"/>
                  <a:pt x="578" y="394"/>
                  <a:pt x="578" y="394"/>
                </a:cubicBezTo>
                <a:lnTo>
                  <a:pt x="587" y="410"/>
                </a:lnTo>
                <a:lnTo>
                  <a:pt x="570" y="410"/>
                </a:lnTo>
                <a:lnTo>
                  <a:pt x="562" y="418"/>
                </a:lnTo>
                <a:lnTo>
                  <a:pt x="554" y="426"/>
                </a:lnTo>
                <a:lnTo>
                  <a:pt x="554" y="441"/>
                </a:lnTo>
                <a:lnTo>
                  <a:pt x="554" y="449"/>
                </a:lnTo>
                <a:cubicBezTo>
                  <a:pt x="562" y="449"/>
                  <a:pt x="570" y="465"/>
                  <a:pt x="570" y="465"/>
                </a:cubicBezTo>
                <a:lnTo>
                  <a:pt x="578" y="473"/>
                </a:lnTo>
                <a:lnTo>
                  <a:pt x="578" y="481"/>
                </a:lnTo>
                <a:cubicBezTo>
                  <a:pt x="578" y="481"/>
                  <a:pt x="570" y="489"/>
                  <a:pt x="562" y="489"/>
                </a:cubicBezTo>
                <a:lnTo>
                  <a:pt x="546" y="489"/>
                </a:lnTo>
                <a:lnTo>
                  <a:pt x="538" y="504"/>
                </a:lnTo>
                <a:lnTo>
                  <a:pt x="521" y="504"/>
                </a:lnTo>
                <a:cubicBezTo>
                  <a:pt x="521" y="504"/>
                  <a:pt x="538" y="512"/>
                  <a:pt x="521" y="504"/>
                </a:cubicBezTo>
                <a:cubicBezTo>
                  <a:pt x="497" y="497"/>
                  <a:pt x="497" y="489"/>
                  <a:pt x="497" y="489"/>
                </a:cubicBezTo>
                <a:lnTo>
                  <a:pt x="489" y="481"/>
                </a:lnTo>
                <a:lnTo>
                  <a:pt x="472" y="481"/>
                </a:lnTo>
                <a:lnTo>
                  <a:pt x="456" y="481"/>
                </a:lnTo>
                <a:lnTo>
                  <a:pt x="448" y="473"/>
                </a:lnTo>
                <a:lnTo>
                  <a:pt x="440" y="489"/>
                </a:lnTo>
                <a:cubicBezTo>
                  <a:pt x="440" y="489"/>
                  <a:pt x="440" y="497"/>
                  <a:pt x="432" y="497"/>
                </a:cubicBezTo>
                <a:cubicBezTo>
                  <a:pt x="423" y="504"/>
                  <a:pt x="432" y="504"/>
                  <a:pt x="423" y="504"/>
                </a:cubicBezTo>
                <a:cubicBezTo>
                  <a:pt x="407" y="504"/>
                  <a:pt x="400" y="489"/>
                  <a:pt x="400" y="489"/>
                </a:cubicBezTo>
                <a:lnTo>
                  <a:pt x="384" y="481"/>
                </a:lnTo>
                <a:lnTo>
                  <a:pt x="375" y="473"/>
                </a:lnTo>
                <a:cubicBezTo>
                  <a:pt x="367" y="473"/>
                  <a:pt x="367" y="481"/>
                  <a:pt x="367" y="465"/>
                </a:cubicBezTo>
                <a:lnTo>
                  <a:pt x="367" y="457"/>
                </a:lnTo>
                <a:cubicBezTo>
                  <a:pt x="359" y="449"/>
                  <a:pt x="359" y="457"/>
                  <a:pt x="351" y="449"/>
                </a:cubicBezTo>
                <a:cubicBezTo>
                  <a:pt x="351" y="441"/>
                  <a:pt x="343" y="433"/>
                  <a:pt x="343" y="433"/>
                </a:cubicBezTo>
                <a:lnTo>
                  <a:pt x="335" y="418"/>
                </a:lnTo>
                <a:lnTo>
                  <a:pt x="335" y="426"/>
                </a:lnTo>
                <a:cubicBezTo>
                  <a:pt x="326" y="433"/>
                  <a:pt x="318" y="433"/>
                  <a:pt x="318" y="433"/>
                </a:cubicBezTo>
                <a:cubicBezTo>
                  <a:pt x="318" y="441"/>
                  <a:pt x="310" y="449"/>
                  <a:pt x="310" y="449"/>
                </a:cubicBezTo>
                <a:cubicBezTo>
                  <a:pt x="310" y="449"/>
                  <a:pt x="302" y="457"/>
                  <a:pt x="302" y="465"/>
                </a:cubicBezTo>
                <a:cubicBezTo>
                  <a:pt x="310" y="465"/>
                  <a:pt x="310" y="465"/>
                  <a:pt x="310" y="473"/>
                </a:cubicBezTo>
                <a:lnTo>
                  <a:pt x="302" y="481"/>
                </a:lnTo>
                <a:cubicBezTo>
                  <a:pt x="294" y="489"/>
                  <a:pt x="294" y="489"/>
                  <a:pt x="286" y="489"/>
                </a:cubicBezTo>
                <a:cubicBezTo>
                  <a:pt x="286" y="497"/>
                  <a:pt x="269" y="504"/>
                  <a:pt x="269" y="504"/>
                </a:cubicBezTo>
                <a:lnTo>
                  <a:pt x="253" y="504"/>
                </a:lnTo>
                <a:lnTo>
                  <a:pt x="229" y="497"/>
                </a:lnTo>
                <a:lnTo>
                  <a:pt x="212" y="512"/>
                </a:lnTo>
                <a:lnTo>
                  <a:pt x="204" y="512"/>
                </a:lnTo>
                <a:lnTo>
                  <a:pt x="188" y="512"/>
                </a:lnTo>
                <a:cubicBezTo>
                  <a:pt x="188" y="512"/>
                  <a:pt x="180" y="504"/>
                  <a:pt x="171" y="504"/>
                </a:cubicBezTo>
                <a:lnTo>
                  <a:pt x="163" y="504"/>
                </a:lnTo>
                <a:lnTo>
                  <a:pt x="147" y="504"/>
                </a:lnTo>
                <a:lnTo>
                  <a:pt x="147" y="512"/>
                </a:lnTo>
                <a:lnTo>
                  <a:pt x="155" y="512"/>
                </a:lnTo>
                <a:lnTo>
                  <a:pt x="155" y="528"/>
                </a:lnTo>
                <a:lnTo>
                  <a:pt x="147" y="528"/>
                </a:lnTo>
                <a:cubicBezTo>
                  <a:pt x="147" y="536"/>
                  <a:pt x="131" y="536"/>
                  <a:pt x="131" y="536"/>
                </a:cubicBezTo>
                <a:lnTo>
                  <a:pt x="131" y="544"/>
                </a:lnTo>
                <a:lnTo>
                  <a:pt x="123" y="544"/>
                </a:lnTo>
                <a:lnTo>
                  <a:pt x="106" y="544"/>
                </a:lnTo>
                <a:cubicBezTo>
                  <a:pt x="106" y="536"/>
                  <a:pt x="98" y="536"/>
                  <a:pt x="90" y="536"/>
                </a:cubicBezTo>
                <a:lnTo>
                  <a:pt x="65" y="528"/>
                </a:lnTo>
                <a:lnTo>
                  <a:pt x="57" y="536"/>
                </a:lnTo>
                <a:cubicBezTo>
                  <a:pt x="49" y="536"/>
                  <a:pt x="41" y="536"/>
                  <a:pt x="33" y="528"/>
                </a:cubicBezTo>
                <a:lnTo>
                  <a:pt x="25" y="528"/>
                </a:lnTo>
                <a:lnTo>
                  <a:pt x="25" y="512"/>
                </a:lnTo>
                <a:lnTo>
                  <a:pt x="0" y="528"/>
                </a:lnTo>
                <a:lnTo>
                  <a:pt x="16" y="560"/>
                </a:lnTo>
                <a:lnTo>
                  <a:pt x="8" y="567"/>
                </a:lnTo>
                <a:lnTo>
                  <a:pt x="16" y="575"/>
                </a:lnTo>
                <a:cubicBezTo>
                  <a:pt x="16" y="583"/>
                  <a:pt x="25" y="583"/>
                  <a:pt x="25" y="591"/>
                </a:cubicBezTo>
                <a:lnTo>
                  <a:pt x="25" y="607"/>
                </a:lnTo>
                <a:lnTo>
                  <a:pt x="33" y="607"/>
                </a:lnTo>
                <a:lnTo>
                  <a:pt x="41" y="623"/>
                </a:lnTo>
                <a:lnTo>
                  <a:pt x="41" y="631"/>
                </a:lnTo>
                <a:lnTo>
                  <a:pt x="41" y="646"/>
                </a:lnTo>
                <a:cubicBezTo>
                  <a:pt x="41" y="646"/>
                  <a:pt x="49" y="654"/>
                  <a:pt x="49" y="662"/>
                </a:cubicBezTo>
                <a:lnTo>
                  <a:pt x="49" y="678"/>
                </a:lnTo>
                <a:lnTo>
                  <a:pt x="65" y="694"/>
                </a:lnTo>
                <a:lnTo>
                  <a:pt x="65" y="709"/>
                </a:lnTo>
                <a:cubicBezTo>
                  <a:pt x="65" y="709"/>
                  <a:pt x="74" y="717"/>
                  <a:pt x="82" y="725"/>
                </a:cubicBezTo>
                <a:lnTo>
                  <a:pt x="90" y="733"/>
                </a:lnTo>
                <a:lnTo>
                  <a:pt x="98" y="749"/>
                </a:lnTo>
                <a:lnTo>
                  <a:pt x="106" y="765"/>
                </a:lnTo>
                <a:lnTo>
                  <a:pt x="114" y="772"/>
                </a:lnTo>
                <a:lnTo>
                  <a:pt x="123" y="788"/>
                </a:lnTo>
                <a:lnTo>
                  <a:pt x="131" y="796"/>
                </a:lnTo>
                <a:lnTo>
                  <a:pt x="139" y="804"/>
                </a:lnTo>
                <a:cubicBezTo>
                  <a:pt x="139" y="804"/>
                  <a:pt x="139" y="812"/>
                  <a:pt x="147" y="812"/>
                </a:cubicBezTo>
                <a:lnTo>
                  <a:pt x="163" y="812"/>
                </a:lnTo>
                <a:cubicBezTo>
                  <a:pt x="171" y="812"/>
                  <a:pt x="171" y="820"/>
                  <a:pt x="180" y="796"/>
                </a:cubicBezTo>
                <a:lnTo>
                  <a:pt x="180" y="772"/>
                </a:lnTo>
                <a:cubicBezTo>
                  <a:pt x="180" y="772"/>
                  <a:pt x="188" y="772"/>
                  <a:pt x="188" y="765"/>
                </a:cubicBezTo>
                <a:cubicBezTo>
                  <a:pt x="196" y="765"/>
                  <a:pt x="204" y="765"/>
                  <a:pt x="204" y="757"/>
                </a:cubicBezTo>
                <a:cubicBezTo>
                  <a:pt x="204" y="741"/>
                  <a:pt x="188" y="733"/>
                  <a:pt x="188" y="733"/>
                </a:cubicBezTo>
                <a:cubicBezTo>
                  <a:pt x="188" y="733"/>
                  <a:pt x="204" y="725"/>
                  <a:pt x="212" y="733"/>
                </a:cubicBezTo>
                <a:cubicBezTo>
                  <a:pt x="212" y="741"/>
                  <a:pt x="212" y="749"/>
                  <a:pt x="220" y="741"/>
                </a:cubicBezTo>
                <a:lnTo>
                  <a:pt x="229" y="725"/>
                </a:lnTo>
                <a:cubicBezTo>
                  <a:pt x="220" y="717"/>
                  <a:pt x="220" y="709"/>
                  <a:pt x="220" y="702"/>
                </a:cubicBezTo>
                <a:cubicBezTo>
                  <a:pt x="220" y="702"/>
                  <a:pt x="229" y="694"/>
                  <a:pt x="229" y="686"/>
                </a:cubicBezTo>
                <a:cubicBezTo>
                  <a:pt x="237" y="678"/>
                  <a:pt x="237" y="670"/>
                  <a:pt x="237" y="662"/>
                </a:cubicBezTo>
                <a:cubicBezTo>
                  <a:pt x="237" y="646"/>
                  <a:pt x="237" y="654"/>
                  <a:pt x="245" y="638"/>
                </a:cubicBezTo>
                <a:lnTo>
                  <a:pt x="245" y="607"/>
                </a:lnTo>
                <a:cubicBezTo>
                  <a:pt x="253" y="583"/>
                  <a:pt x="253" y="575"/>
                  <a:pt x="261" y="575"/>
                </a:cubicBezTo>
                <a:lnTo>
                  <a:pt x="327" y="599"/>
                </a:lnTo>
                <a:lnTo>
                  <a:pt x="335" y="615"/>
                </a:lnTo>
                <a:lnTo>
                  <a:pt x="335" y="631"/>
                </a:lnTo>
                <a:cubicBezTo>
                  <a:pt x="335" y="638"/>
                  <a:pt x="327" y="654"/>
                  <a:pt x="327" y="654"/>
                </a:cubicBezTo>
                <a:lnTo>
                  <a:pt x="327" y="662"/>
                </a:lnTo>
                <a:cubicBezTo>
                  <a:pt x="327" y="662"/>
                  <a:pt x="310" y="662"/>
                  <a:pt x="310" y="678"/>
                </a:cubicBezTo>
                <a:cubicBezTo>
                  <a:pt x="302" y="686"/>
                  <a:pt x="302" y="686"/>
                  <a:pt x="310" y="694"/>
                </a:cubicBezTo>
                <a:cubicBezTo>
                  <a:pt x="318" y="702"/>
                  <a:pt x="327" y="709"/>
                  <a:pt x="327" y="709"/>
                </a:cubicBezTo>
                <a:cubicBezTo>
                  <a:pt x="335" y="709"/>
                  <a:pt x="343" y="702"/>
                  <a:pt x="351" y="702"/>
                </a:cubicBezTo>
                <a:lnTo>
                  <a:pt x="359" y="702"/>
                </a:lnTo>
                <a:cubicBezTo>
                  <a:pt x="359" y="709"/>
                  <a:pt x="359" y="717"/>
                  <a:pt x="367" y="725"/>
                </a:cubicBezTo>
                <a:cubicBezTo>
                  <a:pt x="375" y="725"/>
                  <a:pt x="384" y="733"/>
                  <a:pt x="384" y="733"/>
                </a:cubicBezTo>
                <a:lnTo>
                  <a:pt x="400" y="733"/>
                </a:lnTo>
                <a:cubicBezTo>
                  <a:pt x="400" y="733"/>
                  <a:pt x="407" y="725"/>
                  <a:pt x="415" y="725"/>
                </a:cubicBezTo>
                <a:cubicBezTo>
                  <a:pt x="415" y="725"/>
                  <a:pt x="440" y="749"/>
                  <a:pt x="423" y="717"/>
                </a:cubicBezTo>
                <a:cubicBezTo>
                  <a:pt x="400" y="694"/>
                  <a:pt x="400" y="694"/>
                  <a:pt x="400" y="686"/>
                </a:cubicBezTo>
                <a:cubicBezTo>
                  <a:pt x="392" y="686"/>
                  <a:pt x="384" y="678"/>
                  <a:pt x="384" y="678"/>
                </a:cubicBezTo>
                <a:lnTo>
                  <a:pt x="375" y="678"/>
                </a:lnTo>
                <a:lnTo>
                  <a:pt x="375" y="662"/>
                </a:lnTo>
                <a:cubicBezTo>
                  <a:pt x="384" y="654"/>
                  <a:pt x="384" y="654"/>
                  <a:pt x="392" y="654"/>
                </a:cubicBezTo>
                <a:cubicBezTo>
                  <a:pt x="400" y="654"/>
                  <a:pt x="400" y="646"/>
                  <a:pt x="415" y="662"/>
                </a:cubicBezTo>
                <a:cubicBezTo>
                  <a:pt x="423" y="670"/>
                  <a:pt x="423" y="670"/>
                  <a:pt x="423" y="678"/>
                </a:cubicBezTo>
                <a:cubicBezTo>
                  <a:pt x="432" y="694"/>
                  <a:pt x="440" y="702"/>
                  <a:pt x="448" y="709"/>
                </a:cubicBezTo>
                <a:cubicBezTo>
                  <a:pt x="448" y="709"/>
                  <a:pt x="456" y="709"/>
                  <a:pt x="456" y="725"/>
                </a:cubicBezTo>
                <a:lnTo>
                  <a:pt x="456" y="765"/>
                </a:lnTo>
                <a:lnTo>
                  <a:pt x="456" y="796"/>
                </a:lnTo>
                <a:lnTo>
                  <a:pt x="456" y="820"/>
                </a:lnTo>
                <a:cubicBezTo>
                  <a:pt x="456" y="828"/>
                  <a:pt x="497" y="883"/>
                  <a:pt x="497" y="883"/>
                </a:cubicBezTo>
                <a:cubicBezTo>
                  <a:pt x="497" y="883"/>
                  <a:pt x="513" y="907"/>
                  <a:pt x="521" y="907"/>
                </a:cubicBezTo>
                <a:cubicBezTo>
                  <a:pt x="521" y="907"/>
                  <a:pt x="530" y="930"/>
                  <a:pt x="538" y="938"/>
                </a:cubicBezTo>
                <a:cubicBezTo>
                  <a:pt x="554" y="938"/>
                  <a:pt x="587" y="954"/>
                  <a:pt x="587" y="954"/>
                </a:cubicBezTo>
                <a:lnTo>
                  <a:pt x="644" y="985"/>
                </a:lnTo>
                <a:cubicBezTo>
                  <a:pt x="644" y="985"/>
                  <a:pt x="660" y="1009"/>
                  <a:pt x="668" y="1009"/>
                </a:cubicBezTo>
                <a:cubicBezTo>
                  <a:pt x="668" y="1009"/>
                  <a:pt x="709" y="1009"/>
                  <a:pt x="676" y="1009"/>
                </a:cubicBezTo>
                <a:cubicBezTo>
                  <a:pt x="652" y="1009"/>
                  <a:pt x="619" y="993"/>
                  <a:pt x="619" y="993"/>
                </a:cubicBezTo>
                <a:lnTo>
                  <a:pt x="611" y="978"/>
                </a:lnTo>
                <a:cubicBezTo>
                  <a:pt x="603" y="978"/>
                  <a:pt x="570" y="970"/>
                  <a:pt x="562" y="962"/>
                </a:cubicBezTo>
                <a:cubicBezTo>
                  <a:pt x="562" y="962"/>
                  <a:pt x="554" y="954"/>
                  <a:pt x="546" y="946"/>
                </a:cubicBezTo>
                <a:cubicBezTo>
                  <a:pt x="538" y="930"/>
                  <a:pt x="521" y="922"/>
                  <a:pt x="521" y="922"/>
                </a:cubicBezTo>
                <a:cubicBezTo>
                  <a:pt x="521" y="922"/>
                  <a:pt x="513" y="914"/>
                  <a:pt x="505" y="899"/>
                </a:cubicBezTo>
                <a:cubicBezTo>
                  <a:pt x="497" y="891"/>
                  <a:pt x="497" y="891"/>
                  <a:pt x="497" y="883"/>
                </a:cubicBezTo>
                <a:cubicBezTo>
                  <a:pt x="489" y="883"/>
                  <a:pt x="497" y="883"/>
                  <a:pt x="481" y="875"/>
                </a:cubicBezTo>
                <a:cubicBezTo>
                  <a:pt x="464" y="867"/>
                  <a:pt x="456" y="859"/>
                  <a:pt x="456" y="859"/>
                </a:cubicBezTo>
                <a:cubicBezTo>
                  <a:pt x="448" y="859"/>
                  <a:pt x="432" y="851"/>
                  <a:pt x="432" y="851"/>
                </a:cubicBezTo>
                <a:lnTo>
                  <a:pt x="415" y="836"/>
                </a:lnTo>
                <a:cubicBezTo>
                  <a:pt x="415" y="836"/>
                  <a:pt x="407" y="851"/>
                  <a:pt x="423" y="859"/>
                </a:cubicBezTo>
                <a:cubicBezTo>
                  <a:pt x="432" y="859"/>
                  <a:pt x="448" y="875"/>
                  <a:pt x="448" y="875"/>
                </a:cubicBezTo>
                <a:lnTo>
                  <a:pt x="464" y="883"/>
                </a:lnTo>
                <a:lnTo>
                  <a:pt x="464" y="899"/>
                </a:lnTo>
                <a:cubicBezTo>
                  <a:pt x="464" y="899"/>
                  <a:pt x="440" y="891"/>
                  <a:pt x="464" y="899"/>
                </a:cubicBezTo>
                <a:cubicBezTo>
                  <a:pt x="481" y="907"/>
                  <a:pt x="497" y="907"/>
                  <a:pt x="497" y="907"/>
                </a:cubicBezTo>
                <a:cubicBezTo>
                  <a:pt x="497" y="907"/>
                  <a:pt x="481" y="914"/>
                  <a:pt x="472" y="914"/>
                </a:cubicBezTo>
                <a:cubicBezTo>
                  <a:pt x="472" y="922"/>
                  <a:pt x="489" y="946"/>
                  <a:pt x="489" y="938"/>
                </a:cubicBezTo>
                <a:cubicBezTo>
                  <a:pt x="497" y="938"/>
                  <a:pt x="505" y="946"/>
                  <a:pt x="513" y="946"/>
                </a:cubicBezTo>
                <a:cubicBezTo>
                  <a:pt x="513" y="946"/>
                  <a:pt x="530" y="946"/>
                  <a:pt x="530" y="954"/>
                </a:cubicBezTo>
                <a:cubicBezTo>
                  <a:pt x="538" y="954"/>
                  <a:pt x="538" y="954"/>
                  <a:pt x="538" y="962"/>
                </a:cubicBezTo>
                <a:cubicBezTo>
                  <a:pt x="530" y="962"/>
                  <a:pt x="538" y="978"/>
                  <a:pt x="538" y="978"/>
                </a:cubicBezTo>
                <a:lnTo>
                  <a:pt x="554" y="985"/>
                </a:lnTo>
                <a:cubicBezTo>
                  <a:pt x="554" y="985"/>
                  <a:pt x="530" y="985"/>
                  <a:pt x="530" y="978"/>
                </a:cubicBezTo>
                <a:cubicBezTo>
                  <a:pt x="521" y="978"/>
                  <a:pt x="521" y="970"/>
                  <a:pt x="513" y="978"/>
                </a:cubicBezTo>
                <a:cubicBezTo>
                  <a:pt x="505" y="985"/>
                  <a:pt x="505" y="985"/>
                  <a:pt x="505" y="993"/>
                </a:cubicBezTo>
                <a:cubicBezTo>
                  <a:pt x="513" y="1001"/>
                  <a:pt x="521" y="1009"/>
                  <a:pt x="530" y="1001"/>
                </a:cubicBezTo>
                <a:lnTo>
                  <a:pt x="538" y="993"/>
                </a:lnTo>
                <a:lnTo>
                  <a:pt x="554" y="993"/>
                </a:lnTo>
                <a:lnTo>
                  <a:pt x="562" y="985"/>
                </a:lnTo>
                <a:lnTo>
                  <a:pt x="562" y="993"/>
                </a:lnTo>
                <a:cubicBezTo>
                  <a:pt x="562" y="993"/>
                  <a:pt x="570" y="993"/>
                  <a:pt x="562" y="1001"/>
                </a:cubicBezTo>
                <a:cubicBezTo>
                  <a:pt x="562" y="1009"/>
                  <a:pt x="554" y="1009"/>
                  <a:pt x="554" y="1009"/>
                </a:cubicBezTo>
                <a:cubicBezTo>
                  <a:pt x="554" y="1017"/>
                  <a:pt x="546" y="1009"/>
                  <a:pt x="554" y="1025"/>
                </a:cubicBezTo>
                <a:lnTo>
                  <a:pt x="554" y="1041"/>
                </a:lnTo>
                <a:lnTo>
                  <a:pt x="562" y="1041"/>
                </a:lnTo>
                <a:cubicBezTo>
                  <a:pt x="570" y="1048"/>
                  <a:pt x="570" y="1056"/>
                  <a:pt x="570" y="1064"/>
                </a:cubicBezTo>
                <a:cubicBezTo>
                  <a:pt x="579" y="1064"/>
                  <a:pt x="595" y="1088"/>
                  <a:pt x="595" y="1088"/>
                </a:cubicBezTo>
                <a:lnTo>
                  <a:pt x="619" y="1104"/>
                </a:lnTo>
                <a:lnTo>
                  <a:pt x="627" y="1112"/>
                </a:lnTo>
                <a:cubicBezTo>
                  <a:pt x="627" y="1112"/>
                  <a:pt x="627" y="1119"/>
                  <a:pt x="619" y="1112"/>
                </a:cubicBezTo>
                <a:cubicBezTo>
                  <a:pt x="611" y="1104"/>
                  <a:pt x="595" y="1096"/>
                  <a:pt x="595" y="1096"/>
                </a:cubicBezTo>
                <a:lnTo>
                  <a:pt x="595" y="1112"/>
                </a:lnTo>
                <a:cubicBezTo>
                  <a:pt x="595" y="1112"/>
                  <a:pt x="603" y="1119"/>
                  <a:pt x="611" y="1119"/>
                </a:cubicBezTo>
                <a:cubicBezTo>
                  <a:pt x="611" y="1127"/>
                  <a:pt x="611" y="1127"/>
                  <a:pt x="619" y="1135"/>
                </a:cubicBezTo>
                <a:lnTo>
                  <a:pt x="644" y="1135"/>
                </a:lnTo>
                <a:cubicBezTo>
                  <a:pt x="644" y="1143"/>
                  <a:pt x="644" y="1127"/>
                  <a:pt x="644" y="1127"/>
                </a:cubicBezTo>
                <a:lnTo>
                  <a:pt x="652" y="1127"/>
                </a:lnTo>
                <a:cubicBezTo>
                  <a:pt x="652" y="1135"/>
                  <a:pt x="660" y="1143"/>
                  <a:pt x="652" y="1151"/>
                </a:cubicBezTo>
                <a:cubicBezTo>
                  <a:pt x="652" y="1151"/>
                  <a:pt x="652" y="1159"/>
                  <a:pt x="644" y="1151"/>
                </a:cubicBezTo>
                <a:cubicBezTo>
                  <a:pt x="636" y="1151"/>
                  <a:pt x="627" y="1143"/>
                  <a:pt x="619" y="1143"/>
                </a:cubicBezTo>
                <a:cubicBezTo>
                  <a:pt x="619" y="1143"/>
                  <a:pt x="611" y="1135"/>
                  <a:pt x="603" y="1143"/>
                </a:cubicBezTo>
                <a:cubicBezTo>
                  <a:pt x="603" y="1143"/>
                  <a:pt x="587" y="1135"/>
                  <a:pt x="587" y="1143"/>
                </a:cubicBezTo>
                <a:lnTo>
                  <a:pt x="587" y="1159"/>
                </a:lnTo>
                <a:cubicBezTo>
                  <a:pt x="587" y="1159"/>
                  <a:pt x="579" y="1127"/>
                  <a:pt x="570" y="1127"/>
                </a:cubicBezTo>
                <a:cubicBezTo>
                  <a:pt x="562" y="1127"/>
                  <a:pt x="546" y="1119"/>
                  <a:pt x="546" y="1119"/>
                </a:cubicBezTo>
                <a:lnTo>
                  <a:pt x="538" y="1104"/>
                </a:lnTo>
                <a:lnTo>
                  <a:pt x="546" y="1104"/>
                </a:lnTo>
                <a:cubicBezTo>
                  <a:pt x="554" y="1112"/>
                  <a:pt x="546" y="1112"/>
                  <a:pt x="554" y="1112"/>
                </a:cubicBezTo>
                <a:cubicBezTo>
                  <a:pt x="562" y="1112"/>
                  <a:pt x="546" y="1096"/>
                  <a:pt x="562" y="1096"/>
                </a:cubicBezTo>
                <a:lnTo>
                  <a:pt x="579" y="1096"/>
                </a:lnTo>
                <a:cubicBezTo>
                  <a:pt x="579" y="1088"/>
                  <a:pt x="595" y="1088"/>
                  <a:pt x="579" y="1080"/>
                </a:cubicBezTo>
                <a:lnTo>
                  <a:pt x="562" y="1072"/>
                </a:lnTo>
                <a:cubicBezTo>
                  <a:pt x="554" y="1072"/>
                  <a:pt x="554" y="1072"/>
                  <a:pt x="554" y="1064"/>
                </a:cubicBezTo>
                <a:cubicBezTo>
                  <a:pt x="546" y="1056"/>
                  <a:pt x="546" y="1048"/>
                  <a:pt x="538" y="1048"/>
                </a:cubicBezTo>
                <a:lnTo>
                  <a:pt x="513" y="1048"/>
                </a:lnTo>
                <a:cubicBezTo>
                  <a:pt x="513" y="1048"/>
                  <a:pt x="505" y="1041"/>
                  <a:pt x="497" y="1041"/>
                </a:cubicBezTo>
                <a:cubicBezTo>
                  <a:pt x="489" y="1041"/>
                  <a:pt x="472" y="1025"/>
                  <a:pt x="472" y="1025"/>
                </a:cubicBezTo>
                <a:cubicBezTo>
                  <a:pt x="464" y="1017"/>
                  <a:pt x="440" y="1009"/>
                  <a:pt x="440" y="1009"/>
                </a:cubicBezTo>
                <a:cubicBezTo>
                  <a:pt x="440" y="1009"/>
                  <a:pt x="432" y="1001"/>
                  <a:pt x="423" y="1001"/>
                </a:cubicBezTo>
                <a:lnTo>
                  <a:pt x="407" y="1001"/>
                </a:lnTo>
                <a:cubicBezTo>
                  <a:pt x="400" y="993"/>
                  <a:pt x="392" y="985"/>
                  <a:pt x="392" y="985"/>
                </a:cubicBezTo>
                <a:cubicBezTo>
                  <a:pt x="384" y="978"/>
                  <a:pt x="375" y="978"/>
                  <a:pt x="375" y="978"/>
                </a:cubicBezTo>
                <a:cubicBezTo>
                  <a:pt x="384" y="985"/>
                  <a:pt x="375" y="985"/>
                  <a:pt x="392" y="993"/>
                </a:cubicBezTo>
                <a:cubicBezTo>
                  <a:pt x="400" y="1001"/>
                  <a:pt x="407" y="1001"/>
                  <a:pt x="407" y="1001"/>
                </a:cubicBezTo>
                <a:lnTo>
                  <a:pt x="415" y="1009"/>
                </a:lnTo>
                <a:cubicBezTo>
                  <a:pt x="415" y="1017"/>
                  <a:pt x="423" y="1009"/>
                  <a:pt x="432" y="1009"/>
                </a:cubicBezTo>
                <a:cubicBezTo>
                  <a:pt x="432" y="1017"/>
                  <a:pt x="440" y="1017"/>
                  <a:pt x="440" y="1025"/>
                </a:cubicBezTo>
                <a:cubicBezTo>
                  <a:pt x="440" y="1025"/>
                  <a:pt x="464" y="1025"/>
                  <a:pt x="464" y="1033"/>
                </a:cubicBezTo>
                <a:cubicBezTo>
                  <a:pt x="464" y="1041"/>
                  <a:pt x="472" y="1048"/>
                  <a:pt x="464" y="1048"/>
                </a:cubicBezTo>
                <a:lnTo>
                  <a:pt x="456" y="1056"/>
                </a:lnTo>
                <a:cubicBezTo>
                  <a:pt x="464" y="1056"/>
                  <a:pt x="472" y="1064"/>
                  <a:pt x="481" y="1064"/>
                </a:cubicBezTo>
                <a:cubicBezTo>
                  <a:pt x="489" y="1064"/>
                  <a:pt x="481" y="1064"/>
                  <a:pt x="497" y="1072"/>
                </a:cubicBezTo>
                <a:cubicBezTo>
                  <a:pt x="513" y="1072"/>
                  <a:pt x="513" y="1088"/>
                  <a:pt x="513" y="1088"/>
                </a:cubicBezTo>
                <a:cubicBezTo>
                  <a:pt x="513" y="1096"/>
                  <a:pt x="530" y="1104"/>
                  <a:pt x="530" y="1104"/>
                </a:cubicBezTo>
                <a:cubicBezTo>
                  <a:pt x="530" y="1104"/>
                  <a:pt x="521" y="1104"/>
                  <a:pt x="530" y="1112"/>
                </a:cubicBezTo>
                <a:cubicBezTo>
                  <a:pt x="530" y="1112"/>
                  <a:pt x="521" y="1112"/>
                  <a:pt x="530" y="1119"/>
                </a:cubicBezTo>
                <a:lnTo>
                  <a:pt x="546" y="1119"/>
                </a:lnTo>
                <a:lnTo>
                  <a:pt x="546" y="1135"/>
                </a:lnTo>
                <a:cubicBezTo>
                  <a:pt x="546" y="1135"/>
                  <a:pt x="530" y="1151"/>
                  <a:pt x="554" y="1151"/>
                </a:cubicBezTo>
                <a:lnTo>
                  <a:pt x="570" y="1151"/>
                </a:lnTo>
                <a:lnTo>
                  <a:pt x="579" y="1159"/>
                </a:lnTo>
                <a:cubicBezTo>
                  <a:pt x="579" y="1159"/>
                  <a:pt x="570" y="1167"/>
                  <a:pt x="579" y="1175"/>
                </a:cubicBezTo>
                <a:cubicBezTo>
                  <a:pt x="579" y="1183"/>
                  <a:pt x="611" y="1183"/>
                  <a:pt x="611" y="1183"/>
                </a:cubicBezTo>
                <a:lnTo>
                  <a:pt x="611" y="1175"/>
                </a:lnTo>
                <a:cubicBezTo>
                  <a:pt x="611" y="1175"/>
                  <a:pt x="627" y="1183"/>
                  <a:pt x="619" y="1183"/>
                </a:cubicBezTo>
                <a:cubicBezTo>
                  <a:pt x="619" y="1190"/>
                  <a:pt x="611" y="1190"/>
                  <a:pt x="611" y="1190"/>
                </a:cubicBezTo>
                <a:cubicBezTo>
                  <a:pt x="611" y="1190"/>
                  <a:pt x="611" y="1206"/>
                  <a:pt x="619" y="1206"/>
                </a:cubicBezTo>
                <a:cubicBezTo>
                  <a:pt x="627" y="1206"/>
                  <a:pt x="636" y="1214"/>
                  <a:pt x="636" y="1214"/>
                </a:cubicBezTo>
                <a:cubicBezTo>
                  <a:pt x="636" y="1214"/>
                  <a:pt x="644" y="1214"/>
                  <a:pt x="644" y="1222"/>
                </a:cubicBezTo>
                <a:cubicBezTo>
                  <a:pt x="652" y="1222"/>
                  <a:pt x="652" y="1230"/>
                  <a:pt x="652" y="1230"/>
                </a:cubicBezTo>
                <a:cubicBezTo>
                  <a:pt x="660" y="1230"/>
                  <a:pt x="668" y="1230"/>
                  <a:pt x="668" y="1238"/>
                </a:cubicBezTo>
                <a:cubicBezTo>
                  <a:pt x="676" y="1238"/>
                  <a:pt x="685" y="1246"/>
                  <a:pt x="685" y="1238"/>
                </a:cubicBezTo>
                <a:cubicBezTo>
                  <a:pt x="685" y="1230"/>
                  <a:pt x="693" y="1230"/>
                  <a:pt x="685" y="1222"/>
                </a:cubicBezTo>
                <a:cubicBezTo>
                  <a:pt x="676" y="1214"/>
                  <a:pt x="668" y="1214"/>
                  <a:pt x="660" y="1214"/>
                </a:cubicBezTo>
                <a:cubicBezTo>
                  <a:pt x="660" y="1214"/>
                  <a:pt x="652" y="1214"/>
                  <a:pt x="652" y="1206"/>
                </a:cubicBezTo>
                <a:cubicBezTo>
                  <a:pt x="644" y="1206"/>
                  <a:pt x="644" y="1206"/>
                  <a:pt x="644" y="1198"/>
                </a:cubicBezTo>
                <a:cubicBezTo>
                  <a:pt x="644" y="1190"/>
                  <a:pt x="636" y="1183"/>
                  <a:pt x="636" y="1183"/>
                </a:cubicBezTo>
                <a:lnTo>
                  <a:pt x="636" y="1167"/>
                </a:lnTo>
                <a:lnTo>
                  <a:pt x="619" y="1167"/>
                </a:lnTo>
                <a:lnTo>
                  <a:pt x="611" y="1159"/>
                </a:lnTo>
                <a:lnTo>
                  <a:pt x="595" y="1159"/>
                </a:lnTo>
                <a:cubicBezTo>
                  <a:pt x="595" y="1151"/>
                  <a:pt x="603" y="1151"/>
                  <a:pt x="603" y="1151"/>
                </a:cubicBezTo>
                <a:lnTo>
                  <a:pt x="619" y="1151"/>
                </a:lnTo>
                <a:cubicBezTo>
                  <a:pt x="627" y="1159"/>
                  <a:pt x="627" y="1151"/>
                  <a:pt x="636" y="1159"/>
                </a:cubicBezTo>
                <a:cubicBezTo>
                  <a:pt x="644" y="1159"/>
                  <a:pt x="636" y="1167"/>
                  <a:pt x="644" y="1167"/>
                </a:cubicBezTo>
                <a:cubicBezTo>
                  <a:pt x="660" y="1167"/>
                  <a:pt x="660" y="1159"/>
                  <a:pt x="660" y="1159"/>
                </a:cubicBezTo>
                <a:lnTo>
                  <a:pt x="676" y="1151"/>
                </a:lnTo>
                <a:lnTo>
                  <a:pt x="685" y="1159"/>
                </a:lnTo>
                <a:cubicBezTo>
                  <a:pt x="693" y="1159"/>
                  <a:pt x="676" y="1167"/>
                  <a:pt x="693" y="1167"/>
                </a:cubicBezTo>
                <a:lnTo>
                  <a:pt x="717" y="1167"/>
                </a:lnTo>
                <a:lnTo>
                  <a:pt x="717" y="1183"/>
                </a:lnTo>
                <a:lnTo>
                  <a:pt x="717" y="1190"/>
                </a:lnTo>
                <a:lnTo>
                  <a:pt x="742" y="1190"/>
                </a:lnTo>
                <a:cubicBezTo>
                  <a:pt x="742" y="1190"/>
                  <a:pt x="750" y="1190"/>
                  <a:pt x="750" y="1198"/>
                </a:cubicBezTo>
                <a:cubicBezTo>
                  <a:pt x="758" y="1206"/>
                  <a:pt x="734" y="1214"/>
                  <a:pt x="734" y="1214"/>
                </a:cubicBezTo>
                <a:cubicBezTo>
                  <a:pt x="734" y="1214"/>
                  <a:pt x="725" y="1206"/>
                  <a:pt x="725" y="1214"/>
                </a:cubicBezTo>
                <a:cubicBezTo>
                  <a:pt x="725" y="1222"/>
                  <a:pt x="717" y="1222"/>
                  <a:pt x="725" y="1230"/>
                </a:cubicBezTo>
                <a:cubicBezTo>
                  <a:pt x="734" y="1230"/>
                  <a:pt x="725" y="1230"/>
                  <a:pt x="725" y="1230"/>
                </a:cubicBezTo>
                <a:cubicBezTo>
                  <a:pt x="717" y="1230"/>
                  <a:pt x="709" y="1222"/>
                  <a:pt x="717" y="1238"/>
                </a:cubicBezTo>
                <a:cubicBezTo>
                  <a:pt x="717" y="1246"/>
                  <a:pt x="725" y="1253"/>
                  <a:pt x="725" y="1253"/>
                </a:cubicBezTo>
                <a:lnTo>
                  <a:pt x="750" y="1253"/>
                </a:lnTo>
                <a:cubicBezTo>
                  <a:pt x="758" y="1253"/>
                  <a:pt x="766" y="1253"/>
                  <a:pt x="758" y="1253"/>
                </a:cubicBezTo>
                <a:cubicBezTo>
                  <a:pt x="750" y="1246"/>
                  <a:pt x="742" y="1246"/>
                  <a:pt x="742" y="1246"/>
                </a:cubicBezTo>
                <a:lnTo>
                  <a:pt x="742" y="1238"/>
                </a:lnTo>
                <a:lnTo>
                  <a:pt x="750" y="1238"/>
                </a:lnTo>
                <a:cubicBezTo>
                  <a:pt x="750" y="1230"/>
                  <a:pt x="758" y="1222"/>
                  <a:pt x="758" y="1222"/>
                </a:cubicBezTo>
                <a:cubicBezTo>
                  <a:pt x="758" y="1222"/>
                  <a:pt x="766" y="1206"/>
                  <a:pt x="774" y="1214"/>
                </a:cubicBezTo>
                <a:cubicBezTo>
                  <a:pt x="774" y="1222"/>
                  <a:pt x="774" y="1222"/>
                  <a:pt x="783" y="1222"/>
                </a:cubicBezTo>
                <a:lnTo>
                  <a:pt x="807" y="1198"/>
                </a:lnTo>
                <a:cubicBezTo>
                  <a:pt x="807" y="1198"/>
                  <a:pt x="815" y="1198"/>
                  <a:pt x="807" y="1206"/>
                </a:cubicBezTo>
                <a:cubicBezTo>
                  <a:pt x="807" y="1214"/>
                  <a:pt x="799" y="1222"/>
                  <a:pt x="807" y="1230"/>
                </a:cubicBezTo>
                <a:lnTo>
                  <a:pt x="807" y="1238"/>
                </a:lnTo>
                <a:cubicBezTo>
                  <a:pt x="815" y="1246"/>
                  <a:pt x="807" y="1246"/>
                  <a:pt x="815" y="1253"/>
                </a:cubicBezTo>
                <a:lnTo>
                  <a:pt x="815" y="1261"/>
                </a:lnTo>
                <a:cubicBezTo>
                  <a:pt x="823" y="1269"/>
                  <a:pt x="831" y="1285"/>
                  <a:pt x="831" y="1285"/>
                </a:cubicBezTo>
                <a:cubicBezTo>
                  <a:pt x="831" y="1285"/>
                  <a:pt x="823" y="1293"/>
                  <a:pt x="831" y="1293"/>
                </a:cubicBezTo>
                <a:cubicBezTo>
                  <a:pt x="840" y="1301"/>
                  <a:pt x="856" y="1301"/>
                  <a:pt x="856" y="1301"/>
                </a:cubicBezTo>
                <a:cubicBezTo>
                  <a:pt x="856" y="1301"/>
                  <a:pt x="864" y="1309"/>
                  <a:pt x="872" y="1301"/>
                </a:cubicBezTo>
                <a:cubicBezTo>
                  <a:pt x="872" y="1293"/>
                  <a:pt x="880" y="1293"/>
                  <a:pt x="880" y="1293"/>
                </a:cubicBezTo>
                <a:lnTo>
                  <a:pt x="897" y="1293"/>
                </a:lnTo>
                <a:cubicBezTo>
                  <a:pt x="913" y="1293"/>
                  <a:pt x="913" y="1301"/>
                  <a:pt x="921" y="1293"/>
                </a:cubicBezTo>
                <a:cubicBezTo>
                  <a:pt x="929" y="1285"/>
                  <a:pt x="921" y="1285"/>
                  <a:pt x="938" y="1285"/>
                </a:cubicBezTo>
                <a:cubicBezTo>
                  <a:pt x="954" y="1285"/>
                  <a:pt x="970" y="1277"/>
                  <a:pt x="970" y="1277"/>
                </a:cubicBezTo>
                <a:lnTo>
                  <a:pt x="995" y="1277"/>
                </a:lnTo>
                <a:lnTo>
                  <a:pt x="1011" y="1285"/>
                </a:lnTo>
                <a:cubicBezTo>
                  <a:pt x="1011" y="1285"/>
                  <a:pt x="1019" y="1293"/>
                  <a:pt x="1027" y="1293"/>
                </a:cubicBezTo>
                <a:lnTo>
                  <a:pt x="1044" y="1293"/>
                </a:lnTo>
                <a:lnTo>
                  <a:pt x="1076" y="1301"/>
                </a:lnTo>
                <a:lnTo>
                  <a:pt x="1109" y="1309"/>
                </a:lnTo>
                <a:lnTo>
                  <a:pt x="1125" y="1317"/>
                </a:lnTo>
                <a:lnTo>
                  <a:pt x="1158" y="1340"/>
                </a:lnTo>
                <a:lnTo>
                  <a:pt x="1191" y="1372"/>
                </a:lnTo>
                <a:lnTo>
                  <a:pt x="1231" y="1387"/>
                </a:lnTo>
                <a:lnTo>
                  <a:pt x="1256" y="1403"/>
                </a:lnTo>
                <a:lnTo>
                  <a:pt x="1272" y="1419"/>
                </a:lnTo>
                <a:lnTo>
                  <a:pt x="1297" y="1435"/>
                </a:lnTo>
                <a:cubicBezTo>
                  <a:pt x="1305" y="1435"/>
                  <a:pt x="1329" y="1451"/>
                  <a:pt x="1329" y="1451"/>
                </a:cubicBezTo>
                <a:lnTo>
                  <a:pt x="1354" y="1466"/>
                </a:lnTo>
                <a:lnTo>
                  <a:pt x="1362" y="1482"/>
                </a:lnTo>
                <a:cubicBezTo>
                  <a:pt x="1362" y="1490"/>
                  <a:pt x="1354" y="1482"/>
                  <a:pt x="1346" y="1482"/>
                </a:cubicBezTo>
                <a:cubicBezTo>
                  <a:pt x="1337" y="1490"/>
                  <a:pt x="1305" y="1474"/>
                  <a:pt x="1305" y="1474"/>
                </a:cubicBezTo>
                <a:lnTo>
                  <a:pt x="1288" y="1458"/>
                </a:lnTo>
                <a:lnTo>
                  <a:pt x="1264" y="1458"/>
                </a:lnTo>
                <a:lnTo>
                  <a:pt x="1248" y="1451"/>
                </a:lnTo>
                <a:lnTo>
                  <a:pt x="1215" y="1458"/>
                </a:lnTo>
                <a:lnTo>
                  <a:pt x="1191" y="1451"/>
                </a:lnTo>
                <a:cubicBezTo>
                  <a:pt x="1191" y="1451"/>
                  <a:pt x="1182" y="1451"/>
                  <a:pt x="1191" y="1458"/>
                </a:cubicBezTo>
                <a:lnTo>
                  <a:pt x="1191" y="1466"/>
                </a:lnTo>
                <a:lnTo>
                  <a:pt x="1166" y="1482"/>
                </a:lnTo>
                <a:lnTo>
                  <a:pt x="1133" y="1490"/>
                </a:lnTo>
                <a:lnTo>
                  <a:pt x="1101" y="1490"/>
                </a:lnTo>
                <a:lnTo>
                  <a:pt x="1076" y="1490"/>
                </a:lnTo>
                <a:lnTo>
                  <a:pt x="1076" y="1506"/>
                </a:lnTo>
                <a:cubicBezTo>
                  <a:pt x="1076" y="1506"/>
                  <a:pt x="1044" y="1506"/>
                  <a:pt x="1076" y="1514"/>
                </a:cubicBezTo>
                <a:cubicBezTo>
                  <a:pt x="1109" y="1514"/>
                  <a:pt x="1125" y="1514"/>
                  <a:pt x="1125" y="1506"/>
                </a:cubicBezTo>
                <a:cubicBezTo>
                  <a:pt x="1133" y="1506"/>
                  <a:pt x="1133" y="1498"/>
                  <a:pt x="1142" y="1498"/>
                </a:cubicBezTo>
                <a:lnTo>
                  <a:pt x="1174" y="1498"/>
                </a:lnTo>
                <a:cubicBezTo>
                  <a:pt x="1174" y="1498"/>
                  <a:pt x="1182" y="1498"/>
                  <a:pt x="1199" y="1490"/>
                </a:cubicBezTo>
                <a:cubicBezTo>
                  <a:pt x="1207" y="1490"/>
                  <a:pt x="1207" y="1482"/>
                  <a:pt x="1223" y="1490"/>
                </a:cubicBezTo>
                <a:cubicBezTo>
                  <a:pt x="1239" y="1498"/>
                  <a:pt x="1231" y="1474"/>
                  <a:pt x="1231" y="1474"/>
                </a:cubicBezTo>
                <a:cubicBezTo>
                  <a:pt x="1231" y="1474"/>
                  <a:pt x="1231" y="1466"/>
                  <a:pt x="1239" y="1466"/>
                </a:cubicBezTo>
                <a:lnTo>
                  <a:pt x="1256" y="1474"/>
                </a:lnTo>
                <a:cubicBezTo>
                  <a:pt x="1264" y="1474"/>
                  <a:pt x="1280" y="1482"/>
                  <a:pt x="1280" y="1482"/>
                </a:cubicBezTo>
                <a:cubicBezTo>
                  <a:pt x="1288" y="1482"/>
                  <a:pt x="1321" y="1490"/>
                  <a:pt x="1321" y="1490"/>
                </a:cubicBezTo>
                <a:lnTo>
                  <a:pt x="1329" y="1514"/>
                </a:lnTo>
                <a:lnTo>
                  <a:pt x="1370" y="1514"/>
                </a:lnTo>
                <a:cubicBezTo>
                  <a:pt x="1378" y="1514"/>
                  <a:pt x="1394" y="1514"/>
                  <a:pt x="1403" y="1522"/>
                </a:cubicBezTo>
                <a:cubicBezTo>
                  <a:pt x="1411" y="1529"/>
                  <a:pt x="1419" y="1529"/>
                  <a:pt x="1419" y="1529"/>
                </a:cubicBezTo>
                <a:cubicBezTo>
                  <a:pt x="1419" y="1529"/>
                  <a:pt x="1427" y="1537"/>
                  <a:pt x="1435" y="1545"/>
                </a:cubicBezTo>
                <a:lnTo>
                  <a:pt x="1460" y="1561"/>
                </a:lnTo>
                <a:lnTo>
                  <a:pt x="1501" y="1577"/>
                </a:lnTo>
                <a:lnTo>
                  <a:pt x="1509" y="1569"/>
                </a:lnTo>
                <a:lnTo>
                  <a:pt x="1509" y="1553"/>
                </a:lnTo>
                <a:cubicBezTo>
                  <a:pt x="1501" y="1545"/>
                  <a:pt x="1468" y="1537"/>
                  <a:pt x="1468" y="1537"/>
                </a:cubicBezTo>
                <a:lnTo>
                  <a:pt x="1452" y="1529"/>
                </a:lnTo>
                <a:cubicBezTo>
                  <a:pt x="1443" y="1490"/>
                  <a:pt x="1452" y="1522"/>
                  <a:pt x="1427" y="1514"/>
                </a:cubicBezTo>
                <a:cubicBezTo>
                  <a:pt x="1411" y="1522"/>
                  <a:pt x="1411" y="1514"/>
                  <a:pt x="1411" y="1514"/>
                </a:cubicBezTo>
                <a:lnTo>
                  <a:pt x="1411" y="1506"/>
                </a:lnTo>
                <a:lnTo>
                  <a:pt x="1403" y="1498"/>
                </a:lnTo>
                <a:cubicBezTo>
                  <a:pt x="1403" y="1498"/>
                  <a:pt x="1394" y="1482"/>
                  <a:pt x="1403" y="1474"/>
                </a:cubicBezTo>
                <a:cubicBezTo>
                  <a:pt x="1411" y="1474"/>
                  <a:pt x="1394" y="1514"/>
                  <a:pt x="1427" y="1466"/>
                </a:cubicBezTo>
                <a:lnTo>
                  <a:pt x="1427" y="1458"/>
                </a:lnTo>
                <a:lnTo>
                  <a:pt x="1419" y="1458"/>
                </a:lnTo>
                <a:lnTo>
                  <a:pt x="1394" y="1458"/>
                </a:lnTo>
                <a:cubicBezTo>
                  <a:pt x="1394" y="1458"/>
                  <a:pt x="1394" y="1466"/>
                  <a:pt x="1386" y="1474"/>
                </a:cubicBezTo>
                <a:cubicBezTo>
                  <a:pt x="1378" y="1482"/>
                  <a:pt x="1378" y="1474"/>
                  <a:pt x="1378" y="1474"/>
                </a:cubicBezTo>
                <a:lnTo>
                  <a:pt x="1378" y="1466"/>
                </a:lnTo>
                <a:lnTo>
                  <a:pt x="1386" y="1458"/>
                </a:lnTo>
                <a:lnTo>
                  <a:pt x="1386" y="1427"/>
                </a:lnTo>
                <a:lnTo>
                  <a:pt x="1362" y="1411"/>
                </a:lnTo>
                <a:lnTo>
                  <a:pt x="1345" y="1395"/>
                </a:lnTo>
                <a:lnTo>
                  <a:pt x="1321" y="1380"/>
                </a:lnTo>
                <a:lnTo>
                  <a:pt x="1288" y="1348"/>
                </a:lnTo>
                <a:lnTo>
                  <a:pt x="1272" y="1340"/>
                </a:lnTo>
                <a:lnTo>
                  <a:pt x="1256" y="1324"/>
                </a:lnTo>
                <a:lnTo>
                  <a:pt x="1256" y="1309"/>
                </a:lnTo>
                <a:lnTo>
                  <a:pt x="1248" y="1277"/>
                </a:lnTo>
                <a:cubicBezTo>
                  <a:pt x="1248" y="1277"/>
                  <a:pt x="1215" y="1269"/>
                  <a:pt x="1199" y="1261"/>
                </a:cubicBezTo>
                <a:lnTo>
                  <a:pt x="1182" y="1253"/>
                </a:lnTo>
                <a:lnTo>
                  <a:pt x="1166" y="1230"/>
                </a:lnTo>
                <a:lnTo>
                  <a:pt x="1158" y="1222"/>
                </a:lnTo>
                <a:lnTo>
                  <a:pt x="1133" y="1198"/>
                </a:lnTo>
                <a:lnTo>
                  <a:pt x="1125" y="1198"/>
                </a:lnTo>
                <a:lnTo>
                  <a:pt x="1084" y="1183"/>
                </a:lnTo>
                <a:lnTo>
                  <a:pt x="1076" y="1167"/>
                </a:lnTo>
                <a:lnTo>
                  <a:pt x="1060" y="1159"/>
                </a:lnTo>
                <a:lnTo>
                  <a:pt x="1052" y="1143"/>
                </a:lnTo>
                <a:lnTo>
                  <a:pt x="1027" y="1135"/>
                </a:lnTo>
                <a:lnTo>
                  <a:pt x="1019" y="1119"/>
                </a:lnTo>
                <a:lnTo>
                  <a:pt x="1011" y="1112"/>
                </a:lnTo>
                <a:lnTo>
                  <a:pt x="986" y="1080"/>
                </a:lnTo>
                <a:lnTo>
                  <a:pt x="962" y="1064"/>
                </a:lnTo>
                <a:lnTo>
                  <a:pt x="954" y="1056"/>
                </a:lnTo>
                <a:lnTo>
                  <a:pt x="946" y="1048"/>
                </a:lnTo>
                <a:lnTo>
                  <a:pt x="929" y="1025"/>
                </a:lnTo>
                <a:lnTo>
                  <a:pt x="905" y="1001"/>
                </a:lnTo>
                <a:lnTo>
                  <a:pt x="889" y="985"/>
                </a:lnTo>
                <a:lnTo>
                  <a:pt x="872" y="962"/>
                </a:lnTo>
                <a:lnTo>
                  <a:pt x="889" y="946"/>
                </a:lnTo>
                <a:cubicBezTo>
                  <a:pt x="880" y="938"/>
                  <a:pt x="872" y="938"/>
                  <a:pt x="872" y="930"/>
                </a:cubicBezTo>
                <a:cubicBezTo>
                  <a:pt x="864" y="930"/>
                  <a:pt x="848" y="922"/>
                  <a:pt x="856" y="914"/>
                </a:cubicBezTo>
                <a:cubicBezTo>
                  <a:pt x="856" y="907"/>
                  <a:pt x="848" y="899"/>
                  <a:pt x="848" y="883"/>
                </a:cubicBezTo>
                <a:cubicBezTo>
                  <a:pt x="848" y="875"/>
                  <a:pt x="848" y="867"/>
                  <a:pt x="840" y="867"/>
                </a:cubicBezTo>
                <a:lnTo>
                  <a:pt x="831" y="859"/>
                </a:lnTo>
                <a:lnTo>
                  <a:pt x="815" y="859"/>
                </a:lnTo>
                <a:lnTo>
                  <a:pt x="807" y="859"/>
                </a:lnTo>
                <a:cubicBezTo>
                  <a:pt x="807" y="859"/>
                  <a:pt x="815" y="843"/>
                  <a:pt x="815" y="828"/>
                </a:cubicBezTo>
                <a:lnTo>
                  <a:pt x="782" y="820"/>
                </a:lnTo>
                <a:cubicBezTo>
                  <a:pt x="782" y="820"/>
                  <a:pt x="782" y="796"/>
                  <a:pt x="766" y="788"/>
                </a:cubicBezTo>
                <a:lnTo>
                  <a:pt x="750" y="788"/>
                </a:lnTo>
                <a:cubicBezTo>
                  <a:pt x="742" y="796"/>
                  <a:pt x="742" y="804"/>
                  <a:pt x="742" y="804"/>
                </a:cubicBezTo>
                <a:lnTo>
                  <a:pt x="709" y="772"/>
                </a:lnTo>
                <a:cubicBezTo>
                  <a:pt x="709" y="772"/>
                  <a:pt x="709" y="765"/>
                  <a:pt x="717" y="749"/>
                </a:cubicBezTo>
                <a:cubicBezTo>
                  <a:pt x="734" y="733"/>
                  <a:pt x="717" y="725"/>
                  <a:pt x="717" y="725"/>
                </a:cubicBezTo>
                <a:lnTo>
                  <a:pt x="709" y="702"/>
                </a:lnTo>
                <a:lnTo>
                  <a:pt x="717" y="686"/>
                </a:lnTo>
                <a:lnTo>
                  <a:pt x="709" y="678"/>
                </a:lnTo>
                <a:lnTo>
                  <a:pt x="701" y="670"/>
                </a:lnTo>
                <a:lnTo>
                  <a:pt x="717" y="638"/>
                </a:lnTo>
                <a:cubicBezTo>
                  <a:pt x="717" y="638"/>
                  <a:pt x="709" y="607"/>
                  <a:pt x="717" y="599"/>
                </a:cubicBezTo>
                <a:cubicBezTo>
                  <a:pt x="717" y="591"/>
                  <a:pt x="717" y="591"/>
                  <a:pt x="725" y="591"/>
                </a:cubicBezTo>
                <a:cubicBezTo>
                  <a:pt x="725" y="583"/>
                  <a:pt x="766" y="575"/>
                  <a:pt x="766" y="575"/>
                </a:cubicBezTo>
                <a:lnTo>
                  <a:pt x="782" y="567"/>
                </a:lnTo>
                <a:lnTo>
                  <a:pt x="815" y="607"/>
                </a:lnTo>
                <a:lnTo>
                  <a:pt x="848" y="638"/>
                </a:lnTo>
                <a:lnTo>
                  <a:pt x="872" y="654"/>
                </a:lnTo>
                <a:cubicBezTo>
                  <a:pt x="872" y="654"/>
                  <a:pt x="880" y="646"/>
                  <a:pt x="889" y="646"/>
                </a:cubicBezTo>
                <a:lnTo>
                  <a:pt x="889" y="623"/>
                </a:lnTo>
                <a:lnTo>
                  <a:pt x="905" y="607"/>
                </a:lnTo>
                <a:lnTo>
                  <a:pt x="913" y="591"/>
                </a:lnTo>
                <a:lnTo>
                  <a:pt x="913" y="575"/>
                </a:lnTo>
                <a:lnTo>
                  <a:pt x="929" y="567"/>
                </a:lnTo>
                <a:lnTo>
                  <a:pt x="954" y="560"/>
                </a:lnTo>
                <a:lnTo>
                  <a:pt x="986" y="552"/>
                </a:lnTo>
                <a:cubicBezTo>
                  <a:pt x="986" y="552"/>
                  <a:pt x="1011" y="560"/>
                  <a:pt x="1019" y="560"/>
                </a:cubicBezTo>
                <a:lnTo>
                  <a:pt x="1027" y="560"/>
                </a:lnTo>
                <a:lnTo>
                  <a:pt x="1044" y="536"/>
                </a:lnTo>
                <a:lnTo>
                  <a:pt x="1052" y="520"/>
                </a:lnTo>
                <a:lnTo>
                  <a:pt x="1093" y="536"/>
                </a:lnTo>
                <a:lnTo>
                  <a:pt x="1109" y="552"/>
                </a:lnTo>
                <a:lnTo>
                  <a:pt x="1150" y="560"/>
                </a:lnTo>
                <a:lnTo>
                  <a:pt x="1166" y="560"/>
                </a:lnTo>
                <a:lnTo>
                  <a:pt x="1166" y="552"/>
                </a:lnTo>
                <a:lnTo>
                  <a:pt x="1199" y="552"/>
                </a:lnTo>
                <a:lnTo>
                  <a:pt x="1239" y="560"/>
                </a:lnTo>
                <a:lnTo>
                  <a:pt x="1305" y="560"/>
                </a:lnTo>
                <a:lnTo>
                  <a:pt x="1329" y="567"/>
                </a:lnTo>
                <a:lnTo>
                  <a:pt x="1345" y="575"/>
                </a:lnTo>
                <a:lnTo>
                  <a:pt x="1354" y="567"/>
                </a:lnTo>
                <a:lnTo>
                  <a:pt x="1378" y="567"/>
                </a:lnTo>
                <a:lnTo>
                  <a:pt x="1386" y="544"/>
                </a:lnTo>
                <a:lnTo>
                  <a:pt x="1394" y="560"/>
                </a:lnTo>
                <a:lnTo>
                  <a:pt x="1419" y="560"/>
                </a:lnTo>
                <a:lnTo>
                  <a:pt x="1427" y="536"/>
                </a:lnTo>
                <a:lnTo>
                  <a:pt x="1435" y="544"/>
                </a:lnTo>
                <a:lnTo>
                  <a:pt x="1452" y="544"/>
                </a:lnTo>
                <a:cubicBezTo>
                  <a:pt x="1460" y="544"/>
                  <a:pt x="1468" y="536"/>
                  <a:pt x="1468" y="536"/>
                </a:cubicBezTo>
                <a:lnTo>
                  <a:pt x="1476" y="544"/>
                </a:lnTo>
                <a:cubicBezTo>
                  <a:pt x="1476" y="544"/>
                  <a:pt x="1484" y="536"/>
                  <a:pt x="1492" y="536"/>
                </a:cubicBezTo>
                <a:cubicBezTo>
                  <a:pt x="1509" y="536"/>
                  <a:pt x="1517" y="528"/>
                  <a:pt x="1517" y="528"/>
                </a:cubicBezTo>
                <a:cubicBezTo>
                  <a:pt x="1517" y="528"/>
                  <a:pt x="1525" y="544"/>
                  <a:pt x="1541" y="552"/>
                </a:cubicBezTo>
                <a:lnTo>
                  <a:pt x="1558" y="552"/>
                </a:lnTo>
                <a:cubicBezTo>
                  <a:pt x="1558" y="552"/>
                  <a:pt x="1566" y="544"/>
                  <a:pt x="1574" y="544"/>
                </a:cubicBezTo>
                <a:lnTo>
                  <a:pt x="1607" y="544"/>
                </a:lnTo>
                <a:cubicBezTo>
                  <a:pt x="1623" y="544"/>
                  <a:pt x="1631" y="560"/>
                  <a:pt x="1631" y="560"/>
                </a:cubicBezTo>
                <a:lnTo>
                  <a:pt x="1656" y="583"/>
                </a:lnTo>
                <a:cubicBezTo>
                  <a:pt x="1656" y="583"/>
                  <a:pt x="1664" y="599"/>
                  <a:pt x="1664" y="607"/>
                </a:cubicBezTo>
                <a:cubicBezTo>
                  <a:pt x="1672" y="615"/>
                  <a:pt x="1672" y="623"/>
                  <a:pt x="1672" y="623"/>
                </a:cubicBezTo>
                <a:cubicBezTo>
                  <a:pt x="1672" y="623"/>
                  <a:pt x="1737" y="646"/>
                  <a:pt x="1745" y="646"/>
                </a:cubicBezTo>
                <a:lnTo>
                  <a:pt x="1753" y="64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46" name="Freeform 38">
            <a:extLst>
              <a:ext uri="{FF2B5EF4-FFF2-40B4-BE49-F238E27FC236}">
                <a16:creationId xmlns:a16="http://schemas.microsoft.com/office/drawing/2014/main" id="{84FD87A0-0D70-A1E7-A339-6069E330D35E}"/>
              </a:ext>
            </a:extLst>
          </p:cNvPr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10472483" y="5969771"/>
            <a:ext cx="322397" cy="181122"/>
          </a:xfrm>
          <a:custGeom>
            <a:avLst/>
            <a:gdLst>
              <a:gd name="T0" fmla="*/ 17 w 786"/>
              <a:gd name="T1" fmla="*/ 312 h 440"/>
              <a:gd name="T2" fmla="*/ 17 w 786"/>
              <a:gd name="T3" fmla="*/ 288 h 440"/>
              <a:gd name="T4" fmla="*/ 0 w 786"/>
              <a:gd name="T5" fmla="*/ 248 h 440"/>
              <a:gd name="T6" fmla="*/ 17 w 786"/>
              <a:gd name="T7" fmla="*/ 248 h 440"/>
              <a:gd name="T8" fmla="*/ 58 w 786"/>
              <a:gd name="T9" fmla="*/ 256 h 440"/>
              <a:gd name="T10" fmla="*/ 75 w 786"/>
              <a:gd name="T11" fmla="*/ 248 h 440"/>
              <a:gd name="T12" fmla="*/ 100 w 786"/>
              <a:gd name="T13" fmla="*/ 216 h 440"/>
              <a:gd name="T14" fmla="*/ 124 w 786"/>
              <a:gd name="T15" fmla="*/ 216 h 440"/>
              <a:gd name="T16" fmla="*/ 133 w 786"/>
              <a:gd name="T17" fmla="*/ 208 h 440"/>
              <a:gd name="T18" fmla="*/ 149 w 786"/>
              <a:gd name="T19" fmla="*/ 216 h 440"/>
              <a:gd name="T20" fmla="*/ 166 w 786"/>
              <a:gd name="T21" fmla="*/ 216 h 440"/>
              <a:gd name="T22" fmla="*/ 190 w 786"/>
              <a:gd name="T23" fmla="*/ 224 h 440"/>
              <a:gd name="T24" fmla="*/ 215 w 786"/>
              <a:gd name="T25" fmla="*/ 208 h 440"/>
              <a:gd name="T26" fmla="*/ 232 w 786"/>
              <a:gd name="T27" fmla="*/ 160 h 440"/>
              <a:gd name="T28" fmla="*/ 232 w 786"/>
              <a:gd name="T29" fmla="*/ 128 h 440"/>
              <a:gd name="T30" fmla="*/ 273 w 786"/>
              <a:gd name="T31" fmla="*/ 144 h 440"/>
              <a:gd name="T32" fmla="*/ 298 w 786"/>
              <a:gd name="T33" fmla="*/ 144 h 440"/>
              <a:gd name="T34" fmla="*/ 364 w 786"/>
              <a:gd name="T35" fmla="*/ 152 h 440"/>
              <a:gd name="T36" fmla="*/ 480 w 786"/>
              <a:gd name="T37" fmla="*/ 144 h 440"/>
              <a:gd name="T38" fmla="*/ 504 w 786"/>
              <a:gd name="T39" fmla="*/ 128 h 440"/>
              <a:gd name="T40" fmla="*/ 546 w 786"/>
              <a:gd name="T41" fmla="*/ 120 h 440"/>
              <a:gd name="T42" fmla="*/ 579 w 786"/>
              <a:gd name="T43" fmla="*/ 104 h 440"/>
              <a:gd name="T44" fmla="*/ 628 w 786"/>
              <a:gd name="T45" fmla="*/ 80 h 440"/>
              <a:gd name="T46" fmla="*/ 645 w 786"/>
              <a:gd name="T47" fmla="*/ 64 h 440"/>
              <a:gd name="T48" fmla="*/ 661 w 786"/>
              <a:gd name="T49" fmla="*/ 64 h 440"/>
              <a:gd name="T50" fmla="*/ 686 w 786"/>
              <a:gd name="T51" fmla="*/ 56 h 440"/>
              <a:gd name="T52" fmla="*/ 736 w 786"/>
              <a:gd name="T53" fmla="*/ 24 h 440"/>
              <a:gd name="T54" fmla="*/ 777 w 786"/>
              <a:gd name="T55" fmla="*/ 16 h 440"/>
              <a:gd name="T56" fmla="*/ 736 w 786"/>
              <a:gd name="T57" fmla="*/ 48 h 440"/>
              <a:gd name="T58" fmla="*/ 686 w 786"/>
              <a:gd name="T59" fmla="*/ 88 h 440"/>
              <a:gd name="T60" fmla="*/ 628 w 786"/>
              <a:gd name="T61" fmla="*/ 120 h 440"/>
              <a:gd name="T62" fmla="*/ 604 w 786"/>
              <a:gd name="T63" fmla="*/ 152 h 440"/>
              <a:gd name="T64" fmla="*/ 562 w 786"/>
              <a:gd name="T65" fmla="*/ 160 h 440"/>
              <a:gd name="T66" fmla="*/ 554 w 786"/>
              <a:gd name="T67" fmla="*/ 216 h 440"/>
              <a:gd name="T68" fmla="*/ 604 w 786"/>
              <a:gd name="T69" fmla="*/ 272 h 440"/>
              <a:gd name="T70" fmla="*/ 612 w 786"/>
              <a:gd name="T71" fmla="*/ 303 h 440"/>
              <a:gd name="T72" fmla="*/ 579 w 786"/>
              <a:gd name="T73" fmla="*/ 287 h 440"/>
              <a:gd name="T74" fmla="*/ 521 w 786"/>
              <a:gd name="T75" fmla="*/ 296 h 440"/>
              <a:gd name="T76" fmla="*/ 488 w 786"/>
              <a:gd name="T77" fmla="*/ 287 h 440"/>
              <a:gd name="T78" fmla="*/ 455 w 786"/>
              <a:gd name="T79" fmla="*/ 343 h 440"/>
              <a:gd name="T80" fmla="*/ 430 w 786"/>
              <a:gd name="T81" fmla="*/ 367 h 440"/>
              <a:gd name="T82" fmla="*/ 389 w 786"/>
              <a:gd name="T83" fmla="*/ 375 h 440"/>
              <a:gd name="T84" fmla="*/ 356 w 786"/>
              <a:gd name="T85" fmla="*/ 391 h 440"/>
              <a:gd name="T86" fmla="*/ 298 w 786"/>
              <a:gd name="T87" fmla="*/ 399 h 440"/>
              <a:gd name="T88" fmla="*/ 240 w 786"/>
              <a:gd name="T89" fmla="*/ 423 h 440"/>
              <a:gd name="T90" fmla="*/ 199 w 786"/>
              <a:gd name="T91" fmla="*/ 399 h 440"/>
              <a:gd name="T92" fmla="*/ 157 w 786"/>
              <a:gd name="T93" fmla="*/ 423 h 440"/>
              <a:gd name="T94" fmla="*/ 100 w 786"/>
              <a:gd name="T95" fmla="*/ 399 h 440"/>
              <a:gd name="T96" fmla="*/ 66 w 786"/>
              <a:gd name="T97" fmla="*/ 399 h 440"/>
              <a:gd name="T98" fmla="*/ 42 w 786"/>
              <a:gd name="T99" fmla="*/ 359 h 440"/>
              <a:gd name="T100" fmla="*/ 17 w 786"/>
              <a:gd name="T101" fmla="*/ 312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86" h="440">
                <a:moveTo>
                  <a:pt x="17" y="312"/>
                </a:moveTo>
                <a:lnTo>
                  <a:pt x="17" y="288"/>
                </a:lnTo>
                <a:cubicBezTo>
                  <a:pt x="9" y="272"/>
                  <a:pt x="0" y="248"/>
                  <a:pt x="0" y="248"/>
                </a:cubicBezTo>
                <a:cubicBezTo>
                  <a:pt x="0" y="248"/>
                  <a:pt x="9" y="240"/>
                  <a:pt x="17" y="248"/>
                </a:cubicBezTo>
                <a:cubicBezTo>
                  <a:pt x="25" y="256"/>
                  <a:pt x="33" y="272"/>
                  <a:pt x="58" y="256"/>
                </a:cubicBezTo>
                <a:cubicBezTo>
                  <a:pt x="66" y="256"/>
                  <a:pt x="75" y="256"/>
                  <a:pt x="75" y="248"/>
                </a:cubicBezTo>
                <a:cubicBezTo>
                  <a:pt x="91" y="232"/>
                  <a:pt x="91" y="216"/>
                  <a:pt x="100" y="216"/>
                </a:cubicBezTo>
                <a:cubicBezTo>
                  <a:pt x="108" y="208"/>
                  <a:pt x="108" y="216"/>
                  <a:pt x="124" y="216"/>
                </a:cubicBezTo>
                <a:lnTo>
                  <a:pt x="133" y="208"/>
                </a:lnTo>
                <a:cubicBezTo>
                  <a:pt x="141" y="208"/>
                  <a:pt x="141" y="216"/>
                  <a:pt x="149" y="216"/>
                </a:cubicBezTo>
                <a:cubicBezTo>
                  <a:pt x="157" y="216"/>
                  <a:pt x="157" y="208"/>
                  <a:pt x="166" y="216"/>
                </a:cubicBezTo>
                <a:cubicBezTo>
                  <a:pt x="174" y="216"/>
                  <a:pt x="182" y="224"/>
                  <a:pt x="190" y="224"/>
                </a:cubicBezTo>
                <a:cubicBezTo>
                  <a:pt x="199" y="224"/>
                  <a:pt x="215" y="224"/>
                  <a:pt x="215" y="208"/>
                </a:cubicBezTo>
                <a:cubicBezTo>
                  <a:pt x="223" y="200"/>
                  <a:pt x="232" y="184"/>
                  <a:pt x="232" y="160"/>
                </a:cubicBezTo>
                <a:cubicBezTo>
                  <a:pt x="232" y="136"/>
                  <a:pt x="223" y="120"/>
                  <a:pt x="232" y="128"/>
                </a:cubicBezTo>
                <a:cubicBezTo>
                  <a:pt x="232" y="128"/>
                  <a:pt x="257" y="136"/>
                  <a:pt x="273" y="144"/>
                </a:cubicBezTo>
                <a:cubicBezTo>
                  <a:pt x="290" y="144"/>
                  <a:pt x="281" y="136"/>
                  <a:pt x="298" y="144"/>
                </a:cubicBezTo>
                <a:cubicBezTo>
                  <a:pt x="314" y="144"/>
                  <a:pt x="347" y="152"/>
                  <a:pt x="364" y="152"/>
                </a:cubicBezTo>
                <a:cubicBezTo>
                  <a:pt x="397" y="152"/>
                  <a:pt x="438" y="152"/>
                  <a:pt x="480" y="144"/>
                </a:cubicBezTo>
                <a:cubicBezTo>
                  <a:pt x="480" y="136"/>
                  <a:pt x="496" y="128"/>
                  <a:pt x="504" y="128"/>
                </a:cubicBezTo>
                <a:cubicBezTo>
                  <a:pt x="513" y="120"/>
                  <a:pt x="529" y="128"/>
                  <a:pt x="546" y="120"/>
                </a:cubicBezTo>
                <a:cubicBezTo>
                  <a:pt x="554" y="120"/>
                  <a:pt x="570" y="112"/>
                  <a:pt x="579" y="104"/>
                </a:cubicBezTo>
                <a:cubicBezTo>
                  <a:pt x="595" y="96"/>
                  <a:pt x="612" y="88"/>
                  <a:pt x="628" y="80"/>
                </a:cubicBezTo>
                <a:cubicBezTo>
                  <a:pt x="637" y="80"/>
                  <a:pt x="637" y="72"/>
                  <a:pt x="645" y="64"/>
                </a:cubicBezTo>
                <a:lnTo>
                  <a:pt x="661" y="64"/>
                </a:lnTo>
                <a:cubicBezTo>
                  <a:pt x="670" y="64"/>
                  <a:pt x="678" y="56"/>
                  <a:pt x="686" y="56"/>
                </a:cubicBezTo>
                <a:cubicBezTo>
                  <a:pt x="703" y="48"/>
                  <a:pt x="711" y="40"/>
                  <a:pt x="736" y="24"/>
                </a:cubicBezTo>
                <a:cubicBezTo>
                  <a:pt x="760" y="0"/>
                  <a:pt x="785" y="0"/>
                  <a:pt x="777" y="16"/>
                </a:cubicBezTo>
                <a:cubicBezTo>
                  <a:pt x="777" y="24"/>
                  <a:pt x="744" y="40"/>
                  <a:pt x="736" y="48"/>
                </a:cubicBezTo>
                <a:cubicBezTo>
                  <a:pt x="719" y="64"/>
                  <a:pt x="703" y="80"/>
                  <a:pt x="686" y="88"/>
                </a:cubicBezTo>
                <a:cubicBezTo>
                  <a:pt x="670" y="88"/>
                  <a:pt x="645" y="104"/>
                  <a:pt x="628" y="120"/>
                </a:cubicBezTo>
                <a:cubicBezTo>
                  <a:pt x="612" y="128"/>
                  <a:pt x="612" y="144"/>
                  <a:pt x="604" y="152"/>
                </a:cubicBezTo>
                <a:cubicBezTo>
                  <a:pt x="579" y="168"/>
                  <a:pt x="570" y="152"/>
                  <a:pt x="562" y="160"/>
                </a:cubicBezTo>
                <a:cubicBezTo>
                  <a:pt x="562" y="176"/>
                  <a:pt x="554" y="200"/>
                  <a:pt x="554" y="216"/>
                </a:cubicBezTo>
                <a:cubicBezTo>
                  <a:pt x="562" y="240"/>
                  <a:pt x="587" y="256"/>
                  <a:pt x="604" y="272"/>
                </a:cubicBezTo>
                <a:cubicBezTo>
                  <a:pt x="604" y="272"/>
                  <a:pt x="628" y="296"/>
                  <a:pt x="612" y="303"/>
                </a:cubicBezTo>
                <a:cubicBezTo>
                  <a:pt x="604" y="303"/>
                  <a:pt x="595" y="287"/>
                  <a:pt x="579" y="287"/>
                </a:cubicBezTo>
                <a:cubicBezTo>
                  <a:pt x="562" y="287"/>
                  <a:pt x="537" y="287"/>
                  <a:pt x="521" y="296"/>
                </a:cubicBezTo>
                <a:cubicBezTo>
                  <a:pt x="513" y="296"/>
                  <a:pt x="504" y="287"/>
                  <a:pt x="488" y="287"/>
                </a:cubicBezTo>
                <a:cubicBezTo>
                  <a:pt x="471" y="296"/>
                  <a:pt x="455" y="327"/>
                  <a:pt x="455" y="343"/>
                </a:cubicBezTo>
                <a:cubicBezTo>
                  <a:pt x="455" y="351"/>
                  <a:pt x="438" y="351"/>
                  <a:pt x="430" y="367"/>
                </a:cubicBezTo>
                <a:cubicBezTo>
                  <a:pt x="413" y="375"/>
                  <a:pt x="405" y="367"/>
                  <a:pt x="389" y="375"/>
                </a:cubicBezTo>
                <a:cubicBezTo>
                  <a:pt x="372" y="383"/>
                  <a:pt x="372" y="391"/>
                  <a:pt x="356" y="391"/>
                </a:cubicBezTo>
                <a:cubicBezTo>
                  <a:pt x="331" y="391"/>
                  <a:pt x="306" y="399"/>
                  <a:pt x="298" y="399"/>
                </a:cubicBezTo>
                <a:cubicBezTo>
                  <a:pt x="248" y="399"/>
                  <a:pt x="273" y="439"/>
                  <a:pt x="240" y="423"/>
                </a:cubicBezTo>
                <a:cubicBezTo>
                  <a:pt x="223" y="423"/>
                  <a:pt x="215" y="407"/>
                  <a:pt x="199" y="399"/>
                </a:cubicBezTo>
                <a:cubicBezTo>
                  <a:pt x="190" y="399"/>
                  <a:pt x="174" y="415"/>
                  <a:pt x="157" y="423"/>
                </a:cubicBezTo>
                <a:cubicBezTo>
                  <a:pt x="141" y="431"/>
                  <a:pt x="116" y="407"/>
                  <a:pt x="100" y="399"/>
                </a:cubicBezTo>
                <a:cubicBezTo>
                  <a:pt x="83" y="391"/>
                  <a:pt x="75" y="407"/>
                  <a:pt x="66" y="399"/>
                </a:cubicBezTo>
                <a:cubicBezTo>
                  <a:pt x="50" y="383"/>
                  <a:pt x="58" y="367"/>
                  <a:pt x="42" y="359"/>
                </a:cubicBezTo>
                <a:cubicBezTo>
                  <a:pt x="33" y="343"/>
                  <a:pt x="17" y="327"/>
                  <a:pt x="17" y="312"/>
                </a:cubicBez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47" name="Freeform 39">
            <a:extLst>
              <a:ext uri="{FF2B5EF4-FFF2-40B4-BE49-F238E27FC236}">
                <a16:creationId xmlns:a16="http://schemas.microsoft.com/office/drawing/2014/main" id="{72706C97-A765-929D-072A-4E0A33AB20E5}"/>
              </a:ext>
            </a:extLst>
          </p:cNvPr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10472483" y="5969771"/>
            <a:ext cx="322397" cy="181122"/>
          </a:xfrm>
          <a:custGeom>
            <a:avLst/>
            <a:gdLst>
              <a:gd name="T0" fmla="*/ 17 w 786"/>
              <a:gd name="T1" fmla="*/ 312 h 440"/>
              <a:gd name="T2" fmla="*/ 17 w 786"/>
              <a:gd name="T3" fmla="*/ 288 h 440"/>
              <a:gd name="T4" fmla="*/ 0 w 786"/>
              <a:gd name="T5" fmla="*/ 248 h 440"/>
              <a:gd name="T6" fmla="*/ 17 w 786"/>
              <a:gd name="T7" fmla="*/ 248 h 440"/>
              <a:gd name="T8" fmla="*/ 58 w 786"/>
              <a:gd name="T9" fmla="*/ 256 h 440"/>
              <a:gd name="T10" fmla="*/ 75 w 786"/>
              <a:gd name="T11" fmla="*/ 248 h 440"/>
              <a:gd name="T12" fmla="*/ 100 w 786"/>
              <a:gd name="T13" fmla="*/ 216 h 440"/>
              <a:gd name="T14" fmla="*/ 124 w 786"/>
              <a:gd name="T15" fmla="*/ 216 h 440"/>
              <a:gd name="T16" fmla="*/ 133 w 786"/>
              <a:gd name="T17" fmla="*/ 208 h 440"/>
              <a:gd name="T18" fmla="*/ 149 w 786"/>
              <a:gd name="T19" fmla="*/ 216 h 440"/>
              <a:gd name="T20" fmla="*/ 166 w 786"/>
              <a:gd name="T21" fmla="*/ 216 h 440"/>
              <a:gd name="T22" fmla="*/ 190 w 786"/>
              <a:gd name="T23" fmla="*/ 224 h 440"/>
              <a:gd name="T24" fmla="*/ 215 w 786"/>
              <a:gd name="T25" fmla="*/ 208 h 440"/>
              <a:gd name="T26" fmla="*/ 232 w 786"/>
              <a:gd name="T27" fmla="*/ 160 h 440"/>
              <a:gd name="T28" fmla="*/ 232 w 786"/>
              <a:gd name="T29" fmla="*/ 128 h 440"/>
              <a:gd name="T30" fmla="*/ 273 w 786"/>
              <a:gd name="T31" fmla="*/ 144 h 440"/>
              <a:gd name="T32" fmla="*/ 298 w 786"/>
              <a:gd name="T33" fmla="*/ 144 h 440"/>
              <a:gd name="T34" fmla="*/ 364 w 786"/>
              <a:gd name="T35" fmla="*/ 152 h 440"/>
              <a:gd name="T36" fmla="*/ 480 w 786"/>
              <a:gd name="T37" fmla="*/ 144 h 440"/>
              <a:gd name="T38" fmla="*/ 504 w 786"/>
              <a:gd name="T39" fmla="*/ 128 h 440"/>
              <a:gd name="T40" fmla="*/ 546 w 786"/>
              <a:gd name="T41" fmla="*/ 120 h 440"/>
              <a:gd name="T42" fmla="*/ 579 w 786"/>
              <a:gd name="T43" fmla="*/ 104 h 440"/>
              <a:gd name="T44" fmla="*/ 628 w 786"/>
              <a:gd name="T45" fmla="*/ 80 h 440"/>
              <a:gd name="T46" fmla="*/ 645 w 786"/>
              <a:gd name="T47" fmla="*/ 64 h 440"/>
              <a:gd name="T48" fmla="*/ 661 w 786"/>
              <a:gd name="T49" fmla="*/ 64 h 440"/>
              <a:gd name="T50" fmla="*/ 686 w 786"/>
              <a:gd name="T51" fmla="*/ 56 h 440"/>
              <a:gd name="T52" fmla="*/ 736 w 786"/>
              <a:gd name="T53" fmla="*/ 24 h 440"/>
              <a:gd name="T54" fmla="*/ 777 w 786"/>
              <a:gd name="T55" fmla="*/ 16 h 440"/>
              <a:gd name="T56" fmla="*/ 736 w 786"/>
              <a:gd name="T57" fmla="*/ 48 h 440"/>
              <a:gd name="T58" fmla="*/ 686 w 786"/>
              <a:gd name="T59" fmla="*/ 88 h 440"/>
              <a:gd name="T60" fmla="*/ 628 w 786"/>
              <a:gd name="T61" fmla="*/ 120 h 440"/>
              <a:gd name="T62" fmla="*/ 604 w 786"/>
              <a:gd name="T63" fmla="*/ 152 h 440"/>
              <a:gd name="T64" fmla="*/ 562 w 786"/>
              <a:gd name="T65" fmla="*/ 160 h 440"/>
              <a:gd name="T66" fmla="*/ 554 w 786"/>
              <a:gd name="T67" fmla="*/ 216 h 440"/>
              <a:gd name="T68" fmla="*/ 604 w 786"/>
              <a:gd name="T69" fmla="*/ 272 h 440"/>
              <a:gd name="T70" fmla="*/ 612 w 786"/>
              <a:gd name="T71" fmla="*/ 303 h 440"/>
              <a:gd name="T72" fmla="*/ 579 w 786"/>
              <a:gd name="T73" fmla="*/ 287 h 440"/>
              <a:gd name="T74" fmla="*/ 521 w 786"/>
              <a:gd name="T75" fmla="*/ 296 h 440"/>
              <a:gd name="T76" fmla="*/ 488 w 786"/>
              <a:gd name="T77" fmla="*/ 287 h 440"/>
              <a:gd name="T78" fmla="*/ 455 w 786"/>
              <a:gd name="T79" fmla="*/ 343 h 440"/>
              <a:gd name="T80" fmla="*/ 430 w 786"/>
              <a:gd name="T81" fmla="*/ 367 h 440"/>
              <a:gd name="T82" fmla="*/ 389 w 786"/>
              <a:gd name="T83" fmla="*/ 375 h 440"/>
              <a:gd name="T84" fmla="*/ 356 w 786"/>
              <a:gd name="T85" fmla="*/ 391 h 440"/>
              <a:gd name="T86" fmla="*/ 298 w 786"/>
              <a:gd name="T87" fmla="*/ 399 h 440"/>
              <a:gd name="T88" fmla="*/ 240 w 786"/>
              <a:gd name="T89" fmla="*/ 423 h 440"/>
              <a:gd name="T90" fmla="*/ 199 w 786"/>
              <a:gd name="T91" fmla="*/ 399 h 440"/>
              <a:gd name="T92" fmla="*/ 157 w 786"/>
              <a:gd name="T93" fmla="*/ 423 h 440"/>
              <a:gd name="T94" fmla="*/ 100 w 786"/>
              <a:gd name="T95" fmla="*/ 399 h 440"/>
              <a:gd name="T96" fmla="*/ 66 w 786"/>
              <a:gd name="T97" fmla="*/ 399 h 440"/>
              <a:gd name="T98" fmla="*/ 42 w 786"/>
              <a:gd name="T99" fmla="*/ 359 h 440"/>
              <a:gd name="T100" fmla="*/ 17 w 786"/>
              <a:gd name="T101" fmla="*/ 312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86" h="440">
                <a:moveTo>
                  <a:pt x="17" y="312"/>
                </a:moveTo>
                <a:lnTo>
                  <a:pt x="17" y="288"/>
                </a:lnTo>
                <a:cubicBezTo>
                  <a:pt x="9" y="272"/>
                  <a:pt x="0" y="248"/>
                  <a:pt x="0" y="248"/>
                </a:cubicBezTo>
                <a:cubicBezTo>
                  <a:pt x="0" y="248"/>
                  <a:pt x="9" y="240"/>
                  <a:pt x="17" y="248"/>
                </a:cubicBezTo>
                <a:cubicBezTo>
                  <a:pt x="25" y="256"/>
                  <a:pt x="33" y="272"/>
                  <a:pt x="58" y="256"/>
                </a:cubicBezTo>
                <a:cubicBezTo>
                  <a:pt x="66" y="256"/>
                  <a:pt x="75" y="256"/>
                  <a:pt x="75" y="248"/>
                </a:cubicBezTo>
                <a:cubicBezTo>
                  <a:pt x="91" y="232"/>
                  <a:pt x="91" y="216"/>
                  <a:pt x="100" y="216"/>
                </a:cubicBezTo>
                <a:cubicBezTo>
                  <a:pt x="108" y="208"/>
                  <a:pt x="108" y="216"/>
                  <a:pt x="124" y="216"/>
                </a:cubicBezTo>
                <a:lnTo>
                  <a:pt x="133" y="208"/>
                </a:lnTo>
                <a:cubicBezTo>
                  <a:pt x="141" y="208"/>
                  <a:pt x="141" y="216"/>
                  <a:pt x="149" y="216"/>
                </a:cubicBezTo>
                <a:cubicBezTo>
                  <a:pt x="157" y="216"/>
                  <a:pt x="157" y="208"/>
                  <a:pt x="166" y="216"/>
                </a:cubicBezTo>
                <a:cubicBezTo>
                  <a:pt x="174" y="216"/>
                  <a:pt x="182" y="224"/>
                  <a:pt x="190" y="224"/>
                </a:cubicBezTo>
                <a:cubicBezTo>
                  <a:pt x="199" y="224"/>
                  <a:pt x="215" y="224"/>
                  <a:pt x="215" y="208"/>
                </a:cubicBezTo>
                <a:cubicBezTo>
                  <a:pt x="223" y="200"/>
                  <a:pt x="232" y="184"/>
                  <a:pt x="232" y="160"/>
                </a:cubicBezTo>
                <a:cubicBezTo>
                  <a:pt x="232" y="136"/>
                  <a:pt x="223" y="120"/>
                  <a:pt x="232" y="128"/>
                </a:cubicBezTo>
                <a:cubicBezTo>
                  <a:pt x="232" y="128"/>
                  <a:pt x="257" y="136"/>
                  <a:pt x="273" y="144"/>
                </a:cubicBezTo>
                <a:cubicBezTo>
                  <a:pt x="290" y="144"/>
                  <a:pt x="281" y="136"/>
                  <a:pt x="298" y="144"/>
                </a:cubicBezTo>
                <a:cubicBezTo>
                  <a:pt x="314" y="144"/>
                  <a:pt x="347" y="152"/>
                  <a:pt x="364" y="152"/>
                </a:cubicBezTo>
                <a:cubicBezTo>
                  <a:pt x="397" y="152"/>
                  <a:pt x="438" y="152"/>
                  <a:pt x="480" y="144"/>
                </a:cubicBezTo>
                <a:cubicBezTo>
                  <a:pt x="480" y="136"/>
                  <a:pt x="496" y="128"/>
                  <a:pt x="504" y="128"/>
                </a:cubicBezTo>
                <a:cubicBezTo>
                  <a:pt x="513" y="120"/>
                  <a:pt x="529" y="128"/>
                  <a:pt x="546" y="120"/>
                </a:cubicBezTo>
                <a:cubicBezTo>
                  <a:pt x="554" y="120"/>
                  <a:pt x="570" y="112"/>
                  <a:pt x="579" y="104"/>
                </a:cubicBezTo>
                <a:cubicBezTo>
                  <a:pt x="595" y="96"/>
                  <a:pt x="612" y="88"/>
                  <a:pt x="628" y="80"/>
                </a:cubicBezTo>
                <a:cubicBezTo>
                  <a:pt x="637" y="80"/>
                  <a:pt x="637" y="72"/>
                  <a:pt x="645" y="64"/>
                </a:cubicBezTo>
                <a:lnTo>
                  <a:pt x="661" y="64"/>
                </a:lnTo>
                <a:cubicBezTo>
                  <a:pt x="670" y="64"/>
                  <a:pt x="678" y="56"/>
                  <a:pt x="686" y="56"/>
                </a:cubicBezTo>
                <a:cubicBezTo>
                  <a:pt x="703" y="48"/>
                  <a:pt x="711" y="40"/>
                  <a:pt x="736" y="24"/>
                </a:cubicBezTo>
                <a:cubicBezTo>
                  <a:pt x="760" y="0"/>
                  <a:pt x="785" y="0"/>
                  <a:pt x="777" y="16"/>
                </a:cubicBezTo>
                <a:cubicBezTo>
                  <a:pt x="777" y="24"/>
                  <a:pt x="744" y="40"/>
                  <a:pt x="736" y="48"/>
                </a:cubicBezTo>
                <a:cubicBezTo>
                  <a:pt x="719" y="64"/>
                  <a:pt x="703" y="80"/>
                  <a:pt x="686" y="88"/>
                </a:cubicBezTo>
                <a:cubicBezTo>
                  <a:pt x="670" y="88"/>
                  <a:pt x="645" y="104"/>
                  <a:pt x="628" y="120"/>
                </a:cubicBezTo>
                <a:cubicBezTo>
                  <a:pt x="612" y="128"/>
                  <a:pt x="612" y="144"/>
                  <a:pt x="604" y="152"/>
                </a:cubicBezTo>
                <a:cubicBezTo>
                  <a:pt x="579" y="168"/>
                  <a:pt x="570" y="152"/>
                  <a:pt x="562" y="160"/>
                </a:cubicBezTo>
                <a:cubicBezTo>
                  <a:pt x="562" y="176"/>
                  <a:pt x="554" y="200"/>
                  <a:pt x="554" y="216"/>
                </a:cubicBezTo>
                <a:cubicBezTo>
                  <a:pt x="562" y="240"/>
                  <a:pt x="587" y="256"/>
                  <a:pt x="604" y="272"/>
                </a:cubicBezTo>
                <a:cubicBezTo>
                  <a:pt x="604" y="272"/>
                  <a:pt x="628" y="296"/>
                  <a:pt x="612" y="303"/>
                </a:cubicBezTo>
                <a:cubicBezTo>
                  <a:pt x="604" y="303"/>
                  <a:pt x="595" y="287"/>
                  <a:pt x="579" y="287"/>
                </a:cubicBezTo>
                <a:cubicBezTo>
                  <a:pt x="562" y="287"/>
                  <a:pt x="537" y="287"/>
                  <a:pt x="521" y="296"/>
                </a:cubicBezTo>
                <a:cubicBezTo>
                  <a:pt x="513" y="296"/>
                  <a:pt x="504" y="287"/>
                  <a:pt x="488" y="287"/>
                </a:cubicBezTo>
                <a:cubicBezTo>
                  <a:pt x="471" y="296"/>
                  <a:pt x="455" y="327"/>
                  <a:pt x="455" y="343"/>
                </a:cubicBezTo>
                <a:cubicBezTo>
                  <a:pt x="455" y="351"/>
                  <a:pt x="438" y="351"/>
                  <a:pt x="430" y="367"/>
                </a:cubicBezTo>
                <a:cubicBezTo>
                  <a:pt x="413" y="375"/>
                  <a:pt x="405" y="367"/>
                  <a:pt x="389" y="375"/>
                </a:cubicBezTo>
                <a:cubicBezTo>
                  <a:pt x="372" y="383"/>
                  <a:pt x="372" y="391"/>
                  <a:pt x="356" y="391"/>
                </a:cubicBezTo>
                <a:cubicBezTo>
                  <a:pt x="331" y="391"/>
                  <a:pt x="306" y="399"/>
                  <a:pt x="298" y="399"/>
                </a:cubicBezTo>
                <a:cubicBezTo>
                  <a:pt x="248" y="399"/>
                  <a:pt x="273" y="439"/>
                  <a:pt x="240" y="423"/>
                </a:cubicBezTo>
                <a:cubicBezTo>
                  <a:pt x="223" y="423"/>
                  <a:pt x="215" y="407"/>
                  <a:pt x="199" y="399"/>
                </a:cubicBezTo>
                <a:cubicBezTo>
                  <a:pt x="190" y="399"/>
                  <a:pt x="174" y="415"/>
                  <a:pt x="157" y="423"/>
                </a:cubicBezTo>
                <a:cubicBezTo>
                  <a:pt x="141" y="431"/>
                  <a:pt x="116" y="407"/>
                  <a:pt x="100" y="399"/>
                </a:cubicBezTo>
                <a:cubicBezTo>
                  <a:pt x="83" y="391"/>
                  <a:pt x="75" y="407"/>
                  <a:pt x="66" y="399"/>
                </a:cubicBezTo>
                <a:cubicBezTo>
                  <a:pt x="50" y="383"/>
                  <a:pt x="58" y="367"/>
                  <a:pt x="42" y="359"/>
                </a:cubicBezTo>
                <a:cubicBezTo>
                  <a:pt x="33" y="343"/>
                  <a:pt x="17" y="327"/>
                  <a:pt x="17" y="312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48" name="Freeform 40">
            <a:extLst>
              <a:ext uri="{FF2B5EF4-FFF2-40B4-BE49-F238E27FC236}">
                <a16:creationId xmlns:a16="http://schemas.microsoft.com/office/drawing/2014/main" id="{B3189B41-49B0-BFB6-8488-AC7E6C4C6CC5}"/>
              </a:ext>
            </a:extLst>
          </p:cNvPr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8242874" y="4564267"/>
            <a:ext cx="619436" cy="644793"/>
          </a:xfrm>
          <a:custGeom>
            <a:avLst/>
            <a:gdLst>
              <a:gd name="T0" fmla="*/ 153 w 1507"/>
              <a:gd name="T1" fmla="*/ 79 h 1571"/>
              <a:gd name="T2" fmla="*/ 251 w 1507"/>
              <a:gd name="T3" fmla="*/ 16 h 1571"/>
              <a:gd name="T4" fmla="*/ 372 w 1507"/>
              <a:gd name="T5" fmla="*/ 8 h 1571"/>
              <a:gd name="T6" fmla="*/ 478 w 1507"/>
              <a:gd name="T7" fmla="*/ 56 h 1571"/>
              <a:gd name="T8" fmla="*/ 599 w 1507"/>
              <a:gd name="T9" fmla="*/ 127 h 1571"/>
              <a:gd name="T10" fmla="*/ 615 w 1507"/>
              <a:gd name="T11" fmla="*/ 238 h 1571"/>
              <a:gd name="T12" fmla="*/ 729 w 1507"/>
              <a:gd name="T13" fmla="*/ 309 h 1571"/>
              <a:gd name="T14" fmla="*/ 850 w 1507"/>
              <a:gd name="T15" fmla="*/ 333 h 1571"/>
              <a:gd name="T16" fmla="*/ 834 w 1507"/>
              <a:gd name="T17" fmla="*/ 412 h 1571"/>
              <a:gd name="T18" fmla="*/ 850 w 1507"/>
              <a:gd name="T19" fmla="*/ 476 h 1571"/>
              <a:gd name="T20" fmla="*/ 931 w 1507"/>
              <a:gd name="T21" fmla="*/ 523 h 1571"/>
              <a:gd name="T22" fmla="*/ 1053 w 1507"/>
              <a:gd name="T23" fmla="*/ 539 h 1571"/>
              <a:gd name="T24" fmla="*/ 1118 w 1507"/>
              <a:gd name="T25" fmla="*/ 571 h 1571"/>
              <a:gd name="T26" fmla="*/ 1207 w 1507"/>
              <a:gd name="T27" fmla="*/ 484 h 1571"/>
              <a:gd name="T28" fmla="*/ 1280 w 1507"/>
              <a:gd name="T29" fmla="*/ 547 h 1571"/>
              <a:gd name="T30" fmla="*/ 1215 w 1507"/>
              <a:gd name="T31" fmla="*/ 587 h 1571"/>
              <a:gd name="T32" fmla="*/ 1296 w 1507"/>
              <a:gd name="T33" fmla="*/ 634 h 1571"/>
              <a:gd name="T34" fmla="*/ 1296 w 1507"/>
              <a:gd name="T35" fmla="*/ 745 h 1571"/>
              <a:gd name="T36" fmla="*/ 1247 w 1507"/>
              <a:gd name="T37" fmla="*/ 864 h 1571"/>
              <a:gd name="T38" fmla="*/ 1328 w 1507"/>
              <a:gd name="T39" fmla="*/ 991 h 1571"/>
              <a:gd name="T40" fmla="*/ 1442 w 1507"/>
              <a:gd name="T41" fmla="*/ 1070 h 1571"/>
              <a:gd name="T42" fmla="*/ 1458 w 1507"/>
              <a:gd name="T43" fmla="*/ 1165 h 1571"/>
              <a:gd name="T44" fmla="*/ 1393 w 1507"/>
              <a:gd name="T45" fmla="*/ 1253 h 1571"/>
              <a:gd name="T46" fmla="*/ 1377 w 1507"/>
              <a:gd name="T47" fmla="*/ 1348 h 1571"/>
              <a:gd name="T48" fmla="*/ 1409 w 1507"/>
              <a:gd name="T49" fmla="*/ 1443 h 1571"/>
              <a:gd name="T50" fmla="*/ 1328 w 1507"/>
              <a:gd name="T51" fmla="*/ 1491 h 1571"/>
              <a:gd name="T52" fmla="*/ 1231 w 1507"/>
              <a:gd name="T53" fmla="*/ 1506 h 1571"/>
              <a:gd name="T54" fmla="*/ 1158 w 1507"/>
              <a:gd name="T55" fmla="*/ 1570 h 1571"/>
              <a:gd name="T56" fmla="*/ 1134 w 1507"/>
              <a:gd name="T57" fmla="*/ 1506 h 1571"/>
              <a:gd name="T58" fmla="*/ 1158 w 1507"/>
              <a:gd name="T59" fmla="*/ 1403 h 1571"/>
              <a:gd name="T60" fmla="*/ 1085 w 1507"/>
              <a:gd name="T61" fmla="*/ 1372 h 1571"/>
              <a:gd name="T62" fmla="*/ 947 w 1507"/>
              <a:gd name="T63" fmla="*/ 1276 h 1571"/>
              <a:gd name="T64" fmla="*/ 850 w 1507"/>
              <a:gd name="T65" fmla="*/ 1229 h 1571"/>
              <a:gd name="T66" fmla="*/ 745 w 1507"/>
              <a:gd name="T67" fmla="*/ 1221 h 1571"/>
              <a:gd name="T68" fmla="*/ 713 w 1507"/>
              <a:gd name="T69" fmla="*/ 1348 h 1571"/>
              <a:gd name="T70" fmla="*/ 664 w 1507"/>
              <a:gd name="T71" fmla="*/ 1372 h 1571"/>
              <a:gd name="T72" fmla="*/ 607 w 1507"/>
              <a:gd name="T73" fmla="*/ 1332 h 1571"/>
              <a:gd name="T74" fmla="*/ 526 w 1507"/>
              <a:gd name="T75" fmla="*/ 1284 h 1571"/>
              <a:gd name="T76" fmla="*/ 461 w 1507"/>
              <a:gd name="T77" fmla="*/ 1300 h 1571"/>
              <a:gd name="T78" fmla="*/ 405 w 1507"/>
              <a:gd name="T79" fmla="*/ 1276 h 1571"/>
              <a:gd name="T80" fmla="*/ 364 w 1507"/>
              <a:gd name="T81" fmla="*/ 1245 h 1571"/>
              <a:gd name="T82" fmla="*/ 299 w 1507"/>
              <a:gd name="T83" fmla="*/ 1197 h 1571"/>
              <a:gd name="T84" fmla="*/ 251 w 1507"/>
              <a:gd name="T85" fmla="*/ 1165 h 1571"/>
              <a:gd name="T86" fmla="*/ 291 w 1507"/>
              <a:gd name="T87" fmla="*/ 1118 h 1571"/>
              <a:gd name="T88" fmla="*/ 348 w 1507"/>
              <a:gd name="T89" fmla="*/ 1078 h 1571"/>
              <a:gd name="T90" fmla="*/ 259 w 1507"/>
              <a:gd name="T91" fmla="*/ 991 h 1571"/>
              <a:gd name="T92" fmla="*/ 283 w 1507"/>
              <a:gd name="T93" fmla="*/ 959 h 1571"/>
              <a:gd name="T94" fmla="*/ 348 w 1507"/>
              <a:gd name="T95" fmla="*/ 920 h 1571"/>
              <a:gd name="T96" fmla="*/ 283 w 1507"/>
              <a:gd name="T97" fmla="*/ 888 h 1571"/>
              <a:gd name="T98" fmla="*/ 202 w 1507"/>
              <a:gd name="T99" fmla="*/ 840 h 1571"/>
              <a:gd name="T100" fmla="*/ 170 w 1507"/>
              <a:gd name="T101" fmla="*/ 753 h 1571"/>
              <a:gd name="T102" fmla="*/ 218 w 1507"/>
              <a:gd name="T103" fmla="*/ 658 h 1571"/>
              <a:gd name="T104" fmla="*/ 137 w 1507"/>
              <a:gd name="T105" fmla="*/ 579 h 1571"/>
              <a:gd name="T106" fmla="*/ 129 w 1507"/>
              <a:gd name="T107" fmla="*/ 531 h 1571"/>
              <a:gd name="T108" fmla="*/ 129 w 1507"/>
              <a:gd name="T109" fmla="*/ 460 h 1571"/>
              <a:gd name="T110" fmla="*/ 218 w 1507"/>
              <a:gd name="T111" fmla="*/ 436 h 1571"/>
              <a:gd name="T112" fmla="*/ 121 w 1507"/>
              <a:gd name="T113" fmla="*/ 412 h 1571"/>
              <a:gd name="T114" fmla="*/ 64 w 1507"/>
              <a:gd name="T115" fmla="*/ 357 h 1571"/>
              <a:gd name="T116" fmla="*/ 56 w 1507"/>
              <a:gd name="T117" fmla="*/ 309 h 1571"/>
              <a:gd name="T118" fmla="*/ 40 w 1507"/>
              <a:gd name="T119" fmla="*/ 270 h 1571"/>
              <a:gd name="T120" fmla="*/ 0 w 1507"/>
              <a:gd name="T121" fmla="*/ 174 h 1571"/>
              <a:gd name="T122" fmla="*/ 89 w 1507"/>
              <a:gd name="T123" fmla="*/ 111 h 1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07" h="1571">
                <a:moveTo>
                  <a:pt x="89" y="111"/>
                </a:moveTo>
                <a:lnTo>
                  <a:pt x="129" y="111"/>
                </a:lnTo>
                <a:lnTo>
                  <a:pt x="137" y="87"/>
                </a:lnTo>
                <a:lnTo>
                  <a:pt x="153" y="79"/>
                </a:lnTo>
                <a:cubicBezTo>
                  <a:pt x="153" y="79"/>
                  <a:pt x="178" y="48"/>
                  <a:pt x="186" y="48"/>
                </a:cubicBezTo>
                <a:cubicBezTo>
                  <a:pt x="202" y="48"/>
                  <a:pt x="186" y="32"/>
                  <a:pt x="186" y="32"/>
                </a:cubicBezTo>
                <a:cubicBezTo>
                  <a:pt x="186" y="32"/>
                  <a:pt x="226" y="16"/>
                  <a:pt x="243" y="16"/>
                </a:cubicBezTo>
                <a:lnTo>
                  <a:pt x="251" y="16"/>
                </a:lnTo>
                <a:cubicBezTo>
                  <a:pt x="259" y="16"/>
                  <a:pt x="259" y="24"/>
                  <a:pt x="259" y="24"/>
                </a:cubicBezTo>
                <a:lnTo>
                  <a:pt x="291" y="8"/>
                </a:lnTo>
                <a:cubicBezTo>
                  <a:pt x="291" y="8"/>
                  <a:pt x="340" y="0"/>
                  <a:pt x="348" y="0"/>
                </a:cubicBezTo>
                <a:cubicBezTo>
                  <a:pt x="356" y="0"/>
                  <a:pt x="372" y="8"/>
                  <a:pt x="372" y="8"/>
                </a:cubicBezTo>
                <a:lnTo>
                  <a:pt x="388" y="8"/>
                </a:lnTo>
                <a:cubicBezTo>
                  <a:pt x="388" y="8"/>
                  <a:pt x="397" y="16"/>
                  <a:pt x="405" y="16"/>
                </a:cubicBezTo>
                <a:cubicBezTo>
                  <a:pt x="421" y="24"/>
                  <a:pt x="429" y="48"/>
                  <a:pt x="437" y="48"/>
                </a:cubicBezTo>
                <a:cubicBezTo>
                  <a:pt x="453" y="56"/>
                  <a:pt x="469" y="56"/>
                  <a:pt x="478" y="56"/>
                </a:cubicBezTo>
                <a:cubicBezTo>
                  <a:pt x="486" y="64"/>
                  <a:pt x="502" y="71"/>
                  <a:pt x="502" y="71"/>
                </a:cubicBezTo>
                <a:cubicBezTo>
                  <a:pt x="502" y="71"/>
                  <a:pt x="542" y="111"/>
                  <a:pt x="550" y="111"/>
                </a:cubicBezTo>
                <a:cubicBezTo>
                  <a:pt x="559" y="111"/>
                  <a:pt x="559" y="111"/>
                  <a:pt x="567" y="127"/>
                </a:cubicBezTo>
                <a:cubicBezTo>
                  <a:pt x="575" y="135"/>
                  <a:pt x="599" y="127"/>
                  <a:pt x="599" y="127"/>
                </a:cubicBezTo>
                <a:cubicBezTo>
                  <a:pt x="599" y="127"/>
                  <a:pt x="607" y="151"/>
                  <a:pt x="599" y="159"/>
                </a:cubicBezTo>
                <a:lnTo>
                  <a:pt x="599" y="190"/>
                </a:lnTo>
                <a:lnTo>
                  <a:pt x="599" y="206"/>
                </a:lnTo>
                <a:cubicBezTo>
                  <a:pt x="607" y="222"/>
                  <a:pt x="615" y="222"/>
                  <a:pt x="615" y="238"/>
                </a:cubicBezTo>
                <a:cubicBezTo>
                  <a:pt x="623" y="246"/>
                  <a:pt x="615" y="246"/>
                  <a:pt x="623" y="254"/>
                </a:cubicBezTo>
                <a:cubicBezTo>
                  <a:pt x="631" y="262"/>
                  <a:pt x="640" y="278"/>
                  <a:pt x="648" y="278"/>
                </a:cubicBezTo>
                <a:cubicBezTo>
                  <a:pt x="656" y="278"/>
                  <a:pt x="664" y="278"/>
                  <a:pt x="688" y="286"/>
                </a:cubicBezTo>
                <a:cubicBezTo>
                  <a:pt x="713" y="301"/>
                  <a:pt x="721" y="301"/>
                  <a:pt x="729" y="309"/>
                </a:cubicBezTo>
                <a:cubicBezTo>
                  <a:pt x="745" y="317"/>
                  <a:pt x="737" y="309"/>
                  <a:pt x="761" y="317"/>
                </a:cubicBezTo>
                <a:cubicBezTo>
                  <a:pt x="794" y="325"/>
                  <a:pt x="785" y="317"/>
                  <a:pt x="794" y="325"/>
                </a:cubicBezTo>
                <a:cubicBezTo>
                  <a:pt x="802" y="325"/>
                  <a:pt x="794" y="317"/>
                  <a:pt x="810" y="325"/>
                </a:cubicBezTo>
                <a:cubicBezTo>
                  <a:pt x="834" y="325"/>
                  <a:pt x="850" y="333"/>
                  <a:pt x="850" y="333"/>
                </a:cubicBezTo>
                <a:lnTo>
                  <a:pt x="850" y="349"/>
                </a:lnTo>
                <a:lnTo>
                  <a:pt x="834" y="381"/>
                </a:lnTo>
                <a:lnTo>
                  <a:pt x="834" y="404"/>
                </a:lnTo>
                <a:cubicBezTo>
                  <a:pt x="834" y="404"/>
                  <a:pt x="818" y="404"/>
                  <a:pt x="834" y="412"/>
                </a:cubicBezTo>
                <a:cubicBezTo>
                  <a:pt x="850" y="420"/>
                  <a:pt x="883" y="428"/>
                  <a:pt x="883" y="428"/>
                </a:cubicBezTo>
                <a:lnTo>
                  <a:pt x="907" y="444"/>
                </a:lnTo>
                <a:cubicBezTo>
                  <a:pt x="907" y="444"/>
                  <a:pt x="891" y="468"/>
                  <a:pt x="883" y="476"/>
                </a:cubicBezTo>
                <a:lnTo>
                  <a:pt x="850" y="476"/>
                </a:lnTo>
                <a:cubicBezTo>
                  <a:pt x="850" y="476"/>
                  <a:pt x="842" y="500"/>
                  <a:pt x="858" y="500"/>
                </a:cubicBezTo>
                <a:cubicBezTo>
                  <a:pt x="866" y="507"/>
                  <a:pt x="883" y="507"/>
                  <a:pt x="891" y="507"/>
                </a:cubicBezTo>
                <a:cubicBezTo>
                  <a:pt x="899" y="507"/>
                  <a:pt x="915" y="515"/>
                  <a:pt x="915" y="515"/>
                </a:cubicBezTo>
                <a:cubicBezTo>
                  <a:pt x="915" y="515"/>
                  <a:pt x="923" y="515"/>
                  <a:pt x="931" y="523"/>
                </a:cubicBezTo>
                <a:cubicBezTo>
                  <a:pt x="931" y="539"/>
                  <a:pt x="939" y="547"/>
                  <a:pt x="947" y="547"/>
                </a:cubicBezTo>
                <a:lnTo>
                  <a:pt x="980" y="547"/>
                </a:lnTo>
                <a:cubicBezTo>
                  <a:pt x="988" y="547"/>
                  <a:pt x="988" y="539"/>
                  <a:pt x="996" y="539"/>
                </a:cubicBezTo>
                <a:cubicBezTo>
                  <a:pt x="1004" y="547"/>
                  <a:pt x="1053" y="539"/>
                  <a:pt x="1053" y="539"/>
                </a:cubicBezTo>
                <a:lnTo>
                  <a:pt x="1061" y="555"/>
                </a:lnTo>
                <a:cubicBezTo>
                  <a:pt x="1077" y="579"/>
                  <a:pt x="1101" y="587"/>
                  <a:pt x="1101" y="587"/>
                </a:cubicBezTo>
                <a:cubicBezTo>
                  <a:pt x="1101" y="587"/>
                  <a:pt x="1109" y="595"/>
                  <a:pt x="1109" y="587"/>
                </a:cubicBezTo>
                <a:cubicBezTo>
                  <a:pt x="1109" y="579"/>
                  <a:pt x="1118" y="571"/>
                  <a:pt x="1118" y="571"/>
                </a:cubicBezTo>
                <a:cubicBezTo>
                  <a:pt x="1118" y="571"/>
                  <a:pt x="1134" y="547"/>
                  <a:pt x="1134" y="539"/>
                </a:cubicBezTo>
                <a:cubicBezTo>
                  <a:pt x="1142" y="531"/>
                  <a:pt x="1150" y="507"/>
                  <a:pt x="1158" y="507"/>
                </a:cubicBezTo>
                <a:cubicBezTo>
                  <a:pt x="1166" y="500"/>
                  <a:pt x="1190" y="484"/>
                  <a:pt x="1190" y="484"/>
                </a:cubicBezTo>
                <a:cubicBezTo>
                  <a:pt x="1190" y="484"/>
                  <a:pt x="1190" y="476"/>
                  <a:pt x="1207" y="484"/>
                </a:cubicBezTo>
                <a:cubicBezTo>
                  <a:pt x="1215" y="500"/>
                  <a:pt x="1239" y="515"/>
                  <a:pt x="1239" y="515"/>
                </a:cubicBezTo>
                <a:lnTo>
                  <a:pt x="1280" y="515"/>
                </a:lnTo>
                <a:cubicBezTo>
                  <a:pt x="1280" y="515"/>
                  <a:pt x="1304" y="523"/>
                  <a:pt x="1304" y="531"/>
                </a:cubicBezTo>
                <a:cubicBezTo>
                  <a:pt x="1304" y="539"/>
                  <a:pt x="1296" y="539"/>
                  <a:pt x="1280" y="547"/>
                </a:cubicBezTo>
                <a:cubicBezTo>
                  <a:pt x="1271" y="547"/>
                  <a:pt x="1247" y="523"/>
                  <a:pt x="1247" y="531"/>
                </a:cubicBezTo>
                <a:cubicBezTo>
                  <a:pt x="1239" y="539"/>
                  <a:pt x="1239" y="555"/>
                  <a:pt x="1239" y="555"/>
                </a:cubicBezTo>
                <a:lnTo>
                  <a:pt x="1207" y="571"/>
                </a:lnTo>
                <a:lnTo>
                  <a:pt x="1215" y="587"/>
                </a:lnTo>
                <a:cubicBezTo>
                  <a:pt x="1215" y="587"/>
                  <a:pt x="1255" y="603"/>
                  <a:pt x="1255" y="611"/>
                </a:cubicBezTo>
                <a:lnTo>
                  <a:pt x="1255" y="634"/>
                </a:lnTo>
                <a:lnTo>
                  <a:pt x="1280" y="642"/>
                </a:lnTo>
                <a:lnTo>
                  <a:pt x="1296" y="634"/>
                </a:lnTo>
                <a:lnTo>
                  <a:pt x="1296" y="666"/>
                </a:lnTo>
                <a:lnTo>
                  <a:pt x="1296" y="698"/>
                </a:lnTo>
                <a:lnTo>
                  <a:pt x="1296" y="722"/>
                </a:lnTo>
                <a:cubicBezTo>
                  <a:pt x="1296" y="722"/>
                  <a:pt x="1304" y="745"/>
                  <a:pt x="1296" y="745"/>
                </a:cubicBezTo>
                <a:cubicBezTo>
                  <a:pt x="1288" y="745"/>
                  <a:pt x="1263" y="761"/>
                  <a:pt x="1263" y="761"/>
                </a:cubicBezTo>
                <a:lnTo>
                  <a:pt x="1247" y="785"/>
                </a:lnTo>
                <a:lnTo>
                  <a:pt x="1247" y="825"/>
                </a:lnTo>
                <a:cubicBezTo>
                  <a:pt x="1255" y="840"/>
                  <a:pt x="1247" y="864"/>
                  <a:pt x="1247" y="864"/>
                </a:cubicBezTo>
                <a:cubicBezTo>
                  <a:pt x="1247" y="864"/>
                  <a:pt x="1247" y="880"/>
                  <a:pt x="1255" y="888"/>
                </a:cubicBezTo>
                <a:cubicBezTo>
                  <a:pt x="1263" y="896"/>
                  <a:pt x="1271" y="912"/>
                  <a:pt x="1271" y="912"/>
                </a:cubicBezTo>
                <a:cubicBezTo>
                  <a:pt x="1271" y="912"/>
                  <a:pt x="1280" y="920"/>
                  <a:pt x="1288" y="936"/>
                </a:cubicBezTo>
                <a:cubicBezTo>
                  <a:pt x="1296" y="951"/>
                  <a:pt x="1328" y="991"/>
                  <a:pt x="1328" y="991"/>
                </a:cubicBezTo>
                <a:cubicBezTo>
                  <a:pt x="1328" y="991"/>
                  <a:pt x="1352" y="999"/>
                  <a:pt x="1361" y="999"/>
                </a:cubicBezTo>
                <a:lnTo>
                  <a:pt x="1393" y="1015"/>
                </a:lnTo>
                <a:cubicBezTo>
                  <a:pt x="1393" y="1015"/>
                  <a:pt x="1409" y="1015"/>
                  <a:pt x="1409" y="1023"/>
                </a:cubicBezTo>
                <a:lnTo>
                  <a:pt x="1442" y="1070"/>
                </a:lnTo>
                <a:lnTo>
                  <a:pt x="1474" y="1078"/>
                </a:lnTo>
                <a:lnTo>
                  <a:pt x="1506" y="1078"/>
                </a:lnTo>
                <a:cubicBezTo>
                  <a:pt x="1506" y="1078"/>
                  <a:pt x="1498" y="1118"/>
                  <a:pt x="1490" y="1126"/>
                </a:cubicBezTo>
                <a:cubicBezTo>
                  <a:pt x="1482" y="1134"/>
                  <a:pt x="1458" y="1165"/>
                  <a:pt x="1458" y="1165"/>
                </a:cubicBezTo>
                <a:cubicBezTo>
                  <a:pt x="1458" y="1165"/>
                  <a:pt x="1442" y="1181"/>
                  <a:pt x="1442" y="1197"/>
                </a:cubicBezTo>
                <a:cubicBezTo>
                  <a:pt x="1450" y="1205"/>
                  <a:pt x="1450" y="1229"/>
                  <a:pt x="1450" y="1229"/>
                </a:cubicBezTo>
                <a:cubicBezTo>
                  <a:pt x="1450" y="1229"/>
                  <a:pt x="1434" y="1245"/>
                  <a:pt x="1425" y="1245"/>
                </a:cubicBezTo>
                <a:cubicBezTo>
                  <a:pt x="1417" y="1245"/>
                  <a:pt x="1401" y="1245"/>
                  <a:pt x="1393" y="1253"/>
                </a:cubicBezTo>
                <a:cubicBezTo>
                  <a:pt x="1385" y="1253"/>
                  <a:pt x="1377" y="1261"/>
                  <a:pt x="1377" y="1261"/>
                </a:cubicBezTo>
                <a:cubicBezTo>
                  <a:pt x="1369" y="1269"/>
                  <a:pt x="1353" y="1284"/>
                  <a:pt x="1353" y="1284"/>
                </a:cubicBezTo>
                <a:lnTo>
                  <a:pt x="1369" y="1308"/>
                </a:lnTo>
                <a:lnTo>
                  <a:pt x="1377" y="1348"/>
                </a:lnTo>
                <a:lnTo>
                  <a:pt x="1377" y="1387"/>
                </a:lnTo>
                <a:cubicBezTo>
                  <a:pt x="1377" y="1387"/>
                  <a:pt x="1401" y="1395"/>
                  <a:pt x="1401" y="1403"/>
                </a:cubicBezTo>
                <a:cubicBezTo>
                  <a:pt x="1409" y="1403"/>
                  <a:pt x="1417" y="1427"/>
                  <a:pt x="1417" y="1427"/>
                </a:cubicBezTo>
                <a:lnTo>
                  <a:pt x="1409" y="1443"/>
                </a:lnTo>
                <a:lnTo>
                  <a:pt x="1401" y="1467"/>
                </a:lnTo>
                <a:cubicBezTo>
                  <a:pt x="1401" y="1467"/>
                  <a:pt x="1393" y="1483"/>
                  <a:pt x="1385" y="1491"/>
                </a:cubicBezTo>
                <a:lnTo>
                  <a:pt x="1344" y="1491"/>
                </a:lnTo>
                <a:cubicBezTo>
                  <a:pt x="1344" y="1491"/>
                  <a:pt x="1344" y="1483"/>
                  <a:pt x="1328" y="1491"/>
                </a:cubicBezTo>
                <a:cubicBezTo>
                  <a:pt x="1312" y="1491"/>
                  <a:pt x="1296" y="1506"/>
                  <a:pt x="1296" y="1506"/>
                </a:cubicBezTo>
                <a:lnTo>
                  <a:pt x="1288" y="1514"/>
                </a:lnTo>
                <a:lnTo>
                  <a:pt x="1255" y="1514"/>
                </a:lnTo>
                <a:cubicBezTo>
                  <a:pt x="1247" y="1514"/>
                  <a:pt x="1231" y="1506"/>
                  <a:pt x="1231" y="1506"/>
                </a:cubicBezTo>
                <a:lnTo>
                  <a:pt x="1215" y="1530"/>
                </a:lnTo>
                <a:cubicBezTo>
                  <a:pt x="1215" y="1530"/>
                  <a:pt x="1199" y="1538"/>
                  <a:pt x="1190" y="1538"/>
                </a:cubicBezTo>
                <a:lnTo>
                  <a:pt x="1166" y="1570"/>
                </a:lnTo>
                <a:lnTo>
                  <a:pt x="1158" y="1570"/>
                </a:lnTo>
                <a:cubicBezTo>
                  <a:pt x="1142" y="1570"/>
                  <a:pt x="1126" y="1562"/>
                  <a:pt x="1126" y="1562"/>
                </a:cubicBezTo>
                <a:lnTo>
                  <a:pt x="1101" y="1538"/>
                </a:lnTo>
                <a:cubicBezTo>
                  <a:pt x="1101" y="1538"/>
                  <a:pt x="1109" y="1538"/>
                  <a:pt x="1126" y="1522"/>
                </a:cubicBezTo>
                <a:cubicBezTo>
                  <a:pt x="1134" y="1514"/>
                  <a:pt x="1134" y="1514"/>
                  <a:pt x="1134" y="1506"/>
                </a:cubicBezTo>
                <a:cubicBezTo>
                  <a:pt x="1126" y="1491"/>
                  <a:pt x="1118" y="1475"/>
                  <a:pt x="1126" y="1475"/>
                </a:cubicBezTo>
                <a:cubicBezTo>
                  <a:pt x="1134" y="1467"/>
                  <a:pt x="1142" y="1475"/>
                  <a:pt x="1150" y="1459"/>
                </a:cubicBezTo>
                <a:lnTo>
                  <a:pt x="1150" y="1427"/>
                </a:lnTo>
                <a:cubicBezTo>
                  <a:pt x="1150" y="1419"/>
                  <a:pt x="1150" y="1403"/>
                  <a:pt x="1158" y="1403"/>
                </a:cubicBezTo>
                <a:cubicBezTo>
                  <a:pt x="1166" y="1395"/>
                  <a:pt x="1166" y="1387"/>
                  <a:pt x="1166" y="1387"/>
                </a:cubicBezTo>
                <a:lnTo>
                  <a:pt x="1126" y="1380"/>
                </a:lnTo>
                <a:lnTo>
                  <a:pt x="1101" y="1387"/>
                </a:lnTo>
                <a:cubicBezTo>
                  <a:pt x="1101" y="1387"/>
                  <a:pt x="1101" y="1372"/>
                  <a:pt x="1085" y="1372"/>
                </a:cubicBezTo>
                <a:cubicBezTo>
                  <a:pt x="1069" y="1364"/>
                  <a:pt x="1037" y="1364"/>
                  <a:pt x="1037" y="1364"/>
                </a:cubicBezTo>
                <a:lnTo>
                  <a:pt x="1028" y="1332"/>
                </a:lnTo>
                <a:lnTo>
                  <a:pt x="964" y="1316"/>
                </a:lnTo>
                <a:cubicBezTo>
                  <a:pt x="964" y="1316"/>
                  <a:pt x="956" y="1284"/>
                  <a:pt x="947" y="1276"/>
                </a:cubicBezTo>
                <a:lnTo>
                  <a:pt x="939" y="1269"/>
                </a:lnTo>
                <a:lnTo>
                  <a:pt x="899" y="1237"/>
                </a:lnTo>
                <a:lnTo>
                  <a:pt x="875" y="1237"/>
                </a:lnTo>
                <a:cubicBezTo>
                  <a:pt x="875" y="1237"/>
                  <a:pt x="866" y="1237"/>
                  <a:pt x="850" y="1229"/>
                </a:cubicBezTo>
                <a:cubicBezTo>
                  <a:pt x="826" y="1221"/>
                  <a:pt x="818" y="1197"/>
                  <a:pt x="818" y="1197"/>
                </a:cubicBezTo>
                <a:cubicBezTo>
                  <a:pt x="818" y="1197"/>
                  <a:pt x="818" y="1181"/>
                  <a:pt x="802" y="1189"/>
                </a:cubicBezTo>
                <a:cubicBezTo>
                  <a:pt x="785" y="1205"/>
                  <a:pt x="769" y="1205"/>
                  <a:pt x="761" y="1213"/>
                </a:cubicBezTo>
                <a:cubicBezTo>
                  <a:pt x="761" y="1213"/>
                  <a:pt x="753" y="1213"/>
                  <a:pt x="745" y="1221"/>
                </a:cubicBezTo>
                <a:cubicBezTo>
                  <a:pt x="745" y="1229"/>
                  <a:pt x="737" y="1229"/>
                  <a:pt x="753" y="1245"/>
                </a:cubicBezTo>
                <a:cubicBezTo>
                  <a:pt x="761" y="1253"/>
                  <a:pt x="769" y="1261"/>
                  <a:pt x="769" y="1261"/>
                </a:cubicBezTo>
                <a:lnTo>
                  <a:pt x="761" y="1300"/>
                </a:lnTo>
                <a:lnTo>
                  <a:pt x="713" y="1348"/>
                </a:lnTo>
                <a:lnTo>
                  <a:pt x="721" y="1372"/>
                </a:lnTo>
                <a:cubicBezTo>
                  <a:pt x="721" y="1372"/>
                  <a:pt x="737" y="1372"/>
                  <a:pt x="713" y="1380"/>
                </a:cubicBezTo>
                <a:cubicBezTo>
                  <a:pt x="696" y="1387"/>
                  <a:pt x="696" y="1395"/>
                  <a:pt x="688" y="1395"/>
                </a:cubicBezTo>
                <a:cubicBezTo>
                  <a:pt x="688" y="1387"/>
                  <a:pt x="680" y="1380"/>
                  <a:pt x="664" y="1372"/>
                </a:cubicBezTo>
                <a:lnTo>
                  <a:pt x="656" y="1364"/>
                </a:lnTo>
                <a:lnTo>
                  <a:pt x="648" y="1356"/>
                </a:lnTo>
                <a:cubicBezTo>
                  <a:pt x="648" y="1356"/>
                  <a:pt x="648" y="1348"/>
                  <a:pt x="631" y="1348"/>
                </a:cubicBezTo>
                <a:cubicBezTo>
                  <a:pt x="623" y="1348"/>
                  <a:pt x="607" y="1332"/>
                  <a:pt x="607" y="1332"/>
                </a:cubicBezTo>
                <a:lnTo>
                  <a:pt x="583" y="1332"/>
                </a:lnTo>
                <a:lnTo>
                  <a:pt x="559" y="1308"/>
                </a:lnTo>
                <a:cubicBezTo>
                  <a:pt x="550" y="1308"/>
                  <a:pt x="526" y="1300"/>
                  <a:pt x="526" y="1300"/>
                </a:cubicBezTo>
                <a:lnTo>
                  <a:pt x="526" y="1284"/>
                </a:lnTo>
                <a:lnTo>
                  <a:pt x="518" y="1284"/>
                </a:lnTo>
                <a:cubicBezTo>
                  <a:pt x="510" y="1284"/>
                  <a:pt x="502" y="1292"/>
                  <a:pt x="502" y="1292"/>
                </a:cubicBezTo>
                <a:lnTo>
                  <a:pt x="478" y="1300"/>
                </a:lnTo>
                <a:lnTo>
                  <a:pt x="461" y="1300"/>
                </a:lnTo>
                <a:cubicBezTo>
                  <a:pt x="453" y="1292"/>
                  <a:pt x="445" y="1276"/>
                  <a:pt x="445" y="1276"/>
                </a:cubicBezTo>
                <a:lnTo>
                  <a:pt x="437" y="1276"/>
                </a:lnTo>
                <a:cubicBezTo>
                  <a:pt x="429" y="1284"/>
                  <a:pt x="445" y="1292"/>
                  <a:pt x="429" y="1284"/>
                </a:cubicBezTo>
                <a:lnTo>
                  <a:pt x="405" y="1276"/>
                </a:lnTo>
                <a:lnTo>
                  <a:pt x="388" y="1261"/>
                </a:lnTo>
                <a:lnTo>
                  <a:pt x="380" y="1261"/>
                </a:lnTo>
                <a:lnTo>
                  <a:pt x="372" y="1261"/>
                </a:lnTo>
                <a:lnTo>
                  <a:pt x="364" y="1245"/>
                </a:lnTo>
                <a:lnTo>
                  <a:pt x="364" y="1229"/>
                </a:lnTo>
                <a:cubicBezTo>
                  <a:pt x="356" y="1229"/>
                  <a:pt x="332" y="1221"/>
                  <a:pt x="332" y="1221"/>
                </a:cubicBezTo>
                <a:lnTo>
                  <a:pt x="324" y="1205"/>
                </a:lnTo>
                <a:cubicBezTo>
                  <a:pt x="316" y="1205"/>
                  <a:pt x="299" y="1197"/>
                  <a:pt x="299" y="1197"/>
                </a:cubicBezTo>
                <a:lnTo>
                  <a:pt x="291" y="1189"/>
                </a:lnTo>
                <a:lnTo>
                  <a:pt x="267" y="1189"/>
                </a:lnTo>
                <a:lnTo>
                  <a:pt x="259" y="1173"/>
                </a:lnTo>
                <a:lnTo>
                  <a:pt x="251" y="1165"/>
                </a:lnTo>
                <a:cubicBezTo>
                  <a:pt x="259" y="1165"/>
                  <a:pt x="259" y="1150"/>
                  <a:pt x="259" y="1150"/>
                </a:cubicBezTo>
                <a:lnTo>
                  <a:pt x="251" y="1150"/>
                </a:lnTo>
                <a:cubicBezTo>
                  <a:pt x="259" y="1142"/>
                  <a:pt x="275" y="1142"/>
                  <a:pt x="275" y="1142"/>
                </a:cubicBezTo>
                <a:lnTo>
                  <a:pt x="291" y="1118"/>
                </a:lnTo>
                <a:lnTo>
                  <a:pt x="299" y="1118"/>
                </a:lnTo>
                <a:cubicBezTo>
                  <a:pt x="316" y="1126"/>
                  <a:pt x="324" y="1126"/>
                  <a:pt x="332" y="1126"/>
                </a:cubicBezTo>
                <a:cubicBezTo>
                  <a:pt x="340" y="1126"/>
                  <a:pt x="348" y="1142"/>
                  <a:pt x="348" y="1110"/>
                </a:cubicBezTo>
                <a:lnTo>
                  <a:pt x="348" y="1078"/>
                </a:lnTo>
                <a:lnTo>
                  <a:pt x="307" y="1047"/>
                </a:lnTo>
                <a:cubicBezTo>
                  <a:pt x="307" y="1047"/>
                  <a:pt x="307" y="1039"/>
                  <a:pt x="299" y="1023"/>
                </a:cubicBezTo>
                <a:cubicBezTo>
                  <a:pt x="291" y="1015"/>
                  <a:pt x="283" y="1007"/>
                  <a:pt x="283" y="1007"/>
                </a:cubicBezTo>
                <a:cubicBezTo>
                  <a:pt x="275" y="1007"/>
                  <a:pt x="259" y="991"/>
                  <a:pt x="259" y="991"/>
                </a:cubicBezTo>
                <a:cubicBezTo>
                  <a:pt x="251" y="983"/>
                  <a:pt x="243" y="975"/>
                  <a:pt x="243" y="975"/>
                </a:cubicBezTo>
                <a:lnTo>
                  <a:pt x="243" y="951"/>
                </a:lnTo>
                <a:lnTo>
                  <a:pt x="259" y="951"/>
                </a:lnTo>
                <a:cubicBezTo>
                  <a:pt x="267" y="959"/>
                  <a:pt x="275" y="959"/>
                  <a:pt x="283" y="959"/>
                </a:cubicBezTo>
                <a:lnTo>
                  <a:pt x="307" y="959"/>
                </a:lnTo>
                <a:lnTo>
                  <a:pt x="332" y="951"/>
                </a:lnTo>
                <a:cubicBezTo>
                  <a:pt x="340" y="951"/>
                  <a:pt x="340" y="936"/>
                  <a:pt x="348" y="936"/>
                </a:cubicBezTo>
                <a:cubicBezTo>
                  <a:pt x="348" y="936"/>
                  <a:pt x="356" y="928"/>
                  <a:pt x="348" y="920"/>
                </a:cubicBezTo>
                <a:lnTo>
                  <a:pt x="332" y="912"/>
                </a:lnTo>
                <a:cubicBezTo>
                  <a:pt x="324" y="912"/>
                  <a:pt x="316" y="904"/>
                  <a:pt x="316" y="896"/>
                </a:cubicBezTo>
                <a:cubicBezTo>
                  <a:pt x="307" y="896"/>
                  <a:pt x="299" y="888"/>
                  <a:pt x="299" y="880"/>
                </a:cubicBezTo>
                <a:cubicBezTo>
                  <a:pt x="291" y="880"/>
                  <a:pt x="291" y="888"/>
                  <a:pt x="283" y="888"/>
                </a:cubicBezTo>
                <a:cubicBezTo>
                  <a:pt x="275" y="880"/>
                  <a:pt x="267" y="872"/>
                  <a:pt x="259" y="864"/>
                </a:cubicBezTo>
                <a:cubicBezTo>
                  <a:pt x="259" y="856"/>
                  <a:pt x="259" y="856"/>
                  <a:pt x="251" y="848"/>
                </a:cubicBezTo>
                <a:cubicBezTo>
                  <a:pt x="243" y="848"/>
                  <a:pt x="235" y="840"/>
                  <a:pt x="226" y="840"/>
                </a:cubicBezTo>
                <a:cubicBezTo>
                  <a:pt x="218" y="840"/>
                  <a:pt x="218" y="848"/>
                  <a:pt x="202" y="840"/>
                </a:cubicBezTo>
                <a:cubicBezTo>
                  <a:pt x="186" y="840"/>
                  <a:pt x="170" y="833"/>
                  <a:pt x="170" y="825"/>
                </a:cubicBezTo>
                <a:cubicBezTo>
                  <a:pt x="178" y="817"/>
                  <a:pt x="170" y="817"/>
                  <a:pt x="178" y="809"/>
                </a:cubicBezTo>
                <a:lnTo>
                  <a:pt x="178" y="777"/>
                </a:lnTo>
                <a:cubicBezTo>
                  <a:pt x="178" y="769"/>
                  <a:pt x="170" y="777"/>
                  <a:pt x="170" y="753"/>
                </a:cubicBezTo>
                <a:cubicBezTo>
                  <a:pt x="162" y="729"/>
                  <a:pt x="178" y="737"/>
                  <a:pt x="178" y="737"/>
                </a:cubicBezTo>
                <a:cubicBezTo>
                  <a:pt x="178" y="737"/>
                  <a:pt x="186" y="722"/>
                  <a:pt x="186" y="714"/>
                </a:cubicBezTo>
                <a:lnTo>
                  <a:pt x="194" y="690"/>
                </a:lnTo>
                <a:lnTo>
                  <a:pt x="218" y="658"/>
                </a:lnTo>
                <a:lnTo>
                  <a:pt x="218" y="579"/>
                </a:lnTo>
                <a:lnTo>
                  <a:pt x="194" y="571"/>
                </a:lnTo>
                <a:lnTo>
                  <a:pt x="145" y="563"/>
                </a:lnTo>
                <a:cubicBezTo>
                  <a:pt x="145" y="563"/>
                  <a:pt x="145" y="579"/>
                  <a:pt x="137" y="579"/>
                </a:cubicBezTo>
                <a:cubicBezTo>
                  <a:pt x="137" y="579"/>
                  <a:pt x="129" y="587"/>
                  <a:pt x="121" y="587"/>
                </a:cubicBezTo>
                <a:lnTo>
                  <a:pt x="113" y="579"/>
                </a:lnTo>
                <a:lnTo>
                  <a:pt x="129" y="563"/>
                </a:lnTo>
                <a:lnTo>
                  <a:pt x="129" y="531"/>
                </a:lnTo>
                <a:cubicBezTo>
                  <a:pt x="129" y="531"/>
                  <a:pt x="121" y="515"/>
                  <a:pt x="113" y="500"/>
                </a:cubicBezTo>
                <a:cubicBezTo>
                  <a:pt x="105" y="492"/>
                  <a:pt x="97" y="484"/>
                  <a:pt x="97" y="484"/>
                </a:cubicBezTo>
                <a:lnTo>
                  <a:pt x="121" y="468"/>
                </a:lnTo>
                <a:lnTo>
                  <a:pt x="129" y="460"/>
                </a:lnTo>
                <a:lnTo>
                  <a:pt x="129" y="452"/>
                </a:lnTo>
                <a:cubicBezTo>
                  <a:pt x="129" y="452"/>
                  <a:pt x="145" y="468"/>
                  <a:pt x="162" y="468"/>
                </a:cubicBezTo>
                <a:cubicBezTo>
                  <a:pt x="170" y="468"/>
                  <a:pt x="162" y="468"/>
                  <a:pt x="178" y="460"/>
                </a:cubicBezTo>
                <a:cubicBezTo>
                  <a:pt x="194" y="460"/>
                  <a:pt x="218" y="436"/>
                  <a:pt x="218" y="436"/>
                </a:cubicBezTo>
                <a:cubicBezTo>
                  <a:pt x="218" y="436"/>
                  <a:pt x="202" y="420"/>
                  <a:pt x="194" y="420"/>
                </a:cubicBezTo>
                <a:cubicBezTo>
                  <a:pt x="186" y="428"/>
                  <a:pt x="194" y="428"/>
                  <a:pt x="170" y="428"/>
                </a:cubicBezTo>
                <a:cubicBezTo>
                  <a:pt x="145" y="420"/>
                  <a:pt x="137" y="412"/>
                  <a:pt x="137" y="412"/>
                </a:cubicBezTo>
                <a:lnTo>
                  <a:pt x="121" y="412"/>
                </a:lnTo>
                <a:cubicBezTo>
                  <a:pt x="113" y="412"/>
                  <a:pt x="113" y="412"/>
                  <a:pt x="105" y="404"/>
                </a:cubicBezTo>
                <a:cubicBezTo>
                  <a:pt x="89" y="389"/>
                  <a:pt x="73" y="373"/>
                  <a:pt x="73" y="373"/>
                </a:cubicBezTo>
                <a:cubicBezTo>
                  <a:pt x="73" y="373"/>
                  <a:pt x="56" y="381"/>
                  <a:pt x="56" y="373"/>
                </a:cubicBezTo>
                <a:cubicBezTo>
                  <a:pt x="56" y="365"/>
                  <a:pt x="64" y="357"/>
                  <a:pt x="64" y="357"/>
                </a:cubicBezTo>
                <a:lnTo>
                  <a:pt x="56" y="341"/>
                </a:lnTo>
                <a:cubicBezTo>
                  <a:pt x="56" y="341"/>
                  <a:pt x="73" y="341"/>
                  <a:pt x="81" y="333"/>
                </a:cubicBezTo>
                <a:cubicBezTo>
                  <a:pt x="89" y="333"/>
                  <a:pt x="89" y="309"/>
                  <a:pt x="81" y="309"/>
                </a:cubicBezTo>
                <a:cubicBezTo>
                  <a:pt x="73" y="309"/>
                  <a:pt x="64" y="301"/>
                  <a:pt x="56" y="309"/>
                </a:cubicBezTo>
                <a:cubicBezTo>
                  <a:pt x="48" y="309"/>
                  <a:pt x="40" y="317"/>
                  <a:pt x="40" y="317"/>
                </a:cubicBezTo>
                <a:cubicBezTo>
                  <a:pt x="32" y="317"/>
                  <a:pt x="16" y="309"/>
                  <a:pt x="16" y="301"/>
                </a:cubicBezTo>
                <a:cubicBezTo>
                  <a:pt x="16" y="293"/>
                  <a:pt x="8" y="293"/>
                  <a:pt x="24" y="286"/>
                </a:cubicBezTo>
                <a:cubicBezTo>
                  <a:pt x="32" y="286"/>
                  <a:pt x="40" y="270"/>
                  <a:pt x="40" y="270"/>
                </a:cubicBezTo>
                <a:lnTo>
                  <a:pt x="24" y="246"/>
                </a:lnTo>
                <a:lnTo>
                  <a:pt x="32" y="198"/>
                </a:lnTo>
                <a:lnTo>
                  <a:pt x="0" y="190"/>
                </a:lnTo>
                <a:lnTo>
                  <a:pt x="0" y="174"/>
                </a:lnTo>
                <a:lnTo>
                  <a:pt x="32" y="159"/>
                </a:lnTo>
                <a:lnTo>
                  <a:pt x="64" y="111"/>
                </a:lnTo>
                <a:lnTo>
                  <a:pt x="73" y="119"/>
                </a:lnTo>
                <a:cubicBezTo>
                  <a:pt x="72" y="119"/>
                  <a:pt x="81" y="119"/>
                  <a:pt x="89" y="111"/>
                </a:cubicBezTo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49" name="Freeform 41">
            <a:extLst>
              <a:ext uri="{FF2B5EF4-FFF2-40B4-BE49-F238E27FC236}">
                <a16:creationId xmlns:a16="http://schemas.microsoft.com/office/drawing/2014/main" id="{52E163B9-1D52-1ADB-E39D-BCCF088DBA34}"/>
              </a:ext>
            </a:extLst>
          </p:cNvPr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8242874" y="4564267"/>
            <a:ext cx="619436" cy="644793"/>
          </a:xfrm>
          <a:custGeom>
            <a:avLst/>
            <a:gdLst>
              <a:gd name="T0" fmla="*/ 153 w 1507"/>
              <a:gd name="T1" fmla="*/ 79 h 1571"/>
              <a:gd name="T2" fmla="*/ 251 w 1507"/>
              <a:gd name="T3" fmla="*/ 16 h 1571"/>
              <a:gd name="T4" fmla="*/ 372 w 1507"/>
              <a:gd name="T5" fmla="*/ 8 h 1571"/>
              <a:gd name="T6" fmla="*/ 478 w 1507"/>
              <a:gd name="T7" fmla="*/ 56 h 1571"/>
              <a:gd name="T8" fmla="*/ 599 w 1507"/>
              <a:gd name="T9" fmla="*/ 127 h 1571"/>
              <a:gd name="T10" fmla="*/ 615 w 1507"/>
              <a:gd name="T11" fmla="*/ 238 h 1571"/>
              <a:gd name="T12" fmla="*/ 729 w 1507"/>
              <a:gd name="T13" fmla="*/ 309 h 1571"/>
              <a:gd name="T14" fmla="*/ 850 w 1507"/>
              <a:gd name="T15" fmla="*/ 333 h 1571"/>
              <a:gd name="T16" fmla="*/ 834 w 1507"/>
              <a:gd name="T17" fmla="*/ 412 h 1571"/>
              <a:gd name="T18" fmla="*/ 850 w 1507"/>
              <a:gd name="T19" fmla="*/ 476 h 1571"/>
              <a:gd name="T20" fmla="*/ 931 w 1507"/>
              <a:gd name="T21" fmla="*/ 523 h 1571"/>
              <a:gd name="T22" fmla="*/ 1053 w 1507"/>
              <a:gd name="T23" fmla="*/ 539 h 1571"/>
              <a:gd name="T24" fmla="*/ 1118 w 1507"/>
              <a:gd name="T25" fmla="*/ 571 h 1571"/>
              <a:gd name="T26" fmla="*/ 1207 w 1507"/>
              <a:gd name="T27" fmla="*/ 484 h 1571"/>
              <a:gd name="T28" fmla="*/ 1280 w 1507"/>
              <a:gd name="T29" fmla="*/ 547 h 1571"/>
              <a:gd name="T30" fmla="*/ 1215 w 1507"/>
              <a:gd name="T31" fmla="*/ 587 h 1571"/>
              <a:gd name="T32" fmla="*/ 1296 w 1507"/>
              <a:gd name="T33" fmla="*/ 634 h 1571"/>
              <a:gd name="T34" fmla="*/ 1296 w 1507"/>
              <a:gd name="T35" fmla="*/ 745 h 1571"/>
              <a:gd name="T36" fmla="*/ 1247 w 1507"/>
              <a:gd name="T37" fmla="*/ 864 h 1571"/>
              <a:gd name="T38" fmla="*/ 1328 w 1507"/>
              <a:gd name="T39" fmla="*/ 991 h 1571"/>
              <a:gd name="T40" fmla="*/ 1442 w 1507"/>
              <a:gd name="T41" fmla="*/ 1070 h 1571"/>
              <a:gd name="T42" fmla="*/ 1458 w 1507"/>
              <a:gd name="T43" fmla="*/ 1165 h 1571"/>
              <a:gd name="T44" fmla="*/ 1393 w 1507"/>
              <a:gd name="T45" fmla="*/ 1253 h 1571"/>
              <a:gd name="T46" fmla="*/ 1377 w 1507"/>
              <a:gd name="T47" fmla="*/ 1348 h 1571"/>
              <a:gd name="T48" fmla="*/ 1409 w 1507"/>
              <a:gd name="T49" fmla="*/ 1443 h 1571"/>
              <a:gd name="T50" fmla="*/ 1328 w 1507"/>
              <a:gd name="T51" fmla="*/ 1491 h 1571"/>
              <a:gd name="T52" fmla="*/ 1231 w 1507"/>
              <a:gd name="T53" fmla="*/ 1506 h 1571"/>
              <a:gd name="T54" fmla="*/ 1158 w 1507"/>
              <a:gd name="T55" fmla="*/ 1570 h 1571"/>
              <a:gd name="T56" fmla="*/ 1134 w 1507"/>
              <a:gd name="T57" fmla="*/ 1506 h 1571"/>
              <a:gd name="T58" fmla="*/ 1158 w 1507"/>
              <a:gd name="T59" fmla="*/ 1403 h 1571"/>
              <a:gd name="T60" fmla="*/ 1085 w 1507"/>
              <a:gd name="T61" fmla="*/ 1372 h 1571"/>
              <a:gd name="T62" fmla="*/ 947 w 1507"/>
              <a:gd name="T63" fmla="*/ 1276 h 1571"/>
              <a:gd name="T64" fmla="*/ 850 w 1507"/>
              <a:gd name="T65" fmla="*/ 1229 h 1571"/>
              <a:gd name="T66" fmla="*/ 745 w 1507"/>
              <a:gd name="T67" fmla="*/ 1221 h 1571"/>
              <a:gd name="T68" fmla="*/ 713 w 1507"/>
              <a:gd name="T69" fmla="*/ 1348 h 1571"/>
              <a:gd name="T70" fmla="*/ 664 w 1507"/>
              <a:gd name="T71" fmla="*/ 1372 h 1571"/>
              <a:gd name="T72" fmla="*/ 607 w 1507"/>
              <a:gd name="T73" fmla="*/ 1332 h 1571"/>
              <a:gd name="T74" fmla="*/ 526 w 1507"/>
              <a:gd name="T75" fmla="*/ 1284 h 1571"/>
              <a:gd name="T76" fmla="*/ 461 w 1507"/>
              <a:gd name="T77" fmla="*/ 1300 h 1571"/>
              <a:gd name="T78" fmla="*/ 405 w 1507"/>
              <a:gd name="T79" fmla="*/ 1276 h 1571"/>
              <a:gd name="T80" fmla="*/ 364 w 1507"/>
              <a:gd name="T81" fmla="*/ 1245 h 1571"/>
              <a:gd name="T82" fmla="*/ 299 w 1507"/>
              <a:gd name="T83" fmla="*/ 1197 h 1571"/>
              <a:gd name="T84" fmla="*/ 251 w 1507"/>
              <a:gd name="T85" fmla="*/ 1165 h 1571"/>
              <a:gd name="T86" fmla="*/ 291 w 1507"/>
              <a:gd name="T87" fmla="*/ 1118 h 1571"/>
              <a:gd name="T88" fmla="*/ 348 w 1507"/>
              <a:gd name="T89" fmla="*/ 1078 h 1571"/>
              <a:gd name="T90" fmla="*/ 259 w 1507"/>
              <a:gd name="T91" fmla="*/ 991 h 1571"/>
              <a:gd name="T92" fmla="*/ 283 w 1507"/>
              <a:gd name="T93" fmla="*/ 959 h 1571"/>
              <a:gd name="T94" fmla="*/ 348 w 1507"/>
              <a:gd name="T95" fmla="*/ 920 h 1571"/>
              <a:gd name="T96" fmla="*/ 283 w 1507"/>
              <a:gd name="T97" fmla="*/ 888 h 1571"/>
              <a:gd name="T98" fmla="*/ 202 w 1507"/>
              <a:gd name="T99" fmla="*/ 840 h 1571"/>
              <a:gd name="T100" fmla="*/ 170 w 1507"/>
              <a:gd name="T101" fmla="*/ 753 h 1571"/>
              <a:gd name="T102" fmla="*/ 218 w 1507"/>
              <a:gd name="T103" fmla="*/ 658 h 1571"/>
              <a:gd name="T104" fmla="*/ 137 w 1507"/>
              <a:gd name="T105" fmla="*/ 579 h 1571"/>
              <a:gd name="T106" fmla="*/ 129 w 1507"/>
              <a:gd name="T107" fmla="*/ 531 h 1571"/>
              <a:gd name="T108" fmla="*/ 129 w 1507"/>
              <a:gd name="T109" fmla="*/ 460 h 1571"/>
              <a:gd name="T110" fmla="*/ 218 w 1507"/>
              <a:gd name="T111" fmla="*/ 436 h 1571"/>
              <a:gd name="T112" fmla="*/ 121 w 1507"/>
              <a:gd name="T113" fmla="*/ 412 h 1571"/>
              <a:gd name="T114" fmla="*/ 64 w 1507"/>
              <a:gd name="T115" fmla="*/ 357 h 1571"/>
              <a:gd name="T116" fmla="*/ 56 w 1507"/>
              <a:gd name="T117" fmla="*/ 309 h 1571"/>
              <a:gd name="T118" fmla="*/ 40 w 1507"/>
              <a:gd name="T119" fmla="*/ 270 h 1571"/>
              <a:gd name="T120" fmla="*/ 0 w 1507"/>
              <a:gd name="T121" fmla="*/ 174 h 1571"/>
              <a:gd name="T122" fmla="*/ 89 w 1507"/>
              <a:gd name="T123" fmla="*/ 111 h 1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07" h="1571">
                <a:moveTo>
                  <a:pt x="89" y="111"/>
                </a:moveTo>
                <a:lnTo>
                  <a:pt x="129" y="111"/>
                </a:lnTo>
                <a:lnTo>
                  <a:pt x="137" y="87"/>
                </a:lnTo>
                <a:lnTo>
                  <a:pt x="153" y="79"/>
                </a:lnTo>
                <a:cubicBezTo>
                  <a:pt x="153" y="79"/>
                  <a:pt x="178" y="48"/>
                  <a:pt x="186" y="48"/>
                </a:cubicBezTo>
                <a:cubicBezTo>
                  <a:pt x="202" y="48"/>
                  <a:pt x="186" y="32"/>
                  <a:pt x="186" y="32"/>
                </a:cubicBezTo>
                <a:cubicBezTo>
                  <a:pt x="186" y="32"/>
                  <a:pt x="226" y="16"/>
                  <a:pt x="243" y="16"/>
                </a:cubicBezTo>
                <a:lnTo>
                  <a:pt x="251" y="16"/>
                </a:lnTo>
                <a:cubicBezTo>
                  <a:pt x="259" y="16"/>
                  <a:pt x="259" y="24"/>
                  <a:pt x="259" y="24"/>
                </a:cubicBezTo>
                <a:lnTo>
                  <a:pt x="291" y="8"/>
                </a:lnTo>
                <a:cubicBezTo>
                  <a:pt x="291" y="8"/>
                  <a:pt x="340" y="0"/>
                  <a:pt x="348" y="0"/>
                </a:cubicBezTo>
                <a:cubicBezTo>
                  <a:pt x="356" y="0"/>
                  <a:pt x="372" y="8"/>
                  <a:pt x="372" y="8"/>
                </a:cubicBezTo>
                <a:lnTo>
                  <a:pt x="388" y="8"/>
                </a:lnTo>
                <a:cubicBezTo>
                  <a:pt x="388" y="8"/>
                  <a:pt x="397" y="16"/>
                  <a:pt x="405" y="16"/>
                </a:cubicBezTo>
                <a:cubicBezTo>
                  <a:pt x="421" y="24"/>
                  <a:pt x="429" y="48"/>
                  <a:pt x="437" y="48"/>
                </a:cubicBezTo>
                <a:cubicBezTo>
                  <a:pt x="453" y="56"/>
                  <a:pt x="469" y="56"/>
                  <a:pt x="478" y="56"/>
                </a:cubicBezTo>
                <a:cubicBezTo>
                  <a:pt x="486" y="64"/>
                  <a:pt x="502" y="71"/>
                  <a:pt x="502" y="71"/>
                </a:cubicBezTo>
                <a:cubicBezTo>
                  <a:pt x="502" y="71"/>
                  <a:pt x="542" y="111"/>
                  <a:pt x="550" y="111"/>
                </a:cubicBezTo>
                <a:cubicBezTo>
                  <a:pt x="559" y="111"/>
                  <a:pt x="559" y="111"/>
                  <a:pt x="567" y="127"/>
                </a:cubicBezTo>
                <a:cubicBezTo>
                  <a:pt x="575" y="135"/>
                  <a:pt x="599" y="127"/>
                  <a:pt x="599" y="127"/>
                </a:cubicBezTo>
                <a:cubicBezTo>
                  <a:pt x="599" y="127"/>
                  <a:pt x="607" y="151"/>
                  <a:pt x="599" y="159"/>
                </a:cubicBezTo>
                <a:lnTo>
                  <a:pt x="599" y="190"/>
                </a:lnTo>
                <a:lnTo>
                  <a:pt x="599" y="206"/>
                </a:lnTo>
                <a:cubicBezTo>
                  <a:pt x="607" y="222"/>
                  <a:pt x="615" y="222"/>
                  <a:pt x="615" y="238"/>
                </a:cubicBezTo>
                <a:cubicBezTo>
                  <a:pt x="623" y="246"/>
                  <a:pt x="615" y="246"/>
                  <a:pt x="623" y="254"/>
                </a:cubicBezTo>
                <a:cubicBezTo>
                  <a:pt x="631" y="262"/>
                  <a:pt x="640" y="278"/>
                  <a:pt x="648" y="278"/>
                </a:cubicBezTo>
                <a:cubicBezTo>
                  <a:pt x="656" y="278"/>
                  <a:pt x="664" y="278"/>
                  <a:pt x="688" y="286"/>
                </a:cubicBezTo>
                <a:cubicBezTo>
                  <a:pt x="713" y="301"/>
                  <a:pt x="721" y="301"/>
                  <a:pt x="729" y="309"/>
                </a:cubicBezTo>
                <a:cubicBezTo>
                  <a:pt x="745" y="317"/>
                  <a:pt x="737" y="309"/>
                  <a:pt x="761" y="317"/>
                </a:cubicBezTo>
                <a:cubicBezTo>
                  <a:pt x="794" y="325"/>
                  <a:pt x="785" y="317"/>
                  <a:pt x="794" y="325"/>
                </a:cubicBezTo>
                <a:cubicBezTo>
                  <a:pt x="802" y="325"/>
                  <a:pt x="794" y="317"/>
                  <a:pt x="810" y="325"/>
                </a:cubicBezTo>
                <a:cubicBezTo>
                  <a:pt x="834" y="325"/>
                  <a:pt x="850" y="333"/>
                  <a:pt x="850" y="333"/>
                </a:cubicBezTo>
                <a:lnTo>
                  <a:pt x="850" y="349"/>
                </a:lnTo>
                <a:lnTo>
                  <a:pt x="834" y="381"/>
                </a:lnTo>
                <a:lnTo>
                  <a:pt x="834" y="404"/>
                </a:lnTo>
                <a:cubicBezTo>
                  <a:pt x="834" y="404"/>
                  <a:pt x="818" y="404"/>
                  <a:pt x="834" y="412"/>
                </a:cubicBezTo>
                <a:cubicBezTo>
                  <a:pt x="850" y="420"/>
                  <a:pt x="883" y="428"/>
                  <a:pt x="883" y="428"/>
                </a:cubicBezTo>
                <a:lnTo>
                  <a:pt x="907" y="444"/>
                </a:lnTo>
                <a:cubicBezTo>
                  <a:pt x="907" y="444"/>
                  <a:pt x="891" y="468"/>
                  <a:pt x="883" y="476"/>
                </a:cubicBezTo>
                <a:lnTo>
                  <a:pt x="850" y="476"/>
                </a:lnTo>
                <a:cubicBezTo>
                  <a:pt x="850" y="476"/>
                  <a:pt x="842" y="500"/>
                  <a:pt x="858" y="500"/>
                </a:cubicBezTo>
                <a:cubicBezTo>
                  <a:pt x="866" y="507"/>
                  <a:pt x="883" y="507"/>
                  <a:pt x="891" y="507"/>
                </a:cubicBezTo>
                <a:cubicBezTo>
                  <a:pt x="899" y="507"/>
                  <a:pt x="915" y="515"/>
                  <a:pt x="915" y="515"/>
                </a:cubicBezTo>
                <a:cubicBezTo>
                  <a:pt x="915" y="515"/>
                  <a:pt x="923" y="515"/>
                  <a:pt x="931" y="523"/>
                </a:cubicBezTo>
                <a:cubicBezTo>
                  <a:pt x="931" y="539"/>
                  <a:pt x="939" y="547"/>
                  <a:pt x="947" y="547"/>
                </a:cubicBezTo>
                <a:lnTo>
                  <a:pt x="980" y="547"/>
                </a:lnTo>
                <a:cubicBezTo>
                  <a:pt x="988" y="547"/>
                  <a:pt x="988" y="539"/>
                  <a:pt x="996" y="539"/>
                </a:cubicBezTo>
                <a:cubicBezTo>
                  <a:pt x="1004" y="547"/>
                  <a:pt x="1053" y="539"/>
                  <a:pt x="1053" y="539"/>
                </a:cubicBezTo>
                <a:lnTo>
                  <a:pt x="1061" y="555"/>
                </a:lnTo>
                <a:cubicBezTo>
                  <a:pt x="1077" y="579"/>
                  <a:pt x="1101" y="587"/>
                  <a:pt x="1101" y="587"/>
                </a:cubicBezTo>
                <a:cubicBezTo>
                  <a:pt x="1101" y="587"/>
                  <a:pt x="1109" y="595"/>
                  <a:pt x="1109" y="587"/>
                </a:cubicBezTo>
                <a:cubicBezTo>
                  <a:pt x="1109" y="579"/>
                  <a:pt x="1118" y="571"/>
                  <a:pt x="1118" y="571"/>
                </a:cubicBezTo>
                <a:cubicBezTo>
                  <a:pt x="1118" y="571"/>
                  <a:pt x="1134" y="547"/>
                  <a:pt x="1134" y="539"/>
                </a:cubicBezTo>
                <a:cubicBezTo>
                  <a:pt x="1142" y="531"/>
                  <a:pt x="1150" y="507"/>
                  <a:pt x="1158" y="507"/>
                </a:cubicBezTo>
                <a:cubicBezTo>
                  <a:pt x="1166" y="500"/>
                  <a:pt x="1190" y="484"/>
                  <a:pt x="1190" y="484"/>
                </a:cubicBezTo>
                <a:cubicBezTo>
                  <a:pt x="1190" y="484"/>
                  <a:pt x="1190" y="476"/>
                  <a:pt x="1207" y="484"/>
                </a:cubicBezTo>
                <a:cubicBezTo>
                  <a:pt x="1215" y="500"/>
                  <a:pt x="1239" y="515"/>
                  <a:pt x="1239" y="515"/>
                </a:cubicBezTo>
                <a:lnTo>
                  <a:pt x="1280" y="515"/>
                </a:lnTo>
                <a:cubicBezTo>
                  <a:pt x="1280" y="515"/>
                  <a:pt x="1304" y="523"/>
                  <a:pt x="1304" y="531"/>
                </a:cubicBezTo>
                <a:cubicBezTo>
                  <a:pt x="1304" y="539"/>
                  <a:pt x="1296" y="539"/>
                  <a:pt x="1280" y="547"/>
                </a:cubicBezTo>
                <a:cubicBezTo>
                  <a:pt x="1271" y="547"/>
                  <a:pt x="1247" y="523"/>
                  <a:pt x="1247" y="531"/>
                </a:cubicBezTo>
                <a:cubicBezTo>
                  <a:pt x="1239" y="539"/>
                  <a:pt x="1239" y="555"/>
                  <a:pt x="1239" y="555"/>
                </a:cubicBezTo>
                <a:lnTo>
                  <a:pt x="1207" y="571"/>
                </a:lnTo>
                <a:lnTo>
                  <a:pt x="1215" y="587"/>
                </a:lnTo>
                <a:cubicBezTo>
                  <a:pt x="1215" y="587"/>
                  <a:pt x="1255" y="603"/>
                  <a:pt x="1255" y="611"/>
                </a:cubicBezTo>
                <a:lnTo>
                  <a:pt x="1255" y="634"/>
                </a:lnTo>
                <a:lnTo>
                  <a:pt x="1280" y="642"/>
                </a:lnTo>
                <a:lnTo>
                  <a:pt x="1296" y="634"/>
                </a:lnTo>
                <a:lnTo>
                  <a:pt x="1296" y="666"/>
                </a:lnTo>
                <a:lnTo>
                  <a:pt x="1296" y="698"/>
                </a:lnTo>
                <a:lnTo>
                  <a:pt x="1296" y="722"/>
                </a:lnTo>
                <a:cubicBezTo>
                  <a:pt x="1296" y="722"/>
                  <a:pt x="1304" y="745"/>
                  <a:pt x="1296" y="745"/>
                </a:cubicBezTo>
                <a:cubicBezTo>
                  <a:pt x="1288" y="745"/>
                  <a:pt x="1263" y="761"/>
                  <a:pt x="1263" y="761"/>
                </a:cubicBezTo>
                <a:lnTo>
                  <a:pt x="1247" y="785"/>
                </a:lnTo>
                <a:lnTo>
                  <a:pt x="1247" y="825"/>
                </a:lnTo>
                <a:cubicBezTo>
                  <a:pt x="1255" y="840"/>
                  <a:pt x="1247" y="864"/>
                  <a:pt x="1247" y="864"/>
                </a:cubicBezTo>
                <a:cubicBezTo>
                  <a:pt x="1247" y="864"/>
                  <a:pt x="1247" y="880"/>
                  <a:pt x="1255" y="888"/>
                </a:cubicBezTo>
                <a:cubicBezTo>
                  <a:pt x="1263" y="896"/>
                  <a:pt x="1271" y="912"/>
                  <a:pt x="1271" y="912"/>
                </a:cubicBezTo>
                <a:cubicBezTo>
                  <a:pt x="1271" y="912"/>
                  <a:pt x="1280" y="920"/>
                  <a:pt x="1288" y="936"/>
                </a:cubicBezTo>
                <a:cubicBezTo>
                  <a:pt x="1296" y="951"/>
                  <a:pt x="1328" y="991"/>
                  <a:pt x="1328" y="991"/>
                </a:cubicBezTo>
                <a:cubicBezTo>
                  <a:pt x="1328" y="991"/>
                  <a:pt x="1352" y="999"/>
                  <a:pt x="1361" y="999"/>
                </a:cubicBezTo>
                <a:lnTo>
                  <a:pt x="1393" y="1015"/>
                </a:lnTo>
                <a:cubicBezTo>
                  <a:pt x="1393" y="1015"/>
                  <a:pt x="1409" y="1015"/>
                  <a:pt x="1409" y="1023"/>
                </a:cubicBezTo>
                <a:lnTo>
                  <a:pt x="1442" y="1070"/>
                </a:lnTo>
                <a:lnTo>
                  <a:pt x="1474" y="1078"/>
                </a:lnTo>
                <a:lnTo>
                  <a:pt x="1506" y="1078"/>
                </a:lnTo>
                <a:cubicBezTo>
                  <a:pt x="1506" y="1078"/>
                  <a:pt x="1498" y="1118"/>
                  <a:pt x="1490" y="1126"/>
                </a:cubicBezTo>
                <a:cubicBezTo>
                  <a:pt x="1482" y="1134"/>
                  <a:pt x="1458" y="1165"/>
                  <a:pt x="1458" y="1165"/>
                </a:cubicBezTo>
                <a:cubicBezTo>
                  <a:pt x="1458" y="1165"/>
                  <a:pt x="1442" y="1181"/>
                  <a:pt x="1442" y="1197"/>
                </a:cubicBezTo>
                <a:cubicBezTo>
                  <a:pt x="1450" y="1205"/>
                  <a:pt x="1450" y="1229"/>
                  <a:pt x="1450" y="1229"/>
                </a:cubicBezTo>
                <a:cubicBezTo>
                  <a:pt x="1450" y="1229"/>
                  <a:pt x="1434" y="1245"/>
                  <a:pt x="1425" y="1245"/>
                </a:cubicBezTo>
                <a:cubicBezTo>
                  <a:pt x="1417" y="1245"/>
                  <a:pt x="1401" y="1245"/>
                  <a:pt x="1393" y="1253"/>
                </a:cubicBezTo>
                <a:cubicBezTo>
                  <a:pt x="1385" y="1253"/>
                  <a:pt x="1377" y="1261"/>
                  <a:pt x="1377" y="1261"/>
                </a:cubicBezTo>
                <a:cubicBezTo>
                  <a:pt x="1369" y="1269"/>
                  <a:pt x="1353" y="1284"/>
                  <a:pt x="1353" y="1284"/>
                </a:cubicBezTo>
                <a:lnTo>
                  <a:pt x="1369" y="1308"/>
                </a:lnTo>
                <a:lnTo>
                  <a:pt x="1377" y="1348"/>
                </a:lnTo>
                <a:lnTo>
                  <a:pt x="1377" y="1387"/>
                </a:lnTo>
                <a:cubicBezTo>
                  <a:pt x="1377" y="1387"/>
                  <a:pt x="1401" y="1395"/>
                  <a:pt x="1401" y="1403"/>
                </a:cubicBezTo>
                <a:cubicBezTo>
                  <a:pt x="1409" y="1403"/>
                  <a:pt x="1417" y="1427"/>
                  <a:pt x="1417" y="1427"/>
                </a:cubicBezTo>
                <a:lnTo>
                  <a:pt x="1409" y="1443"/>
                </a:lnTo>
                <a:lnTo>
                  <a:pt x="1401" y="1467"/>
                </a:lnTo>
                <a:cubicBezTo>
                  <a:pt x="1401" y="1467"/>
                  <a:pt x="1393" y="1483"/>
                  <a:pt x="1385" y="1491"/>
                </a:cubicBezTo>
                <a:lnTo>
                  <a:pt x="1344" y="1491"/>
                </a:lnTo>
                <a:cubicBezTo>
                  <a:pt x="1344" y="1491"/>
                  <a:pt x="1344" y="1483"/>
                  <a:pt x="1328" y="1491"/>
                </a:cubicBezTo>
                <a:cubicBezTo>
                  <a:pt x="1312" y="1491"/>
                  <a:pt x="1296" y="1506"/>
                  <a:pt x="1296" y="1506"/>
                </a:cubicBezTo>
                <a:lnTo>
                  <a:pt x="1288" y="1514"/>
                </a:lnTo>
                <a:lnTo>
                  <a:pt x="1255" y="1514"/>
                </a:lnTo>
                <a:cubicBezTo>
                  <a:pt x="1247" y="1514"/>
                  <a:pt x="1231" y="1506"/>
                  <a:pt x="1231" y="1506"/>
                </a:cubicBezTo>
                <a:lnTo>
                  <a:pt x="1215" y="1530"/>
                </a:lnTo>
                <a:cubicBezTo>
                  <a:pt x="1215" y="1530"/>
                  <a:pt x="1199" y="1538"/>
                  <a:pt x="1190" y="1538"/>
                </a:cubicBezTo>
                <a:lnTo>
                  <a:pt x="1166" y="1570"/>
                </a:lnTo>
                <a:lnTo>
                  <a:pt x="1158" y="1570"/>
                </a:lnTo>
                <a:cubicBezTo>
                  <a:pt x="1142" y="1570"/>
                  <a:pt x="1126" y="1562"/>
                  <a:pt x="1126" y="1562"/>
                </a:cubicBezTo>
                <a:lnTo>
                  <a:pt x="1101" y="1538"/>
                </a:lnTo>
                <a:cubicBezTo>
                  <a:pt x="1101" y="1538"/>
                  <a:pt x="1109" y="1538"/>
                  <a:pt x="1126" y="1522"/>
                </a:cubicBezTo>
                <a:cubicBezTo>
                  <a:pt x="1134" y="1514"/>
                  <a:pt x="1134" y="1514"/>
                  <a:pt x="1134" y="1506"/>
                </a:cubicBezTo>
                <a:cubicBezTo>
                  <a:pt x="1126" y="1491"/>
                  <a:pt x="1118" y="1475"/>
                  <a:pt x="1126" y="1475"/>
                </a:cubicBezTo>
                <a:cubicBezTo>
                  <a:pt x="1134" y="1467"/>
                  <a:pt x="1142" y="1475"/>
                  <a:pt x="1150" y="1459"/>
                </a:cubicBezTo>
                <a:lnTo>
                  <a:pt x="1150" y="1427"/>
                </a:lnTo>
                <a:cubicBezTo>
                  <a:pt x="1150" y="1419"/>
                  <a:pt x="1150" y="1403"/>
                  <a:pt x="1158" y="1403"/>
                </a:cubicBezTo>
                <a:cubicBezTo>
                  <a:pt x="1166" y="1395"/>
                  <a:pt x="1166" y="1387"/>
                  <a:pt x="1166" y="1387"/>
                </a:cubicBezTo>
                <a:lnTo>
                  <a:pt x="1126" y="1380"/>
                </a:lnTo>
                <a:lnTo>
                  <a:pt x="1101" y="1387"/>
                </a:lnTo>
                <a:cubicBezTo>
                  <a:pt x="1101" y="1387"/>
                  <a:pt x="1101" y="1372"/>
                  <a:pt x="1085" y="1372"/>
                </a:cubicBezTo>
                <a:cubicBezTo>
                  <a:pt x="1069" y="1364"/>
                  <a:pt x="1037" y="1364"/>
                  <a:pt x="1037" y="1364"/>
                </a:cubicBezTo>
                <a:lnTo>
                  <a:pt x="1028" y="1332"/>
                </a:lnTo>
                <a:lnTo>
                  <a:pt x="964" y="1316"/>
                </a:lnTo>
                <a:cubicBezTo>
                  <a:pt x="964" y="1316"/>
                  <a:pt x="956" y="1284"/>
                  <a:pt x="947" y="1276"/>
                </a:cubicBezTo>
                <a:lnTo>
                  <a:pt x="939" y="1269"/>
                </a:lnTo>
                <a:lnTo>
                  <a:pt x="899" y="1237"/>
                </a:lnTo>
                <a:lnTo>
                  <a:pt x="875" y="1237"/>
                </a:lnTo>
                <a:cubicBezTo>
                  <a:pt x="875" y="1237"/>
                  <a:pt x="866" y="1237"/>
                  <a:pt x="850" y="1229"/>
                </a:cubicBezTo>
                <a:cubicBezTo>
                  <a:pt x="826" y="1221"/>
                  <a:pt x="818" y="1197"/>
                  <a:pt x="818" y="1197"/>
                </a:cubicBezTo>
                <a:cubicBezTo>
                  <a:pt x="818" y="1197"/>
                  <a:pt x="818" y="1181"/>
                  <a:pt x="802" y="1189"/>
                </a:cubicBezTo>
                <a:cubicBezTo>
                  <a:pt x="785" y="1205"/>
                  <a:pt x="769" y="1205"/>
                  <a:pt x="761" y="1213"/>
                </a:cubicBezTo>
                <a:cubicBezTo>
                  <a:pt x="761" y="1213"/>
                  <a:pt x="753" y="1213"/>
                  <a:pt x="745" y="1221"/>
                </a:cubicBezTo>
                <a:cubicBezTo>
                  <a:pt x="745" y="1229"/>
                  <a:pt x="737" y="1229"/>
                  <a:pt x="753" y="1245"/>
                </a:cubicBezTo>
                <a:cubicBezTo>
                  <a:pt x="761" y="1253"/>
                  <a:pt x="769" y="1261"/>
                  <a:pt x="769" y="1261"/>
                </a:cubicBezTo>
                <a:lnTo>
                  <a:pt x="761" y="1300"/>
                </a:lnTo>
                <a:lnTo>
                  <a:pt x="713" y="1348"/>
                </a:lnTo>
                <a:lnTo>
                  <a:pt x="721" y="1372"/>
                </a:lnTo>
                <a:cubicBezTo>
                  <a:pt x="721" y="1372"/>
                  <a:pt x="737" y="1372"/>
                  <a:pt x="713" y="1380"/>
                </a:cubicBezTo>
                <a:cubicBezTo>
                  <a:pt x="696" y="1387"/>
                  <a:pt x="696" y="1395"/>
                  <a:pt x="688" y="1395"/>
                </a:cubicBezTo>
                <a:cubicBezTo>
                  <a:pt x="688" y="1387"/>
                  <a:pt x="680" y="1380"/>
                  <a:pt x="664" y="1372"/>
                </a:cubicBezTo>
                <a:lnTo>
                  <a:pt x="656" y="1364"/>
                </a:lnTo>
                <a:lnTo>
                  <a:pt x="648" y="1356"/>
                </a:lnTo>
                <a:cubicBezTo>
                  <a:pt x="648" y="1356"/>
                  <a:pt x="648" y="1348"/>
                  <a:pt x="631" y="1348"/>
                </a:cubicBezTo>
                <a:cubicBezTo>
                  <a:pt x="623" y="1348"/>
                  <a:pt x="607" y="1332"/>
                  <a:pt x="607" y="1332"/>
                </a:cubicBezTo>
                <a:lnTo>
                  <a:pt x="583" y="1332"/>
                </a:lnTo>
                <a:lnTo>
                  <a:pt x="559" y="1308"/>
                </a:lnTo>
                <a:cubicBezTo>
                  <a:pt x="550" y="1308"/>
                  <a:pt x="526" y="1300"/>
                  <a:pt x="526" y="1300"/>
                </a:cubicBezTo>
                <a:lnTo>
                  <a:pt x="526" y="1284"/>
                </a:lnTo>
                <a:lnTo>
                  <a:pt x="518" y="1284"/>
                </a:lnTo>
                <a:cubicBezTo>
                  <a:pt x="510" y="1284"/>
                  <a:pt x="502" y="1292"/>
                  <a:pt x="502" y="1292"/>
                </a:cubicBezTo>
                <a:lnTo>
                  <a:pt x="478" y="1300"/>
                </a:lnTo>
                <a:lnTo>
                  <a:pt x="461" y="1300"/>
                </a:lnTo>
                <a:cubicBezTo>
                  <a:pt x="453" y="1292"/>
                  <a:pt x="445" y="1276"/>
                  <a:pt x="445" y="1276"/>
                </a:cubicBezTo>
                <a:lnTo>
                  <a:pt x="437" y="1276"/>
                </a:lnTo>
                <a:cubicBezTo>
                  <a:pt x="429" y="1284"/>
                  <a:pt x="445" y="1292"/>
                  <a:pt x="429" y="1284"/>
                </a:cubicBezTo>
                <a:lnTo>
                  <a:pt x="405" y="1276"/>
                </a:lnTo>
                <a:lnTo>
                  <a:pt x="388" y="1261"/>
                </a:lnTo>
                <a:lnTo>
                  <a:pt x="380" y="1261"/>
                </a:lnTo>
                <a:lnTo>
                  <a:pt x="372" y="1261"/>
                </a:lnTo>
                <a:lnTo>
                  <a:pt x="364" y="1245"/>
                </a:lnTo>
                <a:lnTo>
                  <a:pt x="364" y="1229"/>
                </a:lnTo>
                <a:cubicBezTo>
                  <a:pt x="356" y="1229"/>
                  <a:pt x="332" y="1221"/>
                  <a:pt x="332" y="1221"/>
                </a:cubicBezTo>
                <a:lnTo>
                  <a:pt x="324" y="1205"/>
                </a:lnTo>
                <a:cubicBezTo>
                  <a:pt x="316" y="1205"/>
                  <a:pt x="299" y="1197"/>
                  <a:pt x="299" y="1197"/>
                </a:cubicBezTo>
                <a:lnTo>
                  <a:pt x="291" y="1189"/>
                </a:lnTo>
                <a:lnTo>
                  <a:pt x="267" y="1189"/>
                </a:lnTo>
                <a:lnTo>
                  <a:pt x="259" y="1173"/>
                </a:lnTo>
                <a:lnTo>
                  <a:pt x="251" y="1165"/>
                </a:lnTo>
                <a:cubicBezTo>
                  <a:pt x="259" y="1165"/>
                  <a:pt x="259" y="1150"/>
                  <a:pt x="259" y="1150"/>
                </a:cubicBezTo>
                <a:lnTo>
                  <a:pt x="251" y="1150"/>
                </a:lnTo>
                <a:cubicBezTo>
                  <a:pt x="259" y="1142"/>
                  <a:pt x="275" y="1142"/>
                  <a:pt x="275" y="1142"/>
                </a:cubicBezTo>
                <a:lnTo>
                  <a:pt x="291" y="1118"/>
                </a:lnTo>
                <a:lnTo>
                  <a:pt x="299" y="1118"/>
                </a:lnTo>
                <a:cubicBezTo>
                  <a:pt x="316" y="1126"/>
                  <a:pt x="324" y="1126"/>
                  <a:pt x="332" y="1126"/>
                </a:cubicBezTo>
                <a:cubicBezTo>
                  <a:pt x="340" y="1126"/>
                  <a:pt x="348" y="1142"/>
                  <a:pt x="348" y="1110"/>
                </a:cubicBezTo>
                <a:lnTo>
                  <a:pt x="348" y="1078"/>
                </a:lnTo>
                <a:lnTo>
                  <a:pt x="307" y="1047"/>
                </a:lnTo>
                <a:cubicBezTo>
                  <a:pt x="307" y="1047"/>
                  <a:pt x="307" y="1039"/>
                  <a:pt x="299" y="1023"/>
                </a:cubicBezTo>
                <a:cubicBezTo>
                  <a:pt x="291" y="1015"/>
                  <a:pt x="283" y="1007"/>
                  <a:pt x="283" y="1007"/>
                </a:cubicBezTo>
                <a:cubicBezTo>
                  <a:pt x="275" y="1007"/>
                  <a:pt x="259" y="991"/>
                  <a:pt x="259" y="991"/>
                </a:cubicBezTo>
                <a:cubicBezTo>
                  <a:pt x="251" y="983"/>
                  <a:pt x="243" y="975"/>
                  <a:pt x="243" y="975"/>
                </a:cubicBezTo>
                <a:lnTo>
                  <a:pt x="243" y="951"/>
                </a:lnTo>
                <a:lnTo>
                  <a:pt x="259" y="951"/>
                </a:lnTo>
                <a:cubicBezTo>
                  <a:pt x="267" y="959"/>
                  <a:pt x="275" y="959"/>
                  <a:pt x="283" y="959"/>
                </a:cubicBezTo>
                <a:lnTo>
                  <a:pt x="307" y="959"/>
                </a:lnTo>
                <a:lnTo>
                  <a:pt x="332" y="951"/>
                </a:lnTo>
                <a:cubicBezTo>
                  <a:pt x="340" y="951"/>
                  <a:pt x="340" y="936"/>
                  <a:pt x="348" y="936"/>
                </a:cubicBezTo>
                <a:cubicBezTo>
                  <a:pt x="348" y="936"/>
                  <a:pt x="356" y="928"/>
                  <a:pt x="348" y="920"/>
                </a:cubicBezTo>
                <a:lnTo>
                  <a:pt x="332" y="912"/>
                </a:lnTo>
                <a:cubicBezTo>
                  <a:pt x="324" y="912"/>
                  <a:pt x="316" y="904"/>
                  <a:pt x="316" y="896"/>
                </a:cubicBezTo>
                <a:cubicBezTo>
                  <a:pt x="307" y="896"/>
                  <a:pt x="299" y="888"/>
                  <a:pt x="299" y="880"/>
                </a:cubicBezTo>
                <a:cubicBezTo>
                  <a:pt x="291" y="880"/>
                  <a:pt x="291" y="888"/>
                  <a:pt x="283" y="888"/>
                </a:cubicBezTo>
                <a:cubicBezTo>
                  <a:pt x="275" y="880"/>
                  <a:pt x="267" y="872"/>
                  <a:pt x="259" y="864"/>
                </a:cubicBezTo>
                <a:cubicBezTo>
                  <a:pt x="259" y="856"/>
                  <a:pt x="259" y="856"/>
                  <a:pt x="251" y="848"/>
                </a:cubicBezTo>
                <a:cubicBezTo>
                  <a:pt x="243" y="848"/>
                  <a:pt x="235" y="840"/>
                  <a:pt x="226" y="840"/>
                </a:cubicBezTo>
                <a:cubicBezTo>
                  <a:pt x="218" y="840"/>
                  <a:pt x="218" y="848"/>
                  <a:pt x="202" y="840"/>
                </a:cubicBezTo>
                <a:cubicBezTo>
                  <a:pt x="186" y="840"/>
                  <a:pt x="170" y="833"/>
                  <a:pt x="170" y="825"/>
                </a:cubicBezTo>
                <a:cubicBezTo>
                  <a:pt x="178" y="817"/>
                  <a:pt x="170" y="817"/>
                  <a:pt x="178" y="809"/>
                </a:cubicBezTo>
                <a:lnTo>
                  <a:pt x="178" y="777"/>
                </a:lnTo>
                <a:cubicBezTo>
                  <a:pt x="178" y="769"/>
                  <a:pt x="170" y="777"/>
                  <a:pt x="170" y="753"/>
                </a:cubicBezTo>
                <a:cubicBezTo>
                  <a:pt x="162" y="729"/>
                  <a:pt x="178" y="737"/>
                  <a:pt x="178" y="737"/>
                </a:cubicBezTo>
                <a:cubicBezTo>
                  <a:pt x="178" y="737"/>
                  <a:pt x="186" y="722"/>
                  <a:pt x="186" y="714"/>
                </a:cubicBezTo>
                <a:lnTo>
                  <a:pt x="194" y="690"/>
                </a:lnTo>
                <a:lnTo>
                  <a:pt x="218" y="658"/>
                </a:lnTo>
                <a:lnTo>
                  <a:pt x="218" y="579"/>
                </a:lnTo>
                <a:lnTo>
                  <a:pt x="194" y="571"/>
                </a:lnTo>
                <a:lnTo>
                  <a:pt x="145" y="563"/>
                </a:lnTo>
                <a:cubicBezTo>
                  <a:pt x="145" y="563"/>
                  <a:pt x="145" y="579"/>
                  <a:pt x="137" y="579"/>
                </a:cubicBezTo>
                <a:cubicBezTo>
                  <a:pt x="137" y="579"/>
                  <a:pt x="129" y="587"/>
                  <a:pt x="121" y="587"/>
                </a:cubicBezTo>
                <a:lnTo>
                  <a:pt x="113" y="579"/>
                </a:lnTo>
                <a:lnTo>
                  <a:pt x="129" y="563"/>
                </a:lnTo>
                <a:lnTo>
                  <a:pt x="129" y="531"/>
                </a:lnTo>
                <a:cubicBezTo>
                  <a:pt x="129" y="531"/>
                  <a:pt x="121" y="515"/>
                  <a:pt x="113" y="500"/>
                </a:cubicBezTo>
                <a:cubicBezTo>
                  <a:pt x="105" y="492"/>
                  <a:pt x="97" y="484"/>
                  <a:pt x="97" y="484"/>
                </a:cubicBezTo>
                <a:lnTo>
                  <a:pt x="121" y="468"/>
                </a:lnTo>
                <a:lnTo>
                  <a:pt x="129" y="460"/>
                </a:lnTo>
                <a:lnTo>
                  <a:pt x="129" y="452"/>
                </a:lnTo>
                <a:cubicBezTo>
                  <a:pt x="129" y="452"/>
                  <a:pt x="145" y="468"/>
                  <a:pt x="162" y="468"/>
                </a:cubicBezTo>
                <a:cubicBezTo>
                  <a:pt x="170" y="468"/>
                  <a:pt x="162" y="468"/>
                  <a:pt x="178" y="460"/>
                </a:cubicBezTo>
                <a:cubicBezTo>
                  <a:pt x="194" y="460"/>
                  <a:pt x="218" y="436"/>
                  <a:pt x="218" y="436"/>
                </a:cubicBezTo>
                <a:cubicBezTo>
                  <a:pt x="218" y="436"/>
                  <a:pt x="202" y="420"/>
                  <a:pt x="194" y="420"/>
                </a:cubicBezTo>
                <a:cubicBezTo>
                  <a:pt x="186" y="428"/>
                  <a:pt x="194" y="428"/>
                  <a:pt x="170" y="428"/>
                </a:cubicBezTo>
                <a:cubicBezTo>
                  <a:pt x="145" y="420"/>
                  <a:pt x="137" y="412"/>
                  <a:pt x="137" y="412"/>
                </a:cubicBezTo>
                <a:lnTo>
                  <a:pt x="121" y="412"/>
                </a:lnTo>
                <a:cubicBezTo>
                  <a:pt x="113" y="412"/>
                  <a:pt x="113" y="412"/>
                  <a:pt x="105" y="404"/>
                </a:cubicBezTo>
                <a:cubicBezTo>
                  <a:pt x="89" y="389"/>
                  <a:pt x="73" y="373"/>
                  <a:pt x="73" y="373"/>
                </a:cubicBezTo>
                <a:cubicBezTo>
                  <a:pt x="73" y="373"/>
                  <a:pt x="56" y="381"/>
                  <a:pt x="56" y="373"/>
                </a:cubicBezTo>
                <a:cubicBezTo>
                  <a:pt x="56" y="365"/>
                  <a:pt x="64" y="357"/>
                  <a:pt x="64" y="357"/>
                </a:cubicBezTo>
                <a:lnTo>
                  <a:pt x="56" y="341"/>
                </a:lnTo>
                <a:cubicBezTo>
                  <a:pt x="56" y="341"/>
                  <a:pt x="73" y="341"/>
                  <a:pt x="81" y="333"/>
                </a:cubicBezTo>
                <a:cubicBezTo>
                  <a:pt x="89" y="333"/>
                  <a:pt x="89" y="309"/>
                  <a:pt x="81" y="309"/>
                </a:cubicBezTo>
                <a:cubicBezTo>
                  <a:pt x="73" y="309"/>
                  <a:pt x="64" y="301"/>
                  <a:pt x="56" y="309"/>
                </a:cubicBezTo>
                <a:cubicBezTo>
                  <a:pt x="48" y="309"/>
                  <a:pt x="40" y="317"/>
                  <a:pt x="40" y="317"/>
                </a:cubicBezTo>
                <a:cubicBezTo>
                  <a:pt x="32" y="317"/>
                  <a:pt x="16" y="309"/>
                  <a:pt x="16" y="301"/>
                </a:cubicBezTo>
                <a:cubicBezTo>
                  <a:pt x="16" y="293"/>
                  <a:pt x="8" y="293"/>
                  <a:pt x="24" y="286"/>
                </a:cubicBezTo>
                <a:cubicBezTo>
                  <a:pt x="32" y="286"/>
                  <a:pt x="40" y="270"/>
                  <a:pt x="40" y="270"/>
                </a:cubicBezTo>
                <a:lnTo>
                  <a:pt x="24" y="246"/>
                </a:lnTo>
                <a:lnTo>
                  <a:pt x="32" y="198"/>
                </a:lnTo>
                <a:lnTo>
                  <a:pt x="0" y="190"/>
                </a:lnTo>
                <a:lnTo>
                  <a:pt x="0" y="174"/>
                </a:lnTo>
                <a:lnTo>
                  <a:pt x="32" y="159"/>
                </a:lnTo>
                <a:lnTo>
                  <a:pt x="64" y="111"/>
                </a:lnTo>
                <a:lnTo>
                  <a:pt x="73" y="119"/>
                </a:lnTo>
                <a:cubicBezTo>
                  <a:pt x="72" y="119"/>
                  <a:pt x="81" y="119"/>
                  <a:pt x="89" y="111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50" name="Freeform 42">
            <a:extLst>
              <a:ext uri="{FF2B5EF4-FFF2-40B4-BE49-F238E27FC236}">
                <a16:creationId xmlns:a16="http://schemas.microsoft.com/office/drawing/2014/main" id="{A29EA794-8698-7A47-2AF3-0DCB43706EFD}"/>
              </a:ext>
            </a:extLst>
          </p:cNvPr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6605534" y="4370466"/>
            <a:ext cx="581401" cy="362243"/>
          </a:xfrm>
          <a:custGeom>
            <a:avLst/>
            <a:gdLst>
              <a:gd name="T0" fmla="*/ 269 w 1414"/>
              <a:gd name="T1" fmla="*/ 653 h 880"/>
              <a:gd name="T2" fmla="*/ 286 w 1414"/>
              <a:gd name="T3" fmla="*/ 734 h 880"/>
              <a:gd name="T4" fmla="*/ 335 w 1414"/>
              <a:gd name="T5" fmla="*/ 815 h 880"/>
              <a:gd name="T6" fmla="*/ 400 w 1414"/>
              <a:gd name="T7" fmla="*/ 831 h 880"/>
              <a:gd name="T8" fmla="*/ 482 w 1414"/>
              <a:gd name="T9" fmla="*/ 807 h 880"/>
              <a:gd name="T10" fmla="*/ 580 w 1414"/>
              <a:gd name="T11" fmla="*/ 839 h 880"/>
              <a:gd name="T12" fmla="*/ 637 w 1414"/>
              <a:gd name="T13" fmla="*/ 782 h 880"/>
              <a:gd name="T14" fmla="*/ 669 w 1414"/>
              <a:gd name="T15" fmla="*/ 710 h 880"/>
              <a:gd name="T16" fmla="*/ 710 w 1414"/>
              <a:gd name="T17" fmla="*/ 637 h 880"/>
              <a:gd name="T18" fmla="*/ 767 w 1414"/>
              <a:gd name="T19" fmla="*/ 645 h 880"/>
              <a:gd name="T20" fmla="*/ 792 w 1414"/>
              <a:gd name="T21" fmla="*/ 710 h 880"/>
              <a:gd name="T22" fmla="*/ 890 w 1414"/>
              <a:gd name="T23" fmla="*/ 758 h 880"/>
              <a:gd name="T24" fmla="*/ 914 w 1414"/>
              <a:gd name="T25" fmla="*/ 823 h 880"/>
              <a:gd name="T26" fmla="*/ 963 w 1414"/>
              <a:gd name="T27" fmla="*/ 871 h 880"/>
              <a:gd name="T28" fmla="*/ 963 w 1414"/>
              <a:gd name="T29" fmla="*/ 791 h 880"/>
              <a:gd name="T30" fmla="*/ 1012 w 1414"/>
              <a:gd name="T31" fmla="*/ 702 h 880"/>
              <a:gd name="T32" fmla="*/ 1021 w 1414"/>
              <a:gd name="T33" fmla="*/ 589 h 880"/>
              <a:gd name="T34" fmla="*/ 1094 w 1414"/>
              <a:gd name="T35" fmla="*/ 581 h 880"/>
              <a:gd name="T36" fmla="*/ 1159 w 1414"/>
              <a:gd name="T37" fmla="*/ 661 h 880"/>
              <a:gd name="T38" fmla="*/ 1217 w 1414"/>
              <a:gd name="T39" fmla="*/ 629 h 880"/>
              <a:gd name="T40" fmla="*/ 1274 w 1414"/>
              <a:gd name="T41" fmla="*/ 678 h 880"/>
              <a:gd name="T42" fmla="*/ 1290 w 1414"/>
              <a:gd name="T43" fmla="*/ 637 h 880"/>
              <a:gd name="T44" fmla="*/ 1274 w 1414"/>
              <a:gd name="T45" fmla="*/ 573 h 880"/>
              <a:gd name="T46" fmla="*/ 1290 w 1414"/>
              <a:gd name="T47" fmla="*/ 516 h 880"/>
              <a:gd name="T48" fmla="*/ 1364 w 1414"/>
              <a:gd name="T49" fmla="*/ 540 h 880"/>
              <a:gd name="T50" fmla="*/ 1404 w 1414"/>
              <a:gd name="T51" fmla="*/ 508 h 880"/>
              <a:gd name="T52" fmla="*/ 1380 w 1414"/>
              <a:gd name="T53" fmla="*/ 428 h 880"/>
              <a:gd name="T54" fmla="*/ 1372 w 1414"/>
              <a:gd name="T55" fmla="*/ 339 h 880"/>
              <a:gd name="T56" fmla="*/ 1315 w 1414"/>
              <a:gd name="T57" fmla="*/ 395 h 880"/>
              <a:gd name="T58" fmla="*/ 1217 w 1414"/>
              <a:gd name="T59" fmla="*/ 371 h 880"/>
              <a:gd name="T60" fmla="*/ 1094 w 1414"/>
              <a:gd name="T61" fmla="*/ 323 h 880"/>
              <a:gd name="T62" fmla="*/ 1086 w 1414"/>
              <a:gd name="T63" fmla="*/ 291 h 880"/>
              <a:gd name="T64" fmla="*/ 1135 w 1414"/>
              <a:gd name="T65" fmla="*/ 186 h 880"/>
              <a:gd name="T66" fmla="*/ 1110 w 1414"/>
              <a:gd name="T67" fmla="*/ 121 h 880"/>
              <a:gd name="T68" fmla="*/ 1029 w 1414"/>
              <a:gd name="T69" fmla="*/ 65 h 880"/>
              <a:gd name="T70" fmla="*/ 906 w 1414"/>
              <a:gd name="T71" fmla="*/ 65 h 880"/>
              <a:gd name="T72" fmla="*/ 874 w 1414"/>
              <a:gd name="T73" fmla="*/ 49 h 880"/>
              <a:gd name="T74" fmla="*/ 857 w 1414"/>
              <a:gd name="T75" fmla="*/ 16 h 880"/>
              <a:gd name="T76" fmla="*/ 825 w 1414"/>
              <a:gd name="T77" fmla="*/ 0 h 880"/>
              <a:gd name="T78" fmla="*/ 767 w 1414"/>
              <a:gd name="T79" fmla="*/ 57 h 880"/>
              <a:gd name="T80" fmla="*/ 800 w 1414"/>
              <a:gd name="T81" fmla="*/ 81 h 880"/>
              <a:gd name="T82" fmla="*/ 727 w 1414"/>
              <a:gd name="T83" fmla="*/ 89 h 880"/>
              <a:gd name="T84" fmla="*/ 620 w 1414"/>
              <a:gd name="T85" fmla="*/ 105 h 880"/>
              <a:gd name="T86" fmla="*/ 539 w 1414"/>
              <a:gd name="T87" fmla="*/ 97 h 880"/>
              <a:gd name="T88" fmla="*/ 482 w 1414"/>
              <a:gd name="T89" fmla="*/ 113 h 880"/>
              <a:gd name="T90" fmla="*/ 457 w 1414"/>
              <a:gd name="T91" fmla="*/ 153 h 880"/>
              <a:gd name="T92" fmla="*/ 392 w 1414"/>
              <a:gd name="T93" fmla="*/ 161 h 880"/>
              <a:gd name="T94" fmla="*/ 326 w 1414"/>
              <a:gd name="T95" fmla="*/ 145 h 880"/>
              <a:gd name="T96" fmla="*/ 294 w 1414"/>
              <a:gd name="T97" fmla="*/ 186 h 880"/>
              <a:gd name="T98" fmla="*/ 335 w 1414"/>
              <a:gd name="T99" fmla="*/ 210 h 880"/>
              <a:gd name="T100" fmla="*/ 269 w 1414"/>
              <a:gd name="T101" fmla="*/ 290 h 880"/>
              <a:gd name="T102" fmla="*/ 228 w 1414"/>
              <a:gd name="T103" fmla="*/ 339 h 880"/>
              <a:gd name="T104" fmla="*/ 155 w 1414"/>
              <a:gd name="T105" fmla="*/ 379 h 880"/>
              <a:gd name="T106" fmla="*/ 155 w 1414"/>
              <a:gd name="T107" fmla="*/ 444 h 880"/>
              <a:gd name="T108" fmla="*/ 90 w 1414"/>
              <a:gd name="T109" fmla="*/ 500 h 880"/>
              <a:gd name="T110" fmla="*/ 41 w 1414"/>
              <a:gd name="T111" fmla="*/ 597 h 880"/>
              <a:gd name="T112" fmla="*/ 49 w 1414"/>
              <a:gd name="T113" fmla="*/ 678 h 880"/>
              <a:gd name="T114" fmla="*/ 8 w 1414"/>
              <a:gd name="T115" fmla="*/ 726 h 880"/>
              <a:gd name="T116" fmla="*/ 98 w 1414"/>
              <a:gd name="T117" fmla="*/ 694 h 880"/>
              <a:gd name="T118" fmla="*/ 98 w 1414"/>
              <a:gd name="T119" fmla="*/ 621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14" h="880">
                <a:moveTo>
                  <a:pt x="253" y="605"/>
                </a:moveTo>
                <a:lnTo>
                  <a:pt x="269" y="613"/>
                </a:lnTo>
                <a:lnTo>
                  <a:pt x="269" y="629"/>
                </a:lnTo>
                <a:cubicBezTo>
                  <a:pt x="269" y="629"/>
                  <a:pt x="269" y="621"/>
                  <a:pt x="261" y="637"/>
                </a:cubicBezTo>
                <a:lnTo>
                  <a:pt x="253" y="645"/>
                </a:lnTo>
                <a:cubicBezTo>
                  <a:pt x="261" y="645"/>
                  <a:pt x="269" y="653"/>
                  <a:pt x="269" y="653"/>
                </a:cubicBezTo>
                <a:cubicBezTo>
                  <a:pt x="269" y="653"/>
                  <a:pt x="277" y="653"/>
                  <a:pt x="269" y="662"/>
                </a:cubicBezTo>
                <a:lnTo>
                  <a:pt x="269" y="686"/>
                </a:lnTo>
                <a:lnTo>
                  <a:pt x="269" y="702"/>
                </a:lnTo>
                <a:cubicBezTo>
                  <a:pt x="261" y="702"/>
                  <a:pt x="253" y="726"/>
                  <a:pt x="253" y="726"/>
                </a:cubicBezTo>
                <a:lnTo>
                  <a:pt x="253" y="734"/>
                </a:lnTo>
                <a:lnTo>
                  <a:pt x="286" y="734"/>
                </a:lnTo>
                <a:lnTo>
                  <a:pt x="286" y="758"/>
                </a:lnTo>
                <a:cubicBezTo>
                  <a:pt x="277" y="758"/>
                  <a:pt x="269" y="774"/>
                  <a:pt x="277" y="774"/>
                </a:cubicBezTo>
                <a:cubicBezTo>
                  <a:pt x="286" y="774"/>
                  <a:pt x="294" y="782"/>
                  <a:pt x="294" y="782"/>
                </a:cubicBezTo>
                <a:lnTo>
                  <a:pt x="302" y="791"/>
                </a:lnTo>
                <a:cubicBezTo>
                  <a:pt x="310" y="791"/>
                  <a:pt x="318" y="799"/>
                  <a:pt x="318" y="799"/>
                </a:cubicBezTo>
                <a:lnTo>
                  <a:pt x="335" y="815"/>
                </a:lnTo>
                <a:cubicBezTo>
                  <a:pt x="335" y="823"/>
                  <a:pt x="326" y="831"/>
                  <a:pt x="326" y="831"/>
                </a:cubicBezTo>
                <a:lnTo>
                  <a:pt x="343" y="847"/>
                </a:lnTo>
                <a:cubicBezTo>
                  <a:pt x="343" y="847"/>
                  <a:pt x="343" y="855"/>
                  <a:pt x="351" y="855"/>
                </a:cubicBezTo>
                <a:cubicBezTo>
                  <a:pt x="359" y="855"/>
                  <a:pt x="367" y="847"/>
                  <a:pt x="367" y="847"/>
                </a:cubicBezTo>
                <a:lnTo>
                  <a:pt x="384" y="839"/>
                </a:lnTo>
                <a:cubicBezTo>
                  <a:pt x="384" y="839"/>
                  <a:pt x="392" y="831"/>
                  <a:pt x="400" y="831"/>
                </a:cubicBezTo>
                <a:cubicBezTo>
                  <a:pt x="408" y="831"/>
                  <a:pt x="416" y="839"/>
                  <a:pt x="424" y="839"/>
                </a:cubicBezTo>
                <a:lnTo>
                  <a:pt x="457" y="839"/>
                </a:lnTo>
                <a:lnTo>
                  <a:pt x="457" y="823"/>
                </a:lnTo>
                <a:cubicBezTo>
                  <a:pt x="457" y="823"/>
                  <a:pt x="457" y="815"/>
                  <a:pt x="465" y="815"/>
                </a:cubicBezTo>
                <a:lnTo>
                  <a:pt x="482" y="815"/>
                </a:lnTo>
                <a:cubicBezTo>
                  <a:pt x="482" y="815"/>
                  <a:pt x="473" y="807"/>
                  <a:pt x="482" y="807"/>
                </a:cubicBezTo>
                <a:cubicBezTo>
                  <a:pt x="482" y="807"/>
                  <a:pt x="498" y="807"/>
                  <a:pt x="506" y="815"/>
                </a:cubicBezTo>
                <a:cubicBezTo>
                  <a:pt x="506" y="815"/>
                  <a:pt x="522" y="807"/>
                  <a:pt x="522" y="815"/>
                </a:cubicBezTo>
                <a:lnTo>
                  <a:pt x="531" y="823"/>
                </a:lnTo>
                <a:cubicBezTo>
                  <a:pt x="531" y="823"/>
                  <a:pt x="539" y="839"/>
                  <a:pt x="539" y="831"/>
                </a:cubicBezTo>
                <a:lnTo>
                  <a:pt x="555" y="831"/>
                </a:lnTo>
                <a:cubicBezTo>
                  <a:pt x="555" y="839"/>
                  <a:pt x="571" y="839"/>
                  <a:pt x="580" y="839"/>
                </a:cubicBezTo>
                <a:lnTo>
                  <a:pt x="580" y="831"/>
                </a:lnTo>
                <a:cubicBezTo>
                  <a:pt x="580" y="823"/>
                  <a:pt x="571" y="815"/>
                  <a:pt x="588" y="815"/>
                </a:cubicBezTo>
                <a:cubicBezTo>
                  <a:pt x="596" y="815"/>
                  <a:pt x="596" y="807"/>
                  <a:pt x="604" y="807"/>
                </a:cubicBezTo>
                <a:lnTo>
                  <a:pt x="620" y="807"/>
                </a:lnTo>
                <a:lnTo>
                  <a:pt x="629" y="799"/>
                </a:lnTo>
                <a:cubicBezTo>
                  <a:pt x="637" y="791"/>
                  <a:pt x="637" y="782"/>
                  <a:pt x="637" y="782"/>
                </a:cubicBezTo>
                <a:lnTo>
                  <a:pt x="637" y="766"/>
                </a:lnTo>
                <a:lnTo>
                  <a:pt x="645" y="758"/>
                </a:lnTo>
                <a:lnTo>
                  <a:pt x="653" y="750"/>
                </a:lnTo>
                <a:lnTo>
                  <a:pt x="661" y="734"/>
                </a:lnTo>
                <a:lnTo>
                  <a:pt x="661" y="726"/>
                </a:lnTo>
                <a:lnTo>
                  <a:pt x="669" y="710"/>
                </a:lnTo>
                <a:lnTo>
                  <a:pt x="661" y="686"/>
                </a:lnTo>
                <a:lnTo>
                  <a:pt x="653" y="678"/>
                </a:lnTo>
                <a:lnTo>
                  <a:pt x="661" y="670"/>
                </a:lnTo>
                <a:cubicBezTo>
                  <a:pt x="661" y="670"/>
                  <a:pt x="669" y="661"/>
                  <a:pt x="678" y="661"/>
                </a:cubicBezTo>
                <a:cubicBezTo>
                  <a:pt x="686" y="661"/>
                  <a:pt x="686" y="661"/>
                  <a:pt x="686" y="653"/>
                </a:cubicBezTo>
                <a:cubicBezTo>
                  <a:pt x="694" y="653"/>
                  <a:pt x="710" y="637"/>
                  <a:pt x="710" y="637"/>
                </a:cubicBezTo>
                <a:lnTo>
                  <a:pt x="718" y="637"/>
                </a:lnTo>
                <a:lnTo>
                  <a:pt x="718" y="621"/>
                </a:lnTo>
                <a:cubicBezTo>
                  <a:pt x="718" y="621"/>
                  <a:pt x="718" y="613"/>
                  <a:pt x="727" y="613"/>
                </a:cubicBezTo>
                <a:cubicBezTo>
                  <a:pt x="735" y="605"/>
                  <a:pt x="767" y="597"/>
                  <a:pt x="767" y="597"/>
                </a:cubicBezTo>
                <a:cubicBezTo>
                  <a:pt x="767" y="597"/>
                  <a:pt x="759" y="613"/>
                  <a:pt x="759" y="621"/>
                </a:cubicBezTo>
                <a:cubicBezTo>
                  <a:pt x="759" y="629"/>
                  <a:pt x="767" y="645"/>
                  <a:pt x="767" y="645"/>
                </a:cubicBezTo>
                <a:lnTo>
                  <a:pt x="759" y="661"/>
                </a:lnTo>
                <a:lnTo>
                  <a:pt x="759" y="678"/>
                </a:lnTo>
                <a:lnTo>
                  <a:pt x="767" y="686"/>
                </a:lnTo>
                <a:lnTo>
                  <a:pt x="767" y="694"/>
                </a:lnTo>
                <a:cubicBezTo>
                  <a:pt x="776" y="694"/>
                  <a:pt x="784" y="710"/>
                  <a:pt x="784" y="710"/>
                </a:cubicBezTo>
                <a:lnTo>
                  <a:pt x="792" y="710"/>
                </a:lnTo>
                <a:cubicBezTo>
                  <a:pt x="792" y="710"/>
                  <a:pt x="800" y="718"/>
                  <a:pt x="800" y="726"/>
                </a:cubicBezTo>
                <a:cubicBezTo>
                  <a:pt x="800" y="726"/>
                  <a:pt x="808" y="734"/>
                  <a:pt x="816" y="742"/>
                </a:cubicBezTo>
                <a:lnTo>
                  <a:pt x="841" y="742"/>
                </a:lnTo>
                <a:cubicBezTo>
                  <a:pt x="841" y="750"/>
                  <a:pt x="857" y="750"/>
                  <a:pt x="865" y="750"/>
                </a:cubicBezTo>
                <a:cubicBezTo>
                  <a:pt x="865" y="758"/>
                  <a:pt x="882" y="750"/>
                  <a:pt x="882" y="750"/>
                </a:cubicBezTo>
                <a:lnTo>
                  <a:pt x="890" y="758"/>
                </a:lnTo>
                <a:lnTo>
                  <a:pt x="898" y="758"/>
                </a:lnTo>
                <a:cubicBezTo>
                  <a:pt x="898" y="758"/>
                  <a:pt x="906" y="758"/>
                  <a:pt x="906" y="766"/>
                </a:cubicBezTo>
                <a:lnTo>
                  <a:pt x="898" y="774"/>
                </a:lnTo>
                <a:cubicBezTo>
                  <a:pt x="890" y="782"/>
                  <a:pt x="882" y="799"/>
                  <a:pt x="882" y="799"/>
                </a:cubicBezTo>
                <a:lnTo>
                  <a:pt x="906" y="815"/>
                </a:lnTo>
                <a:cubicBezTo>
                  <a:pt x="906" y="815"/>
                  <a:pt x="914" y="815"/>
                  <a:pt x="914" y="823"/>
                </a:cubicBezTo>
                <a:cubicBezTo>
                  <a:pt x="923" y="831"/>
                  <a:pt x="923" y="839"/>
                  <a:pt x="923" y="839"/>
                </a:cubicBezTo>
                <a:lnTo>
                  <a:pt x="923" y="863"/>
                </a:lnTo>
                <a:cubicBezTo>
                  <a:pt x="923" y="863"/>
                  <a:pt x="906" y="871"/>
                  <a:pt x="923" y="871"/>
                </a:cubicBezTo>
                <a:lnTo>
                  <a:pt x="939" y="871"/>
                </a:lnTo>
                <a:cubicBezTo>
                  <a:pt x="947" y="871"/>
                  <a:pt x="955" y="879"/>
                  <a:pt x="955" y="879"/>
                </a:cubicBezTo>
                <a:lnTo>
                  <a:pt x="963" y="871"/>
                </a:lnTo>
                <a:cubicBezTo>
                  <a:pt x="963" y="871"/>
                  <a:pt x="955" y="855"/>
                  <a:pt x="972" y="847"/>
                </a:cubicBezTo>
                <a:lnTo>
                  <a:pt x="980" y="839"/>
                </a:lnTo>
                <a:cubicBezTo>
                  <a:pt x="980" y="839"/>
                  <a:pt x="955" y="831"/>
                  <a:pt x="955" y="823"/>
                </a:cubicBezTo>
                <a:cubicBezTo>
                  <a:pt x="955" y="823"/>
                  <a:pt x="947" y="823"/>
                  <a:pt x="955" y="815"/>
                </a:cubicBezTo>
                <a:cubicBezTo>
                  <a:pt x="955" y="807"/>
                  <a:pt x="947" y="807"/>
                  <a:pt x="955" y="799"/>
                </a:cubicBezTo>
                <a:cubicBezTo>
                  <a:pt x="955" y="799"/>
                  <a:pt x="963" y="799"/>
                  <a:pt x="963" y="791"/>
                </a:cubicBezTo>
                <a:lnTo>
                  <a:pt x="955" y="774"/>
                </a:lnTo>
                <a:lnTo>
                  <a:pt x="972" y="766"/>
                </a:lnTo>
                <a:lnTo>
                  <a:pt x="972" y="734"/>
                </a:lnTo>
                <a:cubicBezTo>
                  <a:pt x="980" y="734"/>
                  <a:pt x="988" y="718"/>
                  <a:pt x="988" y="718"/>
                </a:cubicBezTo>
                <a:lnTo>
                  <a:pt x="1004" y="718"/>
                </a:lnTo>
                <a:cubicBezTo>
                  <a:pt x="1004" y="710"/>
                  <a:pt x="1012" y="702"/>
                  <a:pt x="1012" y="702"/>
                </a:cubicBezTo>
                <a:lnTo>
                  <a:pt x="1021" y="694"/>
                </a:lnTo>
                <a:lnTo>
                  <a:pt x="1021" y="678"/>
                </a:lnTo>
                <a:cubicBezTo>
                  <a:pt x="1021" y="670"/>
                  <a:pt x="1029" y="661"/>
                  <a:pt x="1029" y="661"/>
                </a:cubicBezTo>
                <a:lnTo>
                  <a:pt x="1029" y="613"/>
                </a:lnTo>
                <a:lnTo>
                  <a:pt x="1021" y="597"/>
                </a:lnTo>
                <a:lnTo>
                  <a:pt x="1021" y="589"/>
                </a:lnTo>
                <a:lnTo>
                  <a:pt x="1037" y="573"/>
                </a:lnTo>
                <a:cubicBezTo>
                  <a:pt x="1037" y="573"/>
                  <a:pt x="1045" y="565"/>
                  <a:pt x="1045" y="573"/>
                </a:cubicBezTo>
                <a:cubicBezTo>
                  <a:pt x="1053" y="573"/>
                  <a:pt x="1061" y="581"/>
                  <a:pt x="1061" y="581"/>
                </a:cubicBezTo>
                <a:lnTo>
                  <a:pt x="1070" y="581"/>
                </a:lnTo>
                <a:lnTo>
                  <a:pt x="1086" y="573"/>
                </a:lnTo>
                <a:cubicBezTo>
                  <a:pt x="1086" y="573"/>
                  <a:pt x="1094" y="573"/>
                  <a:pt x="1094" y="581"/>
                </a:cubicBezTo>
                <a:cubicBezTo>
                  <a:pt x="1086" y="581"/>
                  <a:pt x="1078" y="589"/>
                  <a:pt x="1086" y="597"/>
                </a:cubicBezTo>
                <a:cubicBezTo>
                  <a:pt x="1086" y="597"/>
                  <a:pt x="1094" y="605"/>
                  <a:pt x="1094" y="613"/>
                </a:cubicBezTo>
                <a:lnTo>
                  <a:pt x="1094" y="637"/>
                </a:lnTo>
                <a:cubicBezTo>
                  <a:pt x="1094" y="645"/>
                  <a:pt x="1110" y="645"/>
                  <a:pt x="1110" y="653"/>
                </a:cubicBezTo>
                <a:cubicBezTo>
                  <a:pt x="1119" y="653"/>
                  <a:pt x="1102" y="661"/>
                  <a:pt x="1127" y="661"/>
                </a:cubicBezTo>
                <a:cubicBezTo>
                  <a:pt x="1143" y="661"/>
                  <a:pt x="1159" y="670"/>
                  <a:pt x="1159" y="661"/>
                </a:cubicBezTo>
                <a:cubicBezTo>
                  <a:pt x="1168" y="661"/>
                  <a:pt x="1168" y="661"/>
                  <a:pt x="1168" y="653"/>
                </a:cubicBezTo>
                <a:cubicBezTo>
                  <a:pt x="1159" y="645"/>
                  <a:pt x="1168" y="637"/>
                  <a:pt x="1168" y="637"/>
                </a:cubicBezTo>
                <a:lnTo>
                  <a:pt x="1176" y="637"/>
                </a:lnTo>
                <a:cubicBezTo>
                  <a:pt x="1184" y="637"/>
                  <a:pt x="1184" y="645"/>
                  <a:pt x="1192" y="637"/>
                </a:cubicBezTo>
                <a:lnTo>
                  <a:pt x="1200" y="629"/>
                </a:lnTo>
                <a:lnTo>
                  <a:pt x="1217" y="629"/>
                </a:lnTo>
                <a:cubicBezTo>
                  <a:pt x="1217" y="629"/>
                  <a:pt x="1208" y="621"/>
                  <a:pt x="1225" y="621"/>
                </a:cubicBezTo>
                <a:lnTo>
                  <a:pt x="1249" y="621"/>
                </a:lnTo>
                <a:lnTo>
                  <a:pt x="1249" y="637"/>
                </a:lnTo>
                <a:lnTo>
                  <a:pt x="1257" y="645"/>
                </a:lnTo>
                <a:cubicBezTo>
                  <a:pt x="1257" y="645"/>
                  <a:pt x="1249" y="645"/>
                  <a:pt x="1257" y="661"/>
                </a:cubicBezTo>
                <a:cubicBezTo>
                  <a:pt x="1266" y="670"/>
                  <a:pt x="1274" y="670"/>
                  <a:pt x="1274" y="678"/>
                </a:cubicBezTo>
                <a:cubicBezTo>
                  <a:pt x="1282" y="678"/>
                  <a:pt x="1274" y="694"/>
                  <a:pt x="1274" y="694"/>
                </a:cubicBezTo>
                <a:lnTo>
                  <a:pt x="1290" y="694"/>
                </a:lnTo>
                <a:cubicBezTo>
                  <a:pt x="1290" y="686"/>
                  <a:pt x="1290" y="686"/>
                  <a:pt x="1298" y="686"/>
                </a:cubicBezTo>
                <a:cubicBezTo>
                  <a:pt x="1298" y="686"/>
                  <a:pt x="1306" y="678"/>
                  <a:pt x="1306" y="670"/>
                </a:cubicBezTo>
                <a:cubicBezTo>
                  <a:pt x="1306" y="670"/>
                  <a:pt x="1306" y="645"/>
                  <a:pt x="1298" y="645"/>
                </a:cubicBezTo>
                <a:cubicBezTo>
                  <a:pt x="1298" y="645"/>
                  <a:pt x="1290" y="645"/>
                  <a:pt x="1290" y="637"/>
                </a:cubicBezTo>
                <a:cubicBezTo>
                  <a:pt x="1282" y="629"/>
                  <a:pt x="1282" y="629"/>
                  <a:pt x="1290" y="629"/>
                </a:cubicBezTo>
                <a:lnTo>
                  <a:pt x="1298" y="621"/>
                </a:lnTo>
                <a:cubicBezTo>
                  <a:pt x="1298" y="621"/>
                  <a:pt x="1306" y="613"/>
                  <a:pt x="1298" y="613"/>
                </a:cubicBezTo>
                <a:cubicBezTo>
                  <a:pt x="1298" y="605"/>
                  <a:pt x="1290" y="597"/>
                  <a:pt x="1290" y="597"/>
                </a:cubicBezTo>
                <a:cubicBezTo>
                  <a:pt x="1290" y="597"/>
                  <a:pt x="1282" y="605"/>
                  <a:pt x="1274" y="597"/>
                </a:cubicBezTo>
                <a:lnTo>
                  <a:pt x="1274" y="573"/>
                </a:lnTo>
                <a:lnTo>
                  <a:pt x="1266" y="573"/>
                </a:lnTo>
                <a:lnTo>
                  <a:pt x="1274" y="557"/>
                </a:lnTo>
                <a:lnTo>
                  <a:pt x="1274" y="549"/>
                </a:lnTo>
                <a:cubicBezTo>
                  <a:pt x="1274" y="549"/>
                  <a:pt x="1274" y="540"/>
                  <a:pt x="1282" y="540"/>
                </a:cubicBezTo>
                <a:lnTo>
                  <a:pt x="1282" y="524"/>
                </a:lnTo>
                <a:cubicBezTo>
                  <a:pt x="1290" y="524"/>
                  <a:pt x="1290" y="516"/>
                  <a:pt x="1290" y="516"/>
                </a:cubicBezTo>
                <a:lnTo>
                  <a:pt x="1315" y="516"/>
                </a:lnTo>
                <a:cubicBezTo>
                  <a:pt x="1315" y="516"/>
                  <a:pt x="1315" y="508"/>
                  <a:pt x="1323" y="508"/>
                </a:cubicBezTo>
                <a:lnTo>
                  <a:pt x="1331" y="516"/>
                </a:lnTo>
                <a:lnTo>
                  <a:pt x="1331" y="524"/>
                </a:lnTo>
                <a:lnTo>
                  <a:pt x="1355" y="540"/>
                </a:lnTo>
                <a:lnTo>
                  <a:pt x="1364" y="540"/>
                </a:lnTo>
                <a:cubicBezTo>
                  <a:pt x="1364" y="540"/>
                  <a:pt x="1355" y="540"/>
                  <a:pt x="1364" y="540"/>
                </a:cubicBezTo>
                <a:cubicBezTo>
                  <a:pt x="1364" y="549"/>
                  <a:pt x="1388" y="540"/>
                  <a:pt x="1388" y="540"/>
                </a:cubicBezTo>
                <a:lnTo>
                  <a:pt x="1396" y="540"/>
                </a:lnTo>
                <a:lnTo>
                  <a:pt x="1396" y="532"/>
                </a:lnTo>
                <a:cubicBezTo>
                  <a:pt x="1404" y="532"/>
                  <a:pt x="1404" y="524"/>
                  <a:pt x="1404" y="516"/>
                </a:cubicBezTo>
                <a:cubicBezTo>
                  <a:pt x="1404" y="516"/>
                  <a:pt x="1413" y="516"/>
                  <a:pt x="1404" y="508"/>
                </a:cubicBezTo>
                <a:cubicBezTo>
                  <a:pt x="1388" y="500"/>
                  <a:pt x="1380" y="500"/>
                  <a:pt x="1380" y="500"/>
                </a:cubicBezTo>
                <a:cubicBezTo>
                  <a:pt x="1380" y="500"/>
                  <a:pt x="1364" y="484"/>
                  <a:pt x="1372" y="484"/>
                </a:cubicBezTo>
                <a:cubicBezTo>
                  <a:pt x="1380" y="476"/>
                  <a:pt x="1388" y="468"/>
                  <a:pt x="1388" y="468"/>
                </a:cubicBezTo>
                <a:lnTo>
                  <a:pt x="1380" y="452"/>
                </a:lnTo>
                <a:lnTo>
                  <a:pt x="1388" y="444"/>
                </a:lnTo>
                <a:lnTo>
                  <a:pt x="1380" y="428"/>
                </a:lnTo>
                <a:lnTo>
                  <a:pt x="1388" y="420"/>
                </a:lnTo>
                <a:cubicBezTo>
                  <a:pt x="1388" y="411"/>
                  <a:pt x="1396" y="387"/>
                  <a:pt x="1396" y="387"/>
                </a:cubicBezTo>
                <a:lnTo>
                  <a:pt x="1396" y="371"/>
                </a:lnTo>
                <a:lnTo>
                  <a:pt x="1388" y="363"/>
                </a:lnTo>
                <a:lnTo>
                  <a:pt x="1380" y="355"/>
                </a:lnTo>
                <a:lnTo>
                  <a:pt x="1372" y="339"/>
                </a:lnTo>
                <a:cubicBezTo>
                  <a:pt x="1364" y="347"/>
                  <a:pt x="1355" y="347"/>
                  <a:pt x="1355" y="347"/>
                </a:cubicBezTo>
                <a:lnTo>
                  <a:pt x="1355" y="363"/>
                </a:lnTo>
                <a:cubicBezTo>
                  <a:pt x="1347" y="371"/>
                  <a:pt x="1339" y="371"/>
                  <a:pt x="1339" y="371"/>
                </a:cubicBezTo>
                <a:lnTo>
                  <a:pt x="1331" y="371"/>
                </a:lnTo>
                <a:lnTo>
                  <a:pt x="1323" y="387"/>
                </a:lnTo>
                <a:lnTo>
                  <a:pt x="1315" y="395"/>
                </a:lnTo>
                <a:cubicBezTo>
                  <a:pt x="1315" y="395"/>
                  <a:pt x="1298" y="403"/>
                  <a:pt x="1290" y="403"/>
                </a:cubicBezTo>
                <a:lnTo>
                  <a:pt x="1274" y="403"/>
                </a:lnTo>
                <a:lnTo>
                  <a:pt x="1266" y="395"/>
                </a:lnTo>
                <a:lnTo>
                  <a:pt x="1241" y="387"/>
                </a:lnTo>
                <a:lnTo>
                  <a:pt x="1225" y="379"/>
                </a:lnTo>
                <a:lnTo>
                  <a:pt x="1217" y="371"/>
                </a:lnTo>
                <a:lnTo>
                  <a:pt x="1217" y="355"/>
                </a:lnTo>
                <a:lnTo>
                  <a:pt x="1200" y="339"/>
                </a:lnTo>
                <a:lnTo>
                  <a:pt x="1168" y="331"/>
                </a:lnTo>
                <a:lnTo>
                  <a:pt x="1143" y="323"/>
                </a:lnTo>
                <a:lnTo>
                  <a:pt x="1127" y="323"/>
                </a:lnTo>
                <a:lnTo>
                  <a:pt x="1094" y="323"/>
                </a:lnTo>
                <a:lnTo>
                  <a:pt x="1086" y="323"/>
                </a:lnTo>
                <a:lnTo>
                  <a:pt x="1078" y="323"/>
                </a:lnTo>
                <a:lnTo>
                  <a:pt x="1086" y="307"/>
                </a:lnTo>
                <a:lnTo>
                  <a:pt x="1094" y="307"/>
                </a:lnTo>
                <a:lnTo>
                  <a:pt x="1094" y="299"/>
                </a:lnTo>
                <a:lnTo>
                  <a:pt x="1086" y="291"/>
                </a:lnTo>
                <a:lnTo>
                  <a:pt x="1086" y="266"/>
                </a:lnTo>
                <a:lnTo>
                  <a:pt x="1094" y="242"/>
                </a:lnTo>
                <a:lnTo>
                  <a:pt x="1110" y="226"/>
                </a:lnTo>
                <a:cubicBezTo>
                  <a:pt x="1110" y="226"/>
                  <a:pt x="1110" y="210"/>
                  <a:pt x="1119" y="210"/>
                </a:cubicBezTo>
                <a:lnTo>
                  <a:pt x="1119" y="194"/>
                </a:lnTo>
                <a:lnTo>
                  <a:pt x="1135" y="186"/>
                </a:lnTo>
                <a:lnTo>
                  <a:pt x="1143" y="178"/>
                </a:lnTo>
                <a:cubicBezTo>
                  <a:pt x="1143" y="170"/>
                  <a:pt x="1135" y="162"/>
                  <a:pt x="1135" y="162"/>
                </a:cubicBezTo>
                <a:cubicBezTo>
                  <a:pt x="1135" y="153"/>
                  <a:pt x="1143" y="145"/>
                  <a:pt x="1143" y="145"/>
                </a:cubicBezTo>
                <a:cubicBezTo>
                  <a:pt x="1135" y="145"/>
                  <a:pt x="1135" y="137"/>
                  <a:pt x="1127" y="137"/>
                </a:cubicBezTo>
                <a:cubicBezTo>
                  <a:pt x="1127" y="137"/>
                  <a:pt x="1119" y="137"/>
                  <a:pt x="1119" y="129"/>
                </a:cubicBezTo>
                <a:lnTo>
                  <a:pt x="1110" y="121"/>
                </a:lnTo>
                <a:cubicBezTo>
                  <a:pt x="1110" y="121"/>
                  <a:pt x="1110" y="105"/>
                  <a:pt x="1102" y="105"/>
                </a:cubicBezTo>
                <a:cubicBezTo>
                  <a:pt x="1102" y="105"/>
                  <a:pt x="1094" y="105"/>
                  <a:pt x="1086" y="97"/>
                </a:cubicBezTo>
                <a:cubicBezTo>
                  <a:pt x="1078" y="97"/>
                  <a:pt x="1070" y="89"/>
                  <a:pt x="1070" y="89"/>
                </a:cubicBezTo>
                <a:cubicBezTo>
                  <a:pt x="1061" y="89"/>
                  <a:pt x="1045" y="73"/>
                  <a:pt x="1045" y="73"/>
                </a:cubicBezTo>
                <a:lnTo>
                  <a:pt x="1037" y="73"/>
                </a:lnTo>
                <a:lnTo>
                  <a:pt x="1029" y="65"/>
                </a:lnTo>
                <a:lnTo>
                  <a:pt x="1021" y="65"/>
                </a:lnTo>
                <a:cubicBezTo>
                  <a:pt x="1012" y="65"/>
                  <a:pt x="1012" y="65"/>
                  <a:pt x="1004" y="57"/>
                </a:cubicBezTo>
                <a:lnTo>
                  <a:pt x="980" y="57"/>
                </a:lnTo>
                <a:lnTo>
                  <a:pt x="963" y="57"/>
                </a:lnTo>
                <a:cubicBezTo>
                  <a:pt x="963" y="57"/>
                  <a:pt x="955" y="49"/>
                  <a:pt x="939" y="49"/>
                </a:cubicBezTo>
                <a:cubicBezTo>
                  <a:pt x="931" y="57"/>
                  <a:pt x="914" y="65"/>
                  <a:pt x="906" y="65"/>
                </a:cubicBezTo>
                <a:lnTo>
                  <a:pt x="898" y="57"/>
                </a:lnTo>
                <a:lnTo>
                  <a:pt x="898" y="49"/>
                </a:lnTo>
                <a:cubicBezTo>
                  <a:pt x="898" y="49"/>
                  <a:pt x="890" y="40"/>
                  <a:pt x="882" y="32"/>
                </a:cubicBezTo>
                <a:lnTo>
                  <a:pt x="874" y="32"/>
                </a:lnTo>
                <a:lnTo>
                  <a:pt x="874" y="40"/>
                </a:lnTo>
                <a:cubicBezTo>
                  <a:pt x="874" y="49"/>
                  <a:pt x="890" y="49"/>
                  <a:pt x="874" y="49"/>
                </a:cubicBezTo>
                <a:cubicBezTo>
                  <a:pt x="865" y="40"/>
                  <a:pt x="857" y="40"/>
                  <a:pt x="857" y="40"/>
                </a:cubicBezTo>
                <a:lnTo>
                  <a:pt x="833" y="49"/>
                </a:lnTo>
                <a:lnTo>
                  <a:pt x="841" y="40"/>
                </a:lnTo>
                <a:lnTo>
                  <a:pt x="849" y="40"/>
                </a:lnTo>
                <a:lnTo>
                  <a:pt x="849" y="24"/>
                </a:lnTo>
                <a:cubicBezTo>
                  <a:pt x="857" y="24"/>
                  <a:pt x="865" y="16"/>
                  <a:pt x="857" y="16"/>
                </a:cubicBezTo>
                <a:lnTo>
                  <a:pt x="841" y="16"/>
                </a:lnTo>
                <a:lnTo>
                  <a:pt x="841" y="8"/>
                </a:lnTo>
                <a:lnTo>
                  <a:pt x="833" y="0"/>
                </a:lnTo>
                <a:lnTo>
                  <a:pt x="833" y="16"/>
                </a:lnTo>
                <a:cubicBezTo>
                  <a:pt x="825" y="16"/>
                  <a:pt x="825" y="16"/>
                  <a:pt x="825" y="8"/>
                </a:cubicBezTo>
                <a:lnTo>
                  <a:pt x="825" y="0"/>
                </a:lnTo>
                <a:lnTo>
                  <a:pt x="808" y="0"/>
                </a:lnTo>
                <a:cubicBezTo>
                  <a:pt x="808" y="0"/>
                  <a:pt x="816" y="8"/>
                  <a:pt x="800" y="8"/>
                </a:cubicBezTo>
                <a:cubicBezTo>
                  <a:pt x="792" y="8"/>
                  <a:pt x="784" y="16"/>
                  <a:pt x="776" y="16"/>
                </a:cubicBezTo>
                <a:cubicBezTo>
                  <a:pt x="767" y="24"/>
                  <a:pt x="767" y="32"/>
                  <a:pt x="767" y="32"/>
                </a:cubicBezTo>
                <a:cubicBezTo>
                  <a:pt x="767" y="40"/>
                  <a:pt x="751" y="40"/>
                  <a:pt x="751" y="49"/>
                </a:cubicBezTo>
                <a:cubicBezTo>
                  <a:pt x="759" y="49"/>
                  <a:pt x="751" y="49"/>
                  <a:pt x="767" y="57"/>
                </a:cubicBezTo>
                <a:lnTo>
                  <a:pt x="784" y="57"/>
                </a:lnTo>
                <a:cubicBezTo>
                  <a:pt x="792" y="65"/>
                  <a:pt x="800" y="57"/>
                  <a:pt x="800" y="57"/>
                </a:cubicBezTo>
                <a:lnTo>
                  <a:pt x="808" y="65"/>
                </a:lnTo>
                <a:cubicBezTo>
                  <a:pt x="808" y="65"/>
                  <a:pt x="816" y="57"/>
                  <a:pt x="816" y="65"/>
                </a:cubicBezTo>
                <a:cubicBezTo>
                  <a:pt x="816" y="73"/>
                  <a:pt x="825" y="81"/>
                  <a:pt x="816" y="81"/>
                </a:cubicBezTo>
                <a:cubicBezTo>
                  <a:pt x="808" y="81"/>
                  <a:pt x="800" y="89"/>
                  <a:pt x="800" y="81"/>
                </a:cubicBezTo>
                <a:cubicBezTo>
                  <a:pt x="800" y="81"/>
                  <a:pt x="800" y="73"/>
                  <a:pt x="792" y="73"/>
                </a:cubicBezTo>
                <a:lnTo>
                  <a:pt x="784" y="73"/>
                </a:lnTo>
                <a:lnTo>
                  <a:pt x="776" y="89"/>
                </a:lnTo>
                <a:cubicBezTo>
                  <a:pt x="776" y="89"/>
                  <a:pt x="776" y="97"/>
                  <a:pt x="767" y="97"/>
                </a:cubicBezTo>
                <a:lnTo>
                  <a:pt x="751" y="97"/>
                </a:lnTo>
                <a:cubicBezTo>
                  <a:pt x="735" y="97"/>
                  <a:pt x="735" y="89"/>
                  <a:pt x="727" y="89"/>
                </a:cubicBezTo>
                <a:lnTo>
                  <a:pt x="718" y="89"/>
                </a:lnTo>
                <a:cubicBezTo>
                  <a:pt x="718" y="89"/>
                  <a:pt x="702" y="73"/>
                  <a:pt x="694" y="89"/>
                </a:cubicBezTo>
                <a:cubicBezTo>
                  <a:pt x="686" y="97"/>
                  <a:pt x="678" y="105"/>
                  <a:pt x="678" y="105"/>
                </a:cubicBezTo>
                <a:lnTo>
                  <a:pt x="653" y="105"/>
                </a:lnTo>
                <a:lnTo>
                  <a:pt x="637" y="105"/>
                </a:lnTo>
                <a:lnTo>
                  <a:pt x="620" y="105"/>
                </a:lnTo>
                <a:cubicBezTo>
                  <a:pt x="612" y="113"/>
                  <a:pt x="604" y="89"/>
                  <a:pt x="604" y="89"/>
                </a:cubicBezTo>
                <a:cubicBezTo>
                  <a:pt x="604" y="89"/>
                  <a:pt x="612" y="73"/>
                  <a:pt x="588" y="89"/>
                </a:cubicBezTo>
                <a:cubicBezTo>
                  <a:pt x="563" y="105"/>
                  <a:pt x="555" y="105"/>
                  <a:pt x="555" y="105"/>
                </a:cubicBezTo>
                <a:cubicBezTo>
                  <a:pt x="547" y="105"/>
                  <a:pt x="539" y="113"/>
                  <a:pt x="539" y="113"/>
                </a:cubicBezTo>
                <a:lnTo>
                  <a:pt x="531" y="105"/>
                </a:lnTo>
                <a:cubicBezTo>
                  <a:pt x="539" y="105"/>
                  <a:pt x="539" y="97"/>
                  <a:pt x="539" y="97"/>
                </a:cubicBezTo>
                <a:lnTo>
                  <a:pt x="531" y="89"/>
                </a:lnTo>
                <a:lnTo>
                  <a:pt x="506" y="97"/>
                </a:lnTo>
                <a:cubicBezTo>
                  <a:pt x="506" y="97"/>
                  <a:pt x="514" y="97"/>
                  <a:pt x="506" y="97"/>
                </a:cubicBezTo>
                <a:lnTo>
                  <a:pt x="490" y="97"/>
                </a:lnTo>
                <a:lnTo>
                  <a:pt x="490" y="113"/>
                </a:lnTo>
                <a:lnTo>
                  <a:pt x="482" y="113"/>
                </a:lnTo>
                <a:lnTo>
                  <a:pt x="482" y="121"/>
                </a:lnTo>
                <a:lnTo>
                  <a:pt x="482" y="129"/>
                </a:lnTo>
                <a:lnTo>
                  <a:pt x="473" y="129"/>
                </a:lnTo>
                <a:lnTo>
                  <a:pt x="465" y="129"/>
                </a:lnTo>
                <a:lnTo>
                  <a:pt x="457" y="145"/>
                </a:lnTo>
                <a:lnTo>
                  <a:pt x="457" y="153"/>
                </a:lnTo>
                <a:lnTo>
                  <a:pt x="457" y="161"/>
                </a:lnTo>
                <a:lnTo>
                  <a:pt x="441" y="161"/>
                </a:lnTo>
                <a:lnTo>
                  <a:pt x="424" y="161"/>
                </a:lnTo>
                <a:lnTo>
                  <a:pt x="416" y="161"/>
                </a:lnTo>
                <a:cubicBezTo>
                  <a:pt x="408" y="161"/>
                  <a:pt x="408" y="169"/>
                  <a:pt x="408" y="169"/>
                </a:cubicBezTo>
                <a:lnTo>
                  <a:pt x="392" y="161"/>
                </a:lnTo>
                <a:cubicBezTo>
                  <a:pt x="384" y="161"/>
                  <a:pt x="384" y="153"/>
                  <a:pt x="384" y="145"/>
                </a:cubicBezTo>
                <a:lnTo>
                  <a:pt x="375" y="129"/>
                </a:lnTo>
                <a:lnTo>
                  <a:pt x="367" y="137"/>
                </a:lnTo>
                <a:lnTo>
                  <a:pt x="343" y="137"/>
                </a:lnTo>
                <a:lnTo>
                  <a:pt x="326" y="129"/>
                </a:lnTo>
                <a:lnTo>
                  <a:pt x="326" y="145"/>
                </a:lnTo>
                <a:lnTo>
                  <a:pt x="335" y="153"/>
                </a:lnTo>
                <a:lnTo>
                  <a:pt x="326" y="153"/>
                </a:lnTo>
                <a:lnTo>
                  <a:pt x="318" y="161"/>
                </a:lnTo>
                <a:lnTo>
                  <a:pt x="310" y="161"/>
                </a:lnTo>
                <a:lnTo>
                  <a:pt x="302" y="178"/>
                </a:lnTo>
                <a:cubicBezTo>
                  <a:pt x="302" y="186"/>
                  <a:pt x="294" y="186"/>
                  <a:pt x="294" y="186"/>
                </a:cubicBezTo>
                <a:cubicBezTo>
                  <a:pt x="294" y="186"/>
                  <a:pt x="286" y="186"/>
                  <a:pt x="294" y="194"/>
                </a:cubicBezTo>
                <a:lnTo>
                  <a:pt x="326" y="194"/>
                </a:lnTo>
                <a:lnTo>
                  <a:pt x="343" y="186"/>
                </a:lnTo>
                <a:lnTo>
                  <a:pt x="343" y="194"/>
                </a:lnTo>
                <a:lnTo>
                  <a:pt x="343" y="210"/>
                </a:lnTo>
                <a:lnTo>
                  <a:pt x="335" y="210"/>
                </a:lnTo>
                <a:lnTo>
                  <a:pt x="335" y="218"/>
                </a:lnTo>
                <a:cubicBezTo>
                  <a:pt x="326" y="226"/>
                  <a:pt x="318" y="226"/>
                  <a:pt x="318" y="226"/>
                </a:cubicBezTo>
                <a:cubicBezTo>
                  <a:pt x="310" y="234"/>
                  <a:pt x="310" y="234"/>
                  <a:pt x="310" y="242"/>
                </a:cubicBezTo>
                <a:cubicBezTo>
                  <a:pt x="310" y="250"/>
                  <a:pt x="302" y="266"/>
                  <a:pt x="302" y="266"/>
                </a:cubicBezTo>
                <a:lnTo>
                  <a:pt x="286" y="274"/>
                </a:lnTo>
                <a:lnTo>
                  <a:pt x="269" y="290"/>
                </a:lnTo>
                <a:lnTo>
                  <a:pt x="261" y="290"/>
                </a:lnTo>
                <a:lnTo>
                  <a:pt x="253" y="299"/>
                </a:lnTo>
                <a:lnTo>
                  <a:pt x="253" y="307"/>
                </a:lnTo>
                <a:lnTo>
                  <a:pt x="237" y="315"/>
                </a:lnTo>
                <a:lnTo>
                  <a:pt x="237" y="331"/>
                </a:lnTo>
                <a:lnTo>
                  <a:pt x="228" y="339"/>
                </a:lnTo>
                <a:lnTo>
                  <a:pt x="220" y="339"/>
                </a:lnTo>
                <a:lnTo>
                  <a:pt x="212" y="355"/>
                </a:lnTo>
                <a:lnTo>
                  <a:pt x="204" y="363"/>
                </a:lnTo>
                <a:cubicBezTo>
                  <a:pt x="196" y="363"/>
                  <a:pt x="188" y="371"/>
                  <a:pt x="188" y="371"/>
                </a:cubicBezTo>
                <a:lnTo>
                  <a:pt x="171" y="371"/>
                </a:lnTo>
                <a:cubicBezTo>
                  <a:pt x="171" y="371"/>
                  <a:pt x="163" y="371"/>
                  <a:pt x="155" y="379"/>
                </a:cubicBezTo>
                <a:lnTo>
                  <a:pt x="155" y="387"/>
                </a:lnTo>
                <a:cubicBezTo>
                  <a:pt x="155" y="395"/>
                  <a:pt x="163" y="403"/>
                  <a:pt x="163" y="403"/>
                </a:cubicBezTo>
                <a:lnTo>
                  <a:pt x="163" y="420"/>
                </a:lnTo>
                <a:cubicBezTo>
                  <a:pt x="163" y="420"/>
                  <a:pt x="155" y="420"/>
                  <a:pt x="155" y="428"/>
                </a:cubicBezTo>
                <a:lnTo>
                  <a:pt x="155" y="436"/>
                </a:lnTo>
                <a:lnTo>
                  <a:pt x="155" y="444"/>
                </a:lnTo>
                <a:lnTo>
                  <a:pt x="155" y="452"/>
                </a:lnTo>
                <a:cubicBezTo>
                  <a:pt x="155" y="452"/>
                  <a:pt x="155" y="460"/>
                  <a:pt x="147" y="468"/>
                </a:cubicBezTo>
                <a:lnTo>
                  <a:pt x="139" y="476"/>
                </a:lnTo>
                <a:lnTo>
                  <a:pt x="122" y="476"/>
                </a:lnTo>
                <a:cubicBezTo>
                  <a:pt x="122" y="484"/>
                  <a:pt x="106" y="484"/>
                  <a:pt x="106" y="484"/>
                </a:cubicBezTo>
                <a:lnTo>
                  <a:pt x="90" y="500"/>
                </a:lnTo>
                <a:lnTo>
                  <a:pt x="57" y="532"/>
                </a:lnTo>
                <a:lnTo>
                  <a:pt x="57" y="540"/>
                </a:lnTo>
                <a:lnTo>
                  <a:pt x="57" y="557"/>
                </a:lnTo>
                <a:cubicBezTo>
                  <a:pt x="57" y="565"/>
                  <a:pt x="49" y="573"/>
                  <a:pt x="49" y="573"/>
                </a:cubicBezTo>
                <a:lnTo>
                  <a:pt x="41" y="581"/>
                </a:lnTo>
                <a:lnTo>
                  <a:pt x="41" y="597"/>
                </a:lnTo>
                <a:lnTo>
                  <a:pt x="41" y="605"/>
                </a:lnTo>
                <a:lnTo>
                  <a:pt x="49" y="613"/>
                </a:lnTo>
                <a:lnTo>
                  <a:pt x="57" y="621"/>
                </a:lnTo>
                <a:lnTo>
                  <a:pt x="57" y="645"/>
                </a:lnTo>
                <a:lnTo>
                  <a:pt x="49" y="661"/>
                </a:lnTo>
                <a:lnTo>
                  <a:pt x="49" y="678"/>
                </a:lnTo>
                <a:lnTo>
                  <a:pt x="32" y="678"/>
                </a:lnTo>
                <a:cubicBezTo>
                  <a:pt x="32" y="678"/>
                  <a:pt x="24" y="686"/>
                  <a:pt x="16" y="686"/>
                </a:cubicBezTo>
                <a:lnTo>
                  <a:pt x="8" y="694"/>
                </a:lnTo>
                <a:lnTo>
                  <a:pt x="0" y="702"/>
                </a:lnTo>
                <a:lnTo>
                  <a:pt x="8" y="710"/>
                </a:lnTo>
                <a:lnTo>
                  <a:pt x="8" y="726"/>
                </a:lnTo>
                <a:lnTo>
                  <a:pt x="16" y="726"/>
                </a:lnTo>
                <a:lnTo>
                  <a:pt x="32" y="718"/>
                </a:lnTo>
                <a:lnTo>
                  <a:pt x="49" y="726"/>
                </a:lnTo>
                <a:lnTo>
                  <a:pt x="73" y="718"/>
                </a:lnTo>
                <a:cubicBezTo>
                  <a:pt x="73" y="718"/>
                  <a:pt x="72" y="710"/>
                  <a:pt x="81" y="702"/>
                </a:cubicBezTo>
                <a:cubicBezTo>
                  <a:pt x="89" y="694"/>
                  <a:pt x="98" y="694"/>
                  <a:pt x="98" y="694"/>
                </a:cubicBezTo>
                <a:lnTo>
                  <a:pt x="106" y="678"/>
                </a:lnTo>
                <a:lnTo>
                  <a:pt x="98" y="678"/>
                </a:lnTo>
                <a:lnTo>
                  <a:pt x="98" y="661"/>
                </a:lnTo>
                <a:lnTo>
                  <a:pt x="81" y="653"/>
                </a:lnTo>
                <a:lnTo>
                  <a:pt x="81" y="645"/>
                </a:lnTo>
                <a:cubicBezTo>
                  <a:pt x="90" y="637"/>
                  <a:pt x="98" y="621"/>
                  <a:pt x="98" y="621"/>
                </a:cubicBezTo>
                <a:lnTo>
                  <a:pt x="147" y="605"/>
                </a:lnTo>
                <a:lnTo>
                  <a:pt x="155" y="597"/>
                </a:lnTo>
                <a:lnTo>
                  <a:pt x="171" y="589"/>
                </a:lnTo>
                <a:lnTo>
                  <a:pt x="228" y="589"/>
                </a:lnTo>
                <a:lnTo>
                  <a:pt x="253" y="605"/>
                </a:lnTo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51" name="Freeform 43">
            <a:extLst>
              <a:ext uri="{FF2B5EF4-FFF2-40B4-BE49-F238E27FC236}">
                <a16:creationId xmlns:a16="http://schemas.microsoft.com/office/drawing/2014/main" id="{E876D3C7-5F82-A894-941F-22A8C40EBA01}"/>
              </a:ext>
            </a:extLst>
          </p:cNvPr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6605534" y="4370466"/>
            <a:ext cx="581401" cy="362243"/>
          </a:xfrm>
          <a:custGeom>
            <a:avLst/>
            <a:gdLst>
              <a:gd name="T0" fmla="*/ 269 w 1414"/>
              <a:gd name="T1" fmla="*/ 653 h 880"/>
              <a:gd name="T2" fmla="*/ 286 w 1414"/>
              <a:gd name="T3" fmla="*/ 734 h 880"/>
              <a:gd name="T4" fmla="*/ 335 w 1414"/>
              <a:gd name="T5" fmla="*/ 815 h 880"/>
              <a:gd name="T6" fmla="*/ 400 w 1414"/>
              <a:gd name="T7" fmla="*/ 831 h 880"/>
              <a:gd name="T8" fmla="*/ 482 w 1414"/>
              <a:gd name="T9" fmla="*/ 807 h 880"/>
              <a:gd name="T10" fmla="*/ 580 w 1414"/>
              <a:gd name="T11" fmla="*/ 839 h 880"/>
              <a:gd name="T12" fmla="*/ 637 w 1414"/>
              <a:gd name="T13" fmla="*/ 782 h 880"/>
              <a:gd name="T14" fmla="*/ 669 w 1414"/>
              <a:gd name="T15" fmla="*/ 710 h 880"/>
              <a:gd name="T16" fmla="*/ 710 w 1414"/>
              <a:gd name="T17" fmla="*/ 637 h 880"/>
              <a:gd name="T18" fmla="*/ 767 w 1414"/>
              <a:gd name="T19" fmla="*/ 645 h 880"/>
              <a:gd name="T20" fmla="*/ 792 w 1414"/>
              <a:gd name="T21" fmla="*/ 710 h 880"/>
              <a:gd name="T22" fmla="*/ 890 w 1414"/>
              <a:gd name="T23" fmla="*/ 758 h 880"/>
              <a:gd name="T24" fmla="*/ 914 w 1414"/>
              <a:gd name="T25" fmla="*/ 823 h 880"/>
              <a:gd name="T26" fmla="*/ 963 w 1414"/>
              <a:gd name="T27" fmla="*/ 871 h 880"/>
              <a:gd name="T28" fmla="*/ 963 w 1414"/>
              <a:gd name="T29" fmla="*/ 791 h 880"/>
              <a:gd name="T30" fmla="*/ 1012 w 1414"/>
              <a:gd name="T31" fmla="*/ 702 h 880"/>
              <a:gd name="T32" fmla="*/ 1021 w 1414"/>
              <a:gd name="T33" fmla="*/ 589 h 880"/>
              <a:gd name="T34" fmla="*/ 1094 w 1414"/>
              <a:gd name="T35" fmla="*/ 581 h 880"/>
              <a:gd name="T36" fmla="*/ 1159 w 1414"/>
              <a:gd name="T37" fmla="*/ 661 h 880"/>
              <a:gd name="T38" fmla="*/ 1217 w 1414"/>
              <a:gd name="T39" fmla="*/ 629 h 880"/>
              <a:gd name="T40" fmla="*/ 1274 w 1414"/>
              <a:gd name="T41" fmla="*/ 678 h 880"/>
              <a:gd name="T42" fmla="*/ 1290 w 1414"/>
              <a:gd name="T43" fmla="*/ 637 h 880"/>
              <a:gd name="T44" fmla="*/ 1274 w 1414"/>
              <a:gd name="T45" fmla="*/ 573 h 880"/>
              <a:gd name="T46" fmla="*/ 1290 w 1414"/>
              <a:gd name="T47" fmla="*/ 516 h 880"/>
              <a:gd name="T48" fmla="*/ 1364 w 1414"/>
              <a:gd name="T49" fmla="*/ 540 h 880"/>
              <a:gd name="T50" fmla="*/ 1404 w 1414"/>
              <a:gd name="T51" fmla="*/ 508 h 880"/>
              <a:gd name="T52" fmla="*/ 1380 w 1414"/>
              <a:gd name="T53" fmla="*/ 428 h 880"/>
              <a:gd name="T54" fmla="*/ 1372 w 1414"/>
              <a:gd name="T55" fmla="*/ 339 h 880"/>
              <a:gd name="T56" fmla="*/ 1315 w 1414"/>
              <a:gd name="T57" fmla="*/ 395 h 880"/>
              <a:gd name="T58" fmla="*/ 1217 w 1414"/>
              <a:gd name="T59" fmla="*/ 371 h 880"/>
              <a:gd name="T60" fmla="*/ 1094 w 1414"/>
              <a:gd name="T61" fmla="*/ 323 h 880"/>
              <a:gd name="T62" fmla="*/ 1086 w 1414"/>
              <a:gd name="T63" fmla="*/ 291 h 880"/>
              <a:gd name="T64" fmla="*/ 1135 w 1414"/>
              <a:gd name="T65" fmla="*/ 186 h 880"/>
              <a:gd name="T66" fmla="*/ 1110 w 1414"/>
              <a:gd name="T67" fmla="*/ 121 h 880"/>
              <a:gd name="T68" fmla="*/ 1029 w 1414"/>
              <a:gd name="T69" fmla="*/ 65 h 880"/>
              <a:gd name="T70" fmla="*/ 906 w 1414"/>
              <a:gd name="T71" fmla="*/ 65 h 880"/>
              <a:gd name="T72" fmla="*/ 874 w 1414"/>
              <a:gd name="T73" fmla="*/ 49 h 880"/>
              <a:gd name="T74" fmla="*/ 857 w 1414"/>
              <a:gd name="T75" fmla="*/ 16 h 880"/>
              <a:gd name="T76" fmla="*/ 825 w 1414"/>
              <a:gd name="T77" fmla="*/ 0 h 880"/>
              <a:gd name="T78" fmla="*/ 767 w 1414"/>
              <a:gd name="T79" fmla="*/ 57 h 880"/>
              <a:gd name="T80" fmla="*/ 800 w 1414"/>
              <a:gd name="T81" fmla="*/ 81 h 880"/>
              <a:gd name="T82" fmla="*/ 727 w 1414"/>
              <a:gd name="T83" fmla="*/ 89 h 880"/>
              <a:gd name="T84" fmla="*/ 620 w 1414"/>
              <a:gd name="T85" fmla="*/ 105 h 880"/>
              <a:gd name="T86" fmla="*/ 539 w 1414"/>
              <a:gd name="T87" fmla="*/ 97 h 880"/>
              <a:gd name="T88" fmla="*/ 482 w 1414"/>
              <a:gd name="T89" fmla="*/ 113 h 880"/>
              <a:gd name="T90" fmla="*/ 457 w 1414"/>
              <a:gd name="T91" fmla="*/ 153 h 880"/>
              <a:gd name="T92" fmla="*/ 392 w 1414"/>
              <a:gd name="T93" fmla="*/ 161 h 880"/>
              <a:gd name="T94" fmla="*/ 326 w 1414"/>
              <a:gd name="T95" fmla="*/ 145 h 880"/>
              <a:gd name="T96" fmla="*/ 294 w 1414"/>
              <a:gd name="T97" fmla="*/ 186 h 880"/>
              <a:gd name="T98" fmla="*/ 335 w 1414"/>
              <a:gd name="T99" fmla="*/ 210 h 880"/>
              <a:gd name="T100" fmla="*/ 269 w 1414"/>
              <a:gd name="T101" fmla="*/ 290 h 880"/>
              <a:gd name="T102" fmla="*/ 228 w 1414"/>
              <a:gd name="T103" fmla="*/ 339 h 880"/>
              <a:gd name="T104" fmla="*/ 155 w 1414"/>
              <a:gd name="T105" fmla="*/ 379 h 880"/>
              <a:gd name="T106" fmla="*/ 155 w 1414"/>
              <a:gd name="T107" fmla="*/ 444 h 880"/>
              <a:gd name="T108" fmla="*/ 90 w 1414"/>
              <a:gd name="T109" fmla="*/ 500 h 880"/>
              <a:gd name="T110" fmla="*/ 41 w 1414"/>
              <a:gd name="T111" fmla="*/ 597 h 880"/>
              <a:gd name="T112" fmla="*/ 49 w 1414"/>
              <a:gd name="T113" fmla="*/ 678 h 880"/>
              <a:gd name="T114" fmla="*/ 8 w 1414"/>
              <a:gd name="T115" fmla="*/ 726 h 880"/>
              <a:gd name="T116" fmla="*/ 98 w 1414"/>
              <a:gd name="T117" fmla="*/ 694 h 880"/>
              <a:gd name="T118" fmla="*/ 98 w 1414"/>
              <a:gd name="T119" fmla="*/ 621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14" h="880">
                <a:moveTo>
                  <a:pt x="253" y="605"/>
                </a:moveTo>
                <a:lnTo>
                  <a:pt x="269" y="613"/>
                </a:lnTo>
                <a:lnTo>
                  <a:pt x="269" y="629"/>
                </a:lnTo>
                <a:cubicBezTo>
                  <a:pt x="269" y="629"/>
                  <a:pt x="269" y="621"/>
                  <a:pt x="261" y="637"/>
                </a:cubicBezTo>
                <a:lnTo>
                  <a:pt x="253" y="645"/>
                </a:lnTo>
                <a:cubicBezTo>
                  <a:pt x="261" y="645"/>
                  <a:pt x="269" y="653"/>
                  <a:pt x="269" y="653"/>
                </a:cubicBezTo>
                <a:cubicBezTo>
                  <a:pt x="269" y="653"/>
                  <a:pt x="277" y="653"/>
                  <a:pt x="269" y="662"/>
                </a:cubicBezTo>
                <a:lnTo>
                  <a:pt x="269" y="686"/>
                </a:lnTo>
                <a:lnTo>
                  <a:pt x="269" y="702"/>
                </a:lnTo>
                <a:cubicBezTo>
                  <a:pt x="261" y="702"/>
                  <a:pt x="253" y="726"/>
                  <a:pt x="253" y="726"/>
                </a:cubicBezTo>
                <a:lnTo>
                  <a:pt x="253" y="734"/>
                </a:lnTo>
                <a:lnTo>
                  <a:pt x="286" y="734"/>
                </a:lnTo>
                <a:lnTo>
                  <a:pt x="286" y="758"/>
                </a:lnTo>
                <a:cubicBezTo>
                  <a:pt x="277" y="758"/>
                  <a:pt x="269" y="774"/>
                  <a:pt x="277" y="774"/>
                </a:cubicBezTo>
                <a:cubicBezTo>
                  <a:pt x="286" y="774"/>
                  <a:pt x="294" y="782"/>
                  <a:pt x="294" y="782"/>
                </a:cubicBezTo>
                <a:lnTo>
                  <a:pt x="302" y="791"/>
                </a:lnTo>
                <a:cubicBezTo>
                  <a:pt x="310" y="791"/>
                  <a:pt x="318" y="799"/>
                  <a:pt x="318" y="799"/>
                </a:cubicBezTo>
                <a:lnTo>
                  <a:pt x="335" y="815"/>
                </a:lnTo>
                <a:cubicBezTo>
                  <a:pt x="335" y="823"/>
                  <a:pt x="326" y="831"/>
                  <a:pt x="326" y="831"/>
                </a:cubicBezTo>
                <a:lnTo>
                  <a:pt x="343" y="847"/>
                </a:lnTo>
                <a:cubicBezTo>
                  <a:pt x="343" y="847"/>
                  <a:pt x="343" y="855"/>
                  <a:pt x="351" y="855"/>
                </a:cubicBezTo>
                <a:cubicBezTo>
                  <a:pt x="359" y="855"/>
                  <a:pt x="367" y="847"/>
                  <a:pt x="367" y="847"/>
                </a:cubicBezTo>
                <a:lnTo>
                  <a:pt x="384" y="839"/>
                </a:lnTo>
                <a:cubicBezTo>
                  <a:pt x="384" y="839"/>
                  <a:pt x="392" y="831"/>
                  <a:pt x="400" y="831"/>
                </a:cubicBezTo>
                <a:cubicBezTo>
                  <a:pt x="408" y="831"/>
                  <a:pt x="416" y="839"/>
                  <a:pt x="424" y="839"/>
                </a:cubicBezTo>
                <a:lnTo>
                  <a:pt x="457" y="839"/>
                </a:lnTo>
                <a:lnTo>
                  <a:pt x="457" y="823"/>
                </a:lnTo>
                <a:cubicBezTo>
                  <a:pt x="457" y="823"/>
                  <a:pt x="457" y="815"/>
                  <a:pt x="465" y="815"/>
                </a:cubicBezTo>
                <a:lnTo>
                  <a:pt x="482" y="815"/>
                </a:lnTo>
                <a:cubicBezTo>
                  <a:pt x="482" y="815"/>
                  <a:pt x="473" y="807"/>
                  <a:pt x="482" y="807"/>
                </a:cubicBezTo>
                <a:cubicBezTo>
                  <a:pt x="482" y="807"/>
                  <a:pt x="498" y="807"/>
                  <a:pt x="506" y="815"/>
                </a:cubicBezTo>
                <a:cubicBezTo>
                  <a:pt x="506" y="815"/>
                  <a:pt x="522" y="807"/>
                  <a:pt x="522" y="815"/>
                </a:cubicBezTo>
                <a:lnTo>
                  <a:pt x="531" y="823"/>
                </a:lnTo>
                <a:cubicBezTo>
                  <a:pt x="531" y="823"/>
                  <a:pt x="539" y="839"/>
                  <a:pt x="539" y="831"/>
                </a:cubicBezTo>
                <a:lnTo>
                  <a:pt x="555" y="831"/>
                </a:lnTo>
                <a:cubicBezTo>
                  <a:pt x="555" y="839"/>
                  <a:pt x="571" y="839"/>
                  <a:pt x="580" y="839"/>
                </a:cubicBezTo>
                <a:lnTo>
                  <a:pt x="580" y="831"/>
                </a:lnTo>
                <a:cubicBezTo>
                  <a:pt x="580" y="823"/>
                  <a:pt x="571" y="815"/>
                  <a:pt x="588" y="815"/>
                </a:cubicBezTo>
                <a:cubicBezTo>
                  <a:pt x="596" y="815"/>
                  <a:pt x="596" y="807"/>
                  <a:pt x="604" y="807"/>
                </a:cubicBezTo>
                <a:lnTo>
                  <a:pt x="620" y="807"/>
                </a:lnTo>
                <a:lnTo>
                  <a:pt x="629" y="799"/>
                </a:lnTo>
                <a:cubicBezTo>
                  <a:pt x="637" y="791"/>
                  <a:pt x="637" y="782"/>
                  <a:pt x="637" y="782"/>
                </a:cubicBezTo>
                <a:lnTo>
                  <a:pt x="637" y="766"/>
                </a:lnTo>
                <a:lnTo>
                  <a:pt x="645" y="758"/>
                </a:lnTo>
                <a:lnTo>
                  <a:pt x="653" y="750"/>
                </a:lnTo>
                <a:lnTo>
                  <a:pt x="661" y="734"/>
                </a:lnTo>
                <a:lnTo>
                  <a:pt x="661" y="726"/>
                </a:lnTo>
                <a:lnTo>
                  <a:pt x="669" y="710"/>
                </a:lnTo>
                <a:lnTo>
                  <a:pt x="661" y="686"/>
                </a:lnTo>
                <a:lnTo>
                  <a:pt x="653" y="678"/>
                </a:lnTo>
                <a:lnTo>
                  <a:pt x="661" y="670"/>
                </a:lnTo>
                <a:cubicBezTo>
                  <a:pt x="661" y="670"/>
                  <a:pt x="669" y="661"/>
                  <a:pt x="678" y="661"/>
                </a:cubicBezTo>
                <a:cubicBezTo>
                  <a:pt x="686" y="661"/>
                  <a:pt x="686" y="661"/>
                  <a:pt x="686" y="653"/>
                </a:cubicBezTo>
                <a:cubicBezTo>
                  <a:pt x="694" y="653"/>
                  <a:pt x="710" y="637"/>
                  <a:pt x="710" y="637"/>
                </a:cubicBezTo>
                <a:lnTo>
                  <a:pt x="718" y="637"/>
                </a:lnTo>
                <a:lnTo>
                  <a:pt x="718" y="621"/>
                </a:lnTo>
                <a:cubicBezTo>
                  <a:pt x="718" y="621"/>
                  <a:pt x="718" y="613"/>
                  <a:pt x="727" y="613"/>
                </a:cubicBezTo>
                <a:cubicBezTo>
                  <a:pt x="735" y="605"/>
                  <a:pt x="767" y="597"/>
                  <a:pt x="767" y="597"/>
                </a:cubicBezTo>
                <a:cubicBezTo>
                  <a:pt x="767" y="597"/>
                  <a:pt x="759" y="613"/>
                  <a:pt x="759" y="621"/>
                </a:cubicBezTo>
                <a:cubicBezTo>
                  <a:pt x="759" y="629"/>
                  <a:pt x="767" y="645"/>
                  <a:pt x="767" y="645"/>
                </a:cubicBezTo>
                <a:lnTo>
                  <a:pt x="759" y="661"/>
                </a:lnTo>
                <a:lnTo>
                  <a:pt x="759" y="678"/>
                </a:lnTo>
                <a:lnTo>
                  <a:pt x="767" y="686"/>
                </a:lnTo>
                <a:lnTo>
                  <a:pt x="767" y="694"/>
                </a:lnTo>
                <a:cubicBezTo>
                  <a:pt x="776" y="694"/>
                  <a:pt x="784" y="710"/>
                  <a:pt x="784" y="710"/>
                </a:cubicBezTo>
                <a:lnTo>
                  <a:pt x="792" y="710"/>
                </a:lnTo>
                <a:cubicBezTo>
                  <a:pt x="792" y="710"/>
                  <a:pt x="800" y="718"/>
                  <a:pt x="800" y="726"/>
                </a:cubicBezTo>
                <a:cubicBezTo>
                  <a:pt x="800" y="726"/>
                  <a:pt x="808" y="734"/>
                  <a:pt x="816" y="742"/>
                </a:cubicBezTo>
                <a:lnTo>
                  <a:pt x="841" y="742"/>
                </a:lnTo>
                <a:cubicBezTo>
                  <a:pt x="841" y="750"/>
                  <a:pt x="857" y="750"/>
                  <a:pt x="865" y="750"/>
                </a:cubicBezTo>
                <a:cubicBezTo>
                  <a:pt x="865" y="758"/>
                  <a:pt x="882" y="750"/>
                  <a:pt x="882" y="750"/>
                </a:cubicBezTo>
                <a:lnTo>
                  <a:pt x="890" y="758"/>
                </a:lnTo>
                <a:lnTo>
                  <a:pt x="898" y="758"/>
                </a:lnTo>
                <a:cubicBezTo>
                  <a:pt x="898" y="758"/>
                  <a:pt x="906" y="758"/>
                  <a:pt x="906" y="766"/>
                </a:cubicBezTo>
                <a:lnTo>
                  <a:pt x="898" y="774"/>
                </a:lnTo>
                <a:cubicBezTo>
                  <a:pt x="890" y="782"/>
                  <a:pt x="882" y="799"/>
                  <a:pt x="882" y="799"/>
                </a:cubicBezTo>
                <a:lnTo>
                  <a:pt x="906" y="815"/>
                </a:lnTo>
                <a:cubicBezTo>
                  <a:pt x="906" y="815"/>
                  <a:pt x="914" y="815"/>
                  <a:pt x="914" y="823"/>
                </a:cubicBezTo>
                <a:cubicBezTo>
                  <a:pt x="923" y="831"/>
                  <a:pt x="923" y="839"/>
                  <a:pt x="923" y="839"/>
                </a:cubicBezTo>
                <a:lnTo>
                  <a:pt x="923" y="863"/>
                </a:lnTo>
                <a:cubicBezTo>
                  <a:pt x="923" y="863"/>
                  <a:pt x="906" y="871"/>
                  <a:pt x="923" y="871"/>
                </a:cubicBezTo>
                <a:lnTo>
                  <a:pt x="939" y="871"/>
                </a:lnTo>
                <a:cubicBezTo>
                  <a:pt x="947" y="871"/>
                  <a:pt x="955" y="879"/>
                  <a:pt x="955" y="879"/>
                </a:cubicBezTo>
                <a:lnTo>
                  <a:pt x="963" y="871"/>
                </a:lnTo>
                <a:cubicBezTo>
                  <a:pt x="963" y="871"/>
                  <a:pt x="955" y="855"/>
                  <a:pt x="972" y="847"/>
                </a:cubicBezTo>
                <a:lnTo>
                  <a:pt x="980" y="839"/>
                </a:lnTo>
                <a:cubicBezTo>
                  <a:pt x="980" y="839"/>
                  <a:pt x="955" y="831"/>
                  <a:pt x="955" y="823"/>
                </a:cubicBezTo>
                <a:cubicBezTo>
                  <a:pt x="955" y="823"/>
                  <a:pt x="947" y="823"/>
                  <a:pt x="955" y="815"/>
                </a:cubicBezTo>
                <a:cubicBezTo>
                  <a:pt x="955" y="807"/>
                  <a:pt x="947" y="807"/>
                  <a:pt x="955" y="799"/>
                </a:cubicBezTo>
                <a:cubicBezTo>
                  <a:pt x="955" y="799"/>
                  <a:pt x="963" y="799"/>
                  <a:pt x="963" y="791"/>
                </a:cubicBezTo>
                <a:lnTo>
                  <a:pt x="955" y="774"/>
                </a:lnTo>
                <a:lnTo>
                  <a:pt x="972" y="766"/>
                </a:lnTo>
                <a:lnTo>
                  <a:pt x="972" y="734"/>
                </a:lnTo>
                <a:cubicBezTo>
                  <a:pt x="980" y="734"/>
                  <a:pt x="988" y="718"/>
                  <a:pt x="988" y="718"/>
                </a:cubicBezTo>
                <a:lnTo>
                  <a:pt x="1004" y="718"/>
                </a:lnTo>
                <a:cubicBezTo>
                  <a:pt x="1004" y="710"/>
                  <a:pt x="1012" y="702"/>
                  <a:pt x="1012" y="702"/>
                </a:cubicBezTo>
                <a:lnTo>
                  <a:pt x="1021" y="694"/>
                </a:lnTo>
                <a:lnTo>
                  <a:pt x="1021" y="678"/>
                </a:lnTo>
                <a:cubicBezTo>
                  <a:pt x="1021" y="670"/>
                  <a:pt x="1029" y="661"/>
                  <a:pt x="1029" y="661"/>
                </a:cubicBezTo>
                <a:lnTo>
                  <a:pt x="1029" y="613"/>
                </a:lnTo>
                <a:lnTo>
                  <a:pt x="1021" y="597"/>
                </a:lnTo>
                <a:lnTo>
                  <a:pt x="1021" y="589"/>
                </a:lnTo>
                <a:lnTo>
                  <a:pt x="1037" y="573"/>
                </a:lnTo>
                <a:cubicBezTo>
                  <a:pt x="1037" y="573"/>
                  <a:pt x="1045" y="565"/>
                  <a:pt x="1045" y="573"/>
                </a:cubicBezTo>
                <a:cubicBezTo>
                  <a:pt x="1053" y="573"/>
                  <a:pt x="1061" y="581"/>
                  <a:pt x="1061" y="581"/>
                </a:cubicBezTo>
                <a:lnTo>
                  <a:pt x="1070" y="581"/>
                </a:lnTo>
                <a:lnTo>
                  <a:pt x="1086" y="573"/>
                </a:lnTo>
                <a:cubicBezTo>
                  <a:pt x="1086" y="573"/>
                  <a:pt x="1094" y="573"/>
                  <a:pt x="1094" y="581"/>
                </a:cubicBezTo>
                <a:cubicBezTo>
                  <a:pt x="1086" y="581"/>
                  <a:pt x="1078" y="589"/>
                  <a:pt x="1086" y="597"/>
                </a:cubicBezTo>
                <a:cubicBezTo>
                  <a:pt x="1086" y="597"/>
                  <a:pt x="1094" y="605"/>
                  <a:pt x="1094" y="613"/>
                </a:cubicBezTo>
                <a:lnTo>
                  <a:pt x="1094" y="637"/>
                </a:lnTo>
                <a:cubicBezTo>
                  <a:pt x="1094" y="645"/>
                  <a:pt x="1110" y="645"/>
                  <a:pt x="1110" y="653"/>
                </a:cubicBezTo>
                <a:cubicBezTo>
                  <a:pt x="1119" y="653"/>
                  <a:pt x="1102" y="661"/>
                  <a:pt x="1127" y="661"/>
                </a:cubicBezTo>
                <a:cubicBezTo>
                  <a:pt x="1143" y="661"/>
                  <a:pt x="1159" y="670"/>
                  <a:pt x="1159" y="661"/>
                </a:cubicBezTo>
                <a:cubicBezTo>
                  <a:pt x="1168" y="661"/>
                  <a:pt x="1168" y="661"/>
                  <a:pt x="1168" y="653"/>
                </a:cubicBezTo>
                <a:cubicBezTo>
                  <a:pt x="1159" y="645"/>
                  <a:pt x="1168" y="637"/>
                  <a:pt x="1168" y="637"/>
                </a:cubicBezTo>
                <a:lnTo>
                  <a:pt x="1176" y="637"/>
                </a:lnTo>
                <a:cubicBezTo>
                  <a:pt x="1184" y="637"/>
                  <a:pt x="1184" y="645"/>
                  <a:pt x="1192" y="637"/>
                </a:cubicBezTo>
                <a:lnTo>
                  <a:pt x="1200" y="629"/>
                </a:lnTo>
                <a:lnTo>
                  <a:pt x="1217" y="629"/>
                </a:lnTo>
                <a:cubicBezTo>
                  <a:pt x="1217" y="629"/>
                  <a:pt x="1208" y="621"/>
                  <a:pt x="1225" y="621"/>
                </a:cubicBezTo>
                <a:lnTo>
                  <a:pt x="1249" y="621"/>
                </a:lnTo>
                <a:lnTo>
                  <a:pt x="1249" y="637"/>
                </a:lnTo>
                <a:lnTo>
                  <a:pt x="1257" y="645"/>
                </a:lnTo>
                <a:cubicBezTo>
                  <a:pt x="1257" y="645"/>
                  <a:pt x="1249" y="645"/>
                  <a:pt x="1257" y="661"/>
                </a:cubicBezTo>
                <a:cubicBezTo>
                  <a:pt x="1266" y="670"/>
                  <a:pt x="1274" y="670"/>
                  <a:pt x="1274" y="678"/>
                </a:cubicBezTo>
                <a:cubicBezTo>
                  <a:pt x="1282" y="678"/>
                  <a:pt x="1274" y="694"/>
                  <a:pt x="1274" y="694"/>
                </a:cubicBezTo>
                <a:lnTo>
                  <a:pt x="1290" y="694"/>
                </a:lnTo>
                <a:cubicBezTo>
                  <a:pt x="1290" y="686"/>
                  <a:pt x="1290" y="686"/>
                  <a:pt x="1298" y="686"/>
                </a:cubicBezTo>
                <a:cubicBezTo>
                  <a:pt x="1298" y="686"/>
                  <a:pt x="1306" y="678"/>
                  <a:pt x="1306" y="670"/>
                </a:cubicBezTo>
                <a:cubicBezTo>
                  <a:pt x="1306" y="670"/>
                  <a:pt x="1306" y="645"/>
                  <a:pt x="1298" y="645"/>
                </a:cubicBezTo>
                <a:cubicBezTo>
                  <a:pt x="1298" y="645"/>
                  <a:pt x="1290" y="645"/>
                  <a:pt x="1290" y="637"/>
                </a:cubicBezTo>
                <a:cubicBezTo>
                  <a:pt x="1282" y="629"/>
                  <a:pt x="1282" y="629"/>
                  <a:pt x="1290" y="629"/>
                </a:cubicBezTo>
                <a:lnTo>
                  <a:pt x="1298" y="621"/>
                </a:lnTo>
                <a:cubicBezTo>
                  <a:pt x="1298" y="621"/>
                  <a:pt x="1306" y="613"/>
                  <a:pt x="1298" y="613"/>
                </a:cubicBezTo>
                <a:cubicBezTo>
                  <a:pt x="1298" y="605"/>
                  <a:pt x="1290" y="597"/>
                  <a:pt x="1290" y="597"/>
                </a:cubicBezTo>
                <a:cubicBezTo>
                  <a:pt x="1290" y="597"/>
                  <a:pt x="1282" y="605"/>
                  <a:pt x="1274" y="597"/>
                </a:cubicBezTo>
                <a:lnTo>
                  <a:pt x="1274" y="573"/>
                </a:lnTo>
                <a:lnTo>
                  <a:pt x="1266" y="573"/>
                </a:lnTo>
                <a:lnTo>
                  <a:pt x="1274" y="557"/>
                </a:lnTo>
                <a:lnTo>
                  <a:pt x="1274" y="549"/>
                </a:lnTo>
                <a:cubicBezTo>
                  <a:pt x="1274" y="549"/>
                  <a:pt x="1274" y="540"/>
                  <a:pt x="1282" y="540"/>
                </a:cubicBezTo>
                <a:lnTo>
                  <a:pt x="1282" y="524"/>
                </a:lnTo>
                <a:cubicBezTo>
                  <a:pt x="1290" y="524"/>
                  <a:pt x="1290" y="516"/>
                  <a:pt x="1290" y="516"/>
                </a:cubicBezTo>
                <a:lnTo>
                  <a:pt x="1315" y="516"/>
                </a:lnTo>
                <a:cubicBezTo>
                  <a:pt x="1315" y="516"/>
                  <a:pt x="1315" y="508"/>
                  <a:pt x="1323" y="508"/>
                </a:cubicBezTo>
                <a:lnTo>
                  <a:pt x="1331" y="516"/>
                </a:lnTo>
                <a:lnTo>
                  <a:pt x="1331" y="524"/>
                </a:lnTo>
                <a:lnTo>
                  <a:pt x="1355" y="540"/>
                </a:lnTo>
                <a:lnTo>
                  <a:pt x="1364" y="540"/>
                </a:lnTo>
                <a:cubicBezTo>
                  <a:pt x="1364" y="540"/>
                  <a:pt x="1355" y="540"/>
                  <a:pt x="1364" y="540"/>
                </a:cubicBezTo>
                <a:cubicBezTo>
                  <a:pt x="1364" y="549"/>
                  <a:pt x="1388" y="540"/>
                  <a:pt x="1388" y="540"/>
                </a:cubicBezTo>
                <a:lnTo>
                  <a:pt x="1396" y="540"/>
                </a:lnTo>
                <a:lnTo>
                  <a:pt x="1396" y="532"/>
                </a:lnTo>
                <a:cubicBezTo>
                  <a:pt x="1404" y="532"/>
                  <a:pt x="1404" y="524"/>
                  <a:pt x="1404" y="516"/>
                </a:cubicBezTo>
                <a:cubicBezTo>
                  <a:pt x="1404" y="516"/>
                  <a:pt x="1413" y="516"/>
                  <a:pt x="1404" y="508"/>
                </a:cubicBezTo>
                <a:cubicBezTo>
                  <a:pt x="1388" y="500"/>
                  <a:pt x="1380" y="500"/>
                  <a:pt x="1380" y="500"/>
                </a:cubicBezTo>
                <a:cubicBezTo>
                  <a:pt x="1380" y="500"/>
                  <a:pt x="1364" y="484"/>
                  <a:pt x="1372" y="484"/>
                </a:cubicBezTo>
                <a:cubicBezTo>
                  <a:pt x="1380" y="476"/>
                  <a:pt x="1388" y="468"/>
                  <a:pt x="1388" y="468"/>
                </a:cubicBezTo>
                <a:lnTo>
                  <a:pt x="1380" y="452"/>
                </a:lnTo>
                <a:lnTo>
                  <a:pt x="1388" y="444"/>
                </a:lnTo>
                <a:lnTo>
                  <a:pt x="1380" y="428"/>
                </a:lnTo>
                <a:lnTo>
                  <a:pt x="1388" y="420"/>
                </a:lnTo>
                <a:cubicBezTo>
                  <a:pt x="1388" y="411"/>
                  <a:pt x="1396" y="387"/>
                  <a:pt x="1396" y="387"/>
                </a:cubicBezTo>
                <a:lnTo>
                  <a:pt x="1396" y="371"/>
                </a:lnTo>
                <a:lnTo>
                  <a:pt x="1388" y="363"/>
                </a:lnTo>
                <a:lnTo>
                  <a:pt x="1380" y="355"/>
                </a:lnTo>
                <a:lnTo>
                  <a:pt x="1372" y="339"/>
                </a:lnTo>
                <a:cubicBezTo>
                  <a:pt x="1364" y="347"/>
                  <a:pt x="1355" y="347"/>
                  <a:pt x="1355" y="347"/>
                </a:cubicBezTo>
                <a:lnTo>
                  <a:pt x="1355" y="363"/>
                </a:lnTo>
                <a:cubicBezTo>
                  <a:pt x="1347" y="371"/>
                  <a:pt x="1339" y="371"/>
                  <a:pt x="1339" y="371"/>
                </a:cubicBezTo>
                <a:lnTo>
                  <a:pt x="1331" y="371"/>
                </a:lnTo>
                <a:lnTo>
                  <a:pt x="1323" y="387"/>
                </a:lnTo>
                <a:lnTo>
                  <a:pt x="1315" y="395"/>
                </a:lnTo>
                <a:cubicBezTo>
                  <a:pt x="1315" y="395"/>
                  <a:pt x="1298" y="403"/>
                  <a:pt x="1290" y="403"/>
                </a:cubicBezTo>
                <a:lnTo>
                  <a:pt x="1274" y="403"/>
                </a:lnTo>
                <a:lnTo>
                  <a:pt x="1266" y="395"/>
                </a:lnTo>
                <a:lnTo>
                  <a:pt x="1241" y="387"/>
                </a:lnTo>
                <a:lnTo>
                  <a:pt x="1225" y="379"/>
                </a:lnTo>
                <a:lnTo>
                  <a:pt x="1217" y="371"/>
                </a:lnTo>
                <a:lnTo>
                  <a:pt x="1217" y="355"/>
                </a:lnTo>
                <a:lnTo>
                  <a:pt x="1200" y="339"/>
                </a:lnTo>
                <a:lnTo>
                  <a:pt x="1168" y="331"/>
                </a:lnTo>
                <a:lnTo>
                  <a:pt x="1143" y="323"/>
                </a:lnTo>
                <a:lnTo>
                  <a:pt x="1127" y="323"/>
                </a:lnTo>
                <a:lnTo>
                  <a:pt x="1094" y="323"/>
                </a:lnTo>
                <a:lnTo>
                  <a:pt x="1086" y="323"/>
                </a:lnTo>
                <a:lnTo>
                  <a:pt x="1078" y="323"/>
                </a:lnTo>
                <a:lnTo>
                  <a:pt x="1086" y="307"/>
                </a:lnTo>
                <a:lnTo>
                  <a:pt x="1094" y="307"/>
                </a:lnTo>
                <a:lnTo>
                  <a:pt x="1094" y="299"/>
                </a:lnTo>
                <a:lnTo>
                  <a:pt x="1086" y="291"/>
                </a:lnTo>
                <a:lnTo>
                  <a:pt x="1086" y="266"/>
                </a:lnTo>
                <a:lnTo>
                  <a:pt x="1094" y="242"/>
                </a:lnTo>
                <a:lnTo>
                  <a:pt x="1110" y="226"/>
                </a:lnTo>
                <a:cubicBezTo>
                  <a:pt x="1110" y="226"/>
                  <a:pt x="1110" y="210"/>
                  <a:pt x="1119" y="210"/>
                </a:cubicBezTo>
                <a:lnTo>
                  <a:pt x="1119" y="194"/>
                </a:lnTo>
                <a:lnTo>
                  <a:pt x="1135" y="186"/>
                </a:lnTo>
                <a:lnTo>
                  <a:pt x="1143" y="178"/>
                </a:lnTo>
                <a:cubicBezTo>
                  <a:pt x="1143" y="170"/>
                  <a:pt x="1135" y="162"/>
                  <a:pt x="1135" y="162"/>
                </a:cubicBezTo>
                <a:cubicBezTo>
                  <a:pt x="1135" y="153"/>
                  <a:pt x="1143" y="145"/>
                  <a:pt x="1143" y="145"/>
                </a:cubicBezTo>
                <a:cubicBezTo>
                  <a:pt x="1135" y="145"/>
                  <a:pt x="1135" y="137"/>
                  <a:pt x="1127" y="137"/>
                </a:cubicBezTo>
                <a:cubicBezTo>
                  <a:pt x="1127" y="137"/>
                  <a:pt x="1119" y="137"/>
                  <a:pt x="1119" y="129"/>
                </a:cubicBezTo>
                <a:lnTo>
                  <a:pt x="1110" y="121"/>
                </a:lnTo>
                <a:cubicBezTo>
                  <a:pt x="1110" y="121"/>
                  <a:pt x="1110" y="105"/>
                  <a:pt x="1102" y="105"/>
                </a:cubicBezTo>
                <a:cubicBezTo>
                  <a:pt x="1102" y="105"/>
                  <a:pt x="1094" y="105"/>
                  <a:pt x="1086" y="97"/>
                </a:cubicBezTo>
                <a:cubicBezTo>
                  <a:pt x="1078" y="97"/>
                  <a:pt x="1070" y="89"/>
                  <a:pt x="1070" y="89"/>
                </a:cubicBezTo>
                <a:cubicBezTo>
                  <a:pt x="1061" y="89"/>
                  <a:pt x="1045" y="73"/>
                  <a:pt x="1045" y="73"/>
                </a:cubicBezTo>
                <a:lnTo>
                  <a:pt x="1037" y="73"/>
                </a:lnTo>
                <a:lnTo>
                  <a:pt x="1029" y="65"/>
                </a:lnTo>
                <a:lnTo>
                  <a:pt x="1021" y="65"/>
                </a:lnTo>
                <a:cubicBezTo>
                  <a:pt x="1012" y="65"/>
                  <a:pt x="1012" y="65"/>
                  <a:pt x="1004" y="57"/>
                </a:cubicBezTo>
                <a:lnTo>
                  <a:pt x="980" y="57"/>
                </a:lnTo>
                <a:lnTo>
                  <a:pt x="963" y="57"/>
                </a:lnTo>
                <a:cubicBezTo>
                  <a:pt x="963" y="57"/>
                  <a:pt x="955" y="49"/>
                  <a:pt x="939" y="49"/>
                </a:cubicBezTo>
                <a:cubicBezTo>
                  <a:pt x="931" y="57"/>
                  <a:pt x="914" y="65"/>
                  <a:pt x="906" y="65"/>
                </a:cubicBezTo>
                <a:lnTo>
                  <a:pt x="898" y="57"/>
                </a:lnTo>
                <a:lnTo>
                  <a:pt x="898" y="49"/>
                </a:lnTo>
                <a:cubicBezTo>
                  <a:pt x="898" y="49"/>
                  <a:pt x="890" y="40"/>
                  <a:pt x="882" y="32"/>
                </a:cubicBezTo>
                <a:lnTo>
                  <a:pt x="874" y="32"/>
                </a:lnTo>
                <a:lnTo>
                  <a:pt x="874" y="40"/>
                </a:lnTo>
                <a:cubicBezTo>
                  <a:pt x="874" y="49"/>
                  <a:pt x="890" y="49"/>
                  <a:pt x="874" y="49"/>
                </a:cubicBezTo>
                <a:cubicBezTo>
                  <a:pt x="865" y="40"/>
                  <a:pt x="857" y="40"/>
                  <a:pt x="857" y="40"/>
                </a:cubicBezTo>
                <a:lnTo>
                  <a:pt x="833" y="49"/>
                </a:lnTo>
                <a:lnTo>
                  <a:pt x="841" y="40"/>
                </a:lnTo>
                <a:lnTo>
                  <a:pt x="849" y="40"/>
                </a:lnTo>
                <a:lnTo>
                  <a:pt x="849" y="24"/>
                </a:lnTo>
                <a:cubicBezTo>
                  <a:pt x="857" y="24"/>
                  <a:pt x="865" y="16"/>
                  <a:pt x="857" y="16"/>
                </a:cubicBezTo>
                <a:lnTo>
                  <a:pt x="841" y="16"/>
                </a:lnTo>
                <a:lnTo>
                  <a:pt x="841" y="8"/>
                </a:lnTo>
                <a:lnTo>
                  <a:pt x="833" y="0"/>
                </a:lnTo>
                <a:lnTo>
                  <a:pt x="833" y="16"/>
                </a:lnTo>
                <a:cubicBezTo>
                  <a:pt x="825" y="16"/>
                  <a:pt x="825" y="16"/>
                  <a:pt x="825" y="8"/>
                </a:cubicBezTo>
                <a:lnTo>
                  <a:pt x="825" y="0"/>
                </a:lnTo>
                <a:lnTo>
                  <a:pt x="808" y="0"/>
                </a:lnTo>
                <a:cubicBezTo>
                  <a:pt x="808" y="0"/>
                  <a:pt x="816" y="8"/>
                  <a:pt x="800" y="8"/>
                </a:cubicBezTo>
                <a:cubicBezTo>
                  <a:pt x="792" y="8"/>
                  <a:pt x="784" y="16"/>
                  <a:pt x="776" y="16"/>
                </a:cubicBezTo>
                <a:cubicBezTo>
                  <a:pt x="767" y="24"/>
                  <a:pt x="767" y="32"/>
                  <a:pt x="767" y="32"/>
                </a:cubicBezTo>
                <a:cubicBezTo>
                  <a:pt x="767" y="40"/>
                  <a:pt x="751" y="40"/>
                  <a:pt x="751" y="49"/>
                </a:cubicBezTo>
                <a:cubicBezTo>
                  <a:pt x="759" y="49"/>
                  <a:pt x="751" y="49"/>
                  <a:pt x="767" y="57"/>
                </a:cubicBezTo>
                <a:lnTo>
                  <a:pt x="784" y="57"/>
                </a:lnTo>
                <a:cubicBezTo>
                  <a:pt x="792" y="65"/>
                  <a:pt x="800" y="57"/>
                  <a:pt x="800" y="57"/>
                </a:cubicBezTo>
                <a:lnTo>
                  <a:pt x="808" y="65"/>
                </a:lnTo>
                <a:cubicBezTo>
                  <a:pt x="808" y="65"/>
                  <a:pt x="816" y="57"/>
                  <a:pt x="816" y="65"/>
                </a:cubicBezTo>
                <a:cubicBezTo>
                  <a:pt x="816" y="73"/>
                  <a:pt x="825" y="81"/>
                  <a:pt x="816" y="81"/>
                </a:cubicBezTo>
                <a:cubicBezTo>
                  <a:pt x="808" y="81"/>
                  <a:pt x="800" y="89"/>
                  <a:pt x="800" y="81"/>
                </a:cubicBezTo>
                <a:cubicBezTo>
                  <a:pt x="800" y="81"/>
                  <a:pt x="800" y="73"/>
                  <a:pt x="792" y="73"/>
                </a:cubicBezTo>
                <a:lnTo>
                  <a:pt x="784" y="73"/>
                </a:lnTo>
                <a:lnTo>
                  <a:pt x="776" y="89"/>
                </a:lnTo>
                <a:cubicBezTo>
                  <a:pt x="776" y="89"/>
                  <a:pt x="776" y="97"/>
                  <a:pt x="767" y="97"/>
                </a:cubicBezTo>
                <a:lnTo>
                  <a:pt x="751" y="97"/>
                </a:lnTo>
                <a:cubicBezTo>
                  <a:pt x="735" y="97"/>
                  <a:pt x="735" y="89"/>
                  <a:pt x="727" y="89"/>
                </a:cubicBezTo>
                <a:lnTo>
                  <a:pt x="718" y="89"/>
                </a:lnTo>
                <a:cubicBezTo>
                  <a:pt x="718" y="89"/>
                  <a:pt x="702" y="73"/>
                  <a:pt x="694" y="89"/>
                </a:cubicBezTo>
                <a:cubicBezTo>
                  <a:pt x="686" y="97"/>
                  <a:pt x="678" y="105"/>
                  <a:pt x="678" y="105"/>
                </a:cubicBezTo>
                <a:lnTo>
                  <a:pt x="653" y="105"/>
                </a:lnTo>
                <a:lnTo>
                  <a:pt x="637" y="105"/>
                </a:lnTo>
                <a:lnTo>
                  <a:pt x="620" y="105"/>
                </a:lnTo>
                <a:cubicBezTo>
                  <a:pt x="612" y="113"/>
                  <a:pt x="604" y="89"/>
                  <a:pt x="604" y="89"/>
                </a:cubicBezTo>
                <a:cubicBezTo>
                  <a:pt x="604" y="89"/>
                  <a:pt x="612" y="73"/>
                  <a:pt x="588" y="89"/>
                </a:cubicBezTo>
                <a:cubicBezTo>
                  <a:pt x="563" y="105"/>
                  <a:pt x="555" y="105"/>
                  <a:pt x="555" y="105"/>
                </a:cubicBezTo>
                <a:cubicBezTo>
                  <a:pt x="547" y="105"/>
                  <a:pt x="539" y="113"/>
                  <a:pt x="539" y="113"/>
                </a:cubicBezTo>
                <a:lnTo>
                  <a:pt x="531" y="105"/>
                </a:lnTo>
                <a:cubicBezTo>
                  <a:pt x="539" y="105"/>
                  <a:pt x="539" y="97"/>
                  <a:pt x="539" y="97"/>
                </a:cubicBezTo>
                <a:lnTo>
                  <a:pt x="531" y="89"/>
                </a:lnTo>
                <a:lnTo>
                  <a:pt x="506" y="97"/>
                </a:lnTo>
                <a:cubicBezTo>
                  <a:pt x="506" y="97"/>
                  <a:pt x="514" y="97"/>
                  <a:pt x="506" y="97"/>
                </a:cubicBezTo>
                <a:lnTo>
                  <a:pt x="490" y="97"/>
                </a:lnTo>
                <a:lnTo>
                  <a:pt x="490" y="113"/>
                </a:lnTo>
                <a:lnTo>
                  <a:pt x="482" y="113"/>
                </a:lnTo>
                <a:lnTo>
                  <a:pt x="482" y="121"/>
                </a:lnTo>
                <a:lnTo>
                  <a:pt x="482" y="129"/>
                </a:lnTo>
                <a:lnTo>
                  <a:pt x="473" y="129"/>
                </a:lnTo>
                <a:lnTo>
                  <a:pt x="465" y="129"/>
                </a:lnTo>
                <a:lnTo>
                  <a:pt x="457" y="145"/>
                </a:lnTo>
                <a:lnTo>
                  <a:pt x="457" y="153"/>
                </a:lnTo>
                <a:lnTo>
                  <a:pt x="457" y="161"/>
                </a:lnTo>
                <a:lnTo>
                  <a:pt x="441" y="161"/>
                </a:lnTo>
                <a:lnTo>
                  <a:pt x="424" y="161"/>
                </a:lnTo>
                <a:lnTo>
                  <a:pt x="416" y="161"/>
                </a:lnTo>
                <a:cubicBezTo>
                  <a:pt x="408" y="161"/>
                  <a:pt x="408" y="169"/>
                  <a:pt x="408" y="169"/>
                </a:cubicBezTo>
                <a:lnTo>
                  <a:pt x="392" y="161"/>
                </a:lnTo>
                <a:cubicBezTo>
                  <a:pt x="384" y="161"/>
                  <a:pt x="384" y="153"/>
                  <a:pt x="384" y="145"/>
                </a:cubicBezTo>
                <a:lnTo>
                  <a:pt x="375" y="129"/>
                </a:lnTo>
                <a:lnTo>
                  <a:pt x="367" y="137"/>
                </a:lnTo>
                <a:lnTo>
                  <a:pt x="343" y="137"/>
                </a:lnTo>
                <a:lnTo>
                  <a:pt x="326" y="129"/>
                </a:lnTo>
                <a:lnTo>
                  <a:pt x="326" y="145"/>
                </a:lnTo>
                <a:lnTo>
                  <a:pt x="335" y="153"/>
                </a:lnTo>
                <a:lnTo>
                  <a:pt x="326" y="153"/>
                </a:lnTo>
                <a:lnTo>
                  <a:pt x="318" y="161"/>
                </a:lnTo>
                <a:lnTo>
                  <a:pt x="310" y="161"/>
                </a:lnTo>
                <a:lnTo>
                  <a:pt x="302" y="178"/>
                </a:lnTo>
                <a:cubicBezTo>
                  <a:pt x="302" y="186"/>
                  <a:pt x="294" y="186"/>
                  <a:pt x="294" y="186"/>
                </a:cubicBezTo>
                <a:cubicBezTo>
                  <a:pt x="294" y="186"/>
                  <a:pt x="286" y="186"/>
                  <a:pt x="294" y="194"/>
                </a:cubicBezTo>
                <a:lnTo>
                  <a:pt x="326" y="194"/>
                </a:lnTo>
                <a:lnTo>
                  <a:pt x="343" y="186"/>
                </a:lnTo>
                <a:lnTo>
                  <a:pt x="343" y="194"/>
                </a:lnTo>
                <a:lnTo>
                  <a:pt x="343" y="210"/>
                </a:lnTo>
                <a:lnTo>
                  <a:pt x="335" y="210"/>
                </a:lnTo>
                <a:lnTo>
                  <a:pt x="335" y="218"/>
                </a:lnTo>
                <a:cubicBezTo>
                  <a:pt x="326" y="226"/>
                  <a:pt x="318" y="226"/>
                  <a:pt x="318" y="226"/>
                </a:cubicBezTo>
                <a:cubicBezTo>
                  <a:pt x="310" y="234"/>
                  <a:pt x="310" y="234"/>
                  <a:pt x="310" y="242"/>
                </a:cubicBezTo>
                <a:cubicBezTo>
                  <a:pt x="310" y="250"/>
                  <a:pt x="302" y="266"/>
                  <a:pt x="302" y="266"/>
                </a:cubicBezTo>
                <a:lnTo>
                  <a:pt x="286" y="274"/>
                </a:lnTo>
                <a:lnTo>
                  <a:pt x="269" y="290"/>
                </a:lnTo>
                <a:lnTo>
                  <a:pt x="261" y="290"/>
                </a:lnTo>
                <a:lnTo>
                  <a:pt x="253" y="299"/>
                </a:lnTo>
                <a:lnTo>
                  <a:pt x="253" y="307"/>
                </a:lnTo>
                <a:lnTo>
                  <a:pt x="237" y="315"/>
                </a:lnTo>
                <a:lnTo>
                  <a:pt x="237" y="331"/>
                </a:lnTo>
                <a:lnTo>
                  <a:pt x="228" y="339"/>
                </a:lnTo>
                <a:lnTo>
                  <a:pt x="220" y="339"/>
                </a:lnTo>
                <a:lnTo>
                  <a:pt x="212" y="355"/>
                </a:lnTo>
                <a:lnTo>
                  <a:pt x="204" y="363"/>
                </a:lnTo>
                <a:cubicBezTo>
                  <a:pt x="196" y="363"/>
                  <a:pt x="188" y="371"/>
                  <a:pt x="188" y="371"/>
                </a:cubicBezTo>
                <a:lnTo>
                  <a:pt x="171" y="371"/>
                </a:lnTo>
                <a:cubicBezTo>
                  <a:pt x="171" y="371"/>
                  <a:pt x="163" y="371"/>
                  <a:pt x="155" y="379"/>
                </a:cubicBezTo>
                <a:lnTo>
                  <a:pt x="155" y="387"/>
                </a:lnTo>
                <a:cubicBezTo>
                  <a:pt x="155" y="395"/>
                  <a:pt x="163" y="403"/>
                  <a:pt x="163" y="403"/>
                </a:cubicBezTo>
                <a:lnTo>
                  <a:pt x="163" y="420"/>
                </a:lnTo>
                <a:cubicBezTo>
                  <a:pt x="163" y="420"/>
                  <a:pt x="155" y="420"/>
                  <a:pt x="155" y="428"/>
                </a:cubicBezTo>
                <a:lnTo>
                  <a:pt x="155" y="436"/>
                </a:lnTo>
                <a:lnTo>
                  <a:pt x="155" y="444"/>
                </a:lnTo>
                <a:lnTo>
                  <a:pt x="155" y="452"/>
                </a:lnTo>
                <a:cubicBezTo>
                  <a:pt x="155" y="452"/>
                  <a:pt x="155" y="460"/>
                  <a:pt x="147" y="468"/>
                </a:cubicBezTo>
                <a:lnTo>
                  <a:pt x="139" y="476"/>
                </a:lnTo>
                <a:lnTo>
                  <a:pt x="122" y="476"/>
                </a:lnTo>
                <a:cubicBezTo>
                  <a:pt x="122" y="484"/>
                  <a:pt x="106" y="484"/>
                  <a:pt x="106" y="484"/>
                </a:cubicBezTo>
                <a:lnTo>
                  <a:pt x="90" y="500"/>
                </a:lnTo>
                <a:lnTo>
                  <a:pt x="57" y="532"/>
                </a:lnTo>
                <a:lnTo>
                  <a:pt x="57" y="540"/>
                </a:lnTo>
                <a:lnTo>
                  <a:pt x="57" y="557"/>
                </a:lnTo>
                <a:cubicBezTo>
                  <a:pt x="57" y="565"/>
                  <a:pt x="49" y="573"/>
                  <a:pt x="49" y="573"/>
                </a:cubicBezTo>
                <a:lnTo>
                  <a:pt x="41" y="581"/>
                </a:lnTo>
                <a:lnTo>
                  <a:pt x="41" y="597"/>
                </a:lnTo>
                <a:lnTo>
                  <a:pt x="41" y="605"/>
                </a:lnTo>
                <a:lnTo>
                  <a:pt x="49" y="613"/>
                </a:lnTo>
                <a:lnTo>
                  <a:pt x="57" y="621"/>
                </a:lnTo>
                <a:lnTo>
                  <a:pt x="57" y="645"/>
                </a:lnTo>
                <a:lnTo>
                  <a:pt x="49" y="661"/>
                </a:lnTo>
                <a:lnTo>
                  <a:pt x="49" y="678"/>
                </a:lnTo>
                <a:lnTo>
                  <a:pt x="32" y="678"/>
                </a:lnTo>
                <a:cubicBezTo>
                  <a:pt x="32" y="678"/>
                  <a:pt x="24" y="686"/>
                  <a:pt x="16" y="686"/>
                </a:cubicBezTo>
                <a:lnTo>
                  <a:pt x="8" y="694"/>
                </a:lnTo>
                <a:lnTo>
                  <a:pt x="0" y="702"/>
                </a:lnTo>
                <a:lnTo>
                  <a:pt x="8" y="710"/>
                </a:lnTo>
                <a:lnTo>
                  <a:pt x="8" y="726"/>
                </a:lnTo>
                <a:lnTo>
                  <a:pt x="16" y="726"/>
                </a:lnTo>
                <a:lnTo>
                  <a:pt x="32" y="718"/>
                </a:lnTo>
                <a:lnTo>
                  <a:pt x="49" y="726"/>
                </a:lnTo>
                <a:lnTo>
                  <a:pt x="73" y="718"/>
                </a:lnTo>
                <a:cubicBezTo>
                  <a:pt x="73" y="718"/>
                  <a:pt x="72" y="710"/>
                  <a:pt x="81" y="702"/>
                </a:cubicBezTo>
                <a:cubicBezTo>
                  <a:pt x="89" y="694"/>
                  <a:pt x="98" y="694"/>
                  <a:pt x="98" y="694"/>
                </a:cubicBezTo>
                <a:lnTo>
                  <a:pt x="106" y="678"/>
                </a:lnTo>
                <a:lnTo>
                  <a:pt x="98" y="678"/>
                </a:lnTo>
                <a:lnTo>
                  <a:pt x="98" y="661"/>
                </a:lnTo>
                <a:lnTo>
                  <a:pt x="81" y="653"/>
                </a:lnTo>
                <a:lnTo>
                  <a:pt x="81" y="645"/>
                </a:lnTo>
                <a:cubicBezTo>
                  <a:pt x="90" y="637"/>
                  <a:pt x="98" y="621"/>
                  <a:pt x="98" y="621"/>
                </a:cubicBezTo>
                <a:lnTo>
                  <a:pt x="147" y="605"/>
                </a:lnTo>
                <a:lnTo>
                  <a:pt x="155" y="597"/>
                </a:lnTo>
                <a:lnTo>
                  <a:pt x="171" y="589"/>
                </a:lnTo>
                <a:lnTo>
                  <a:pt x="228" y="589"/>
                </a:lnTo>
                <a:lnTo>
                  <a:pt x="253" y="605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52" name="Freeform 44">
            <a:extLst>
              <a:ext uri="{FF2B5EF4-FFF2-40B4-BE49-F238E27FC236}">
                <a16:creationId xmlns:a16="http://schemas.microsoft.com/office/drawing/2014/main" id="{C70182E9-0EFC-72D0-B096-EAE8934BEFB9}"/>
              </a:ext>
            </a:extLst>
          </p:cNvPr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8177670" y="2412541"/>
            <a:ext cx="722676" cy="438315"/>
          </a:xfrm>
          <a:custGeom>
            <a:avLst/>
            <a:gdLst>
              <a:gd name="T0" fmla="*/ 251 w 1759"/>
              <a:gd name="T1" fmla="*/ 278 h 1068"/>
              <a:gd name="T2" fmla="*/ 340 w 1759"/>
              <a:gd name="T3" fmla="*/ 342 h 1068"/>
              <a:gd name="T4" fmla="*/ 445 w 1759"/>
              <a:gd name="T5" fmla="*/ 422 h 1068"/>
              <a:gd name="T6" fmla="*/ 534 w 1759"/>
              <a:gd name="T7" fmla="*/ 541 h 1068"/>
              <a:gd name="T8" fmla="*/ 672 w 1759"/>
              <a:gd name="T9" fmla="*/ 509 h 1068"/>
              <a:gd name="T10" fmla="*/ 704 w 1759"/>
              <a:gd name="T11" fmla="*/ 294 h 1068"/>
              <a:gd name="T12" fmla="*/ 672 w 1759"/>
              <a:gd name="T13" fmla="*/ 127 h 1068"/>
              <a:gd name="T14" fmla="*/ 802 w 1759"/>
              <a:gd name="T15" fmla="*/ 24 h 1068"/>
              <a:gd name="T16" fmla="*/ 907 w 1759"/>
              <a:gd name="T17" fmla="*/ 16 h 1068"/>
              <a:gd name="T18" fmla="*/ 1012 w 1759"/>
              <a:gd name="T19" fmla="*/ 40 h 1068"/>
              <a:gd name="T20" fmla="*/ 1150 w 1759"/>
              <a:gd name="T21" fmla="*/ 135 h 1068"/>
              <a:gd name="T22" fmla="*/ 1231 w 1759"/>
              <a:gd name="T23" fmla="*/ 135 h 1068"/>
              <a:gd name="T24" fmla="*/ 1288 w 1759"/>
              <a:gd name="T25" fmla="*/ 87 h 1068"/>
              <a:gd name="T26" fmla="*/ 1433 w 1759"/>
              <a:gd name="T27" fmla="*/ 87 h 1068"/>
              <a:gd name="T28" fmla="*/ 1490 w 1759"/>
              <a:gd name="T29" fmla="*/ 143 h 1068"/>
              <a:gd name="T30" fmla="*/ 1555 w 1759"/>
              <a:gd name="T31" fmla="*/ 247 h 1068"/>
              <a:gd name="T32" fmla="*/ 1555 w 1759"/>
              <a:gd name="T33" fmla="*/ 366 h 1068"/>
              <a:gd name="T34" fmla="*/ 1604 w 1759"/>
              <a:gd name="T35" fmla="*/ 390 h 1068"/>
              <a:gd name="T36" fmla="*/ 1668 w 1759"/>
              <a:gd name="T37" fmla="*/ 462 h 1068"/>
              <a:gd name="T38" fmla="*/ 1717 w 1759"/>
              <a:gd name="T39" fmla="*/ 525 h 1068"/>
              <a:gd name="T40" fmla="*/ 1749 w 1759"/>
              <a:gd name="T41" fmla="*/ 621 h 1068"/>
              <a:gd name="T42" fmla="*/ 1709 w 1759"/>
              <a:gd name="T43" fmla="*/ 661 h 1068"/>
              <a:gd name="T44" fmla="*/ 1677 w 1759"/>
              <a:gd name="T45" fmla="*/ 796 h 1068"/>
              <a:gd name="T46" fmla="*/ 1555 w 1759"/>
              <a:gd name="T47" fmla="*/ 820 h 1068"/>
              <a:gd name="T48" fmla="*/ 1498 w 1759"/>
              <a:gd name="T49" fmla="*/ 892 h 1068"/>
              <a:gd name="T50" fmla="*/ 1409 w 1759"/>
              <a:gd name="T51" fmla="*/ 916 h 1068"/>
              <a:gd name="T52" fmla="*/ 1320 w 1759"/>
              <a:gd name="T53" fmla="*/ 876 h 1068"/>
              <a:gd name="T54" fmla="*/ 1239 w 1759"/>
              <a:gd name="T55" fmla="*/ 828 h 1068"/>
              <a:gd name="T56" fmla="*/ 1158 w 1759"/>
              <a:gd name="T57" fmla="*/ 788 h 1068"/>
              <a:gd name="T58" fmla="*/ 1093 w 1759"/>
              <a:gd name="T59" fmla="*/ 780 h 1068"/>
              <a:gd name="T60" fmla="*/ 996 w 1759"/>
              <a:gd name="T61" fmla="*/ 764 h 1068"/>
              <a:gd name="T62" fmla="*/ 907 w 1759"/>
              <a:gd name="T63" fmla="*/ 717 h 1068"/>
              <a:gd name="T64" fmla="*/ 826 w 1759"/>
              <a:gd name="T65" fmla="*/ 772 h 1068"/>
              <a:gd name="T66" fmla="*/ 713 w 1759"/>
              <a:gd name="T67" fmla="*/ 796 h 1068"/>
              <a:gd name="T68" fmla="*/ 607 w 1759"/>
              <a:gd name="T69" fmla="*/ 804 h 1068"/>
              <a:gd name="T70" fmla="*/ 502 w 1759"/>
              <a:gd name="T71" fmla="*/ 820 h 1068"/>
              <a:gd name="T72" fmla="*/ 380 w 1759"/>
              <a:gd name="T73" fmla="*/ 836 h 1068"/>
              <a:gd name="T74" fmla="*/ 251 w 1759"/>
              <a:gd name="T75" fmla="*/ 868 h 1068"/>
              <a:gd name="T76" fmla="*/ 154 w 1759"/>
              <a:gd name="T77" fmla="*/ 940 h 1068"/>
              <a:gd name="T78" fmla="*/ 105 w 1759"/>
              <a:gd name="T79" fmla="*/ 1019 h 1068"/>
              <a:gd name="T80" fmla="*/ 64 w 1759"/>
              <a:gd name="T81" fmla="*/ 1067 h 1068"/>
              <a:gd name="T82" fmla="*/ 8 w 1759"/>
              <a:gd name="T83" fmla="*/ 932 h 1068"/>
              <a:gd name="T84" fmla="*/ 8 w 1759"/>
              <a:gd name="T85" fmla="*/ 772 h 1068"/>
              <a:gd name="T86" fmla="*/ 64 w 1759"/>
              <a:gd name="T87" fmla="*/ 589 h 1068"/>
              <a:gd name="T88" fmla="*/ 81 w 1759"/>
              <a:gd name="T89" fmla="*/ 406 h 10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59" h="1068">
                <a:moveTo>
                  <a:pt x="154" y="358"/>
                </a:moveTo>
                <a:lnTo>
                  <a:pt x="194" y="318"/>
                </a:lnTo>
                <a:cubicBezTo>
                  <a:pt x="194" y="318"/>
                  <a:pt x="243" y="278"/>
                  <a:pt x="251" y="278"/>
                </a:cubicBezTo>
                <a:cubicBezTo>
                  <a:pt x="267" y="271"/>
                  <a:pt x="291" y="255"/>
                  <a:pt x="291" y="263"/>
                </a:cubicBezTo>
                <a:cubicBezTo>
                  <a:pt x="291" y="271"/>
                  <a:pt x="299" y="326"/>
                  <a:pt x="299" y="326"/>
                </a:cubicBezTo>
                <a:lnTo>
                  <a:pt x="340" y="342"/>
                </a:lnTo>
                <a:lnTo>
                  <a:pt x="372" y="366"/>
                </a:lnTo>
                <a:lnTo>
                  <a:pt x="437" y="398"/>
                </a:lnTo>
                <a:lnTo>
                  <a:pt x="445" y="422"/>
                </a:lnTo>
                <a:cubicBezTo>
                  <a:pt x="445" y="422"/>
                  <a:pt x="437" y="438"/>
                  <a:pt x="453" y="462"/>
                </a:cubicBezTo>
                <a:cubicBezTo>
                  <a:pt x="478" y="486"/>
                  <a:pt x="486" y="486"/>
                  <a:pt x="494" y="509"/>
                </a:cubicBezTo>
                <a:cubicBezTo>
                  <a:pt x="502" y="525"/>
                  <a:pt x="534" y="541"/>
                  <a:pt x="534" y="541"/>
                </a:cubicBezTo>
                <a:lnTo>
                  <a:pt x="575" y="549"/>
                </a:lnTo>
                <a:cubicBezTo>
                  <a:pt x="575" y="549"/>
                  <a:pt x="615" y="565"/>
                  <a:pt x="623" y="557"/>
                </a:cubicBezTo>
                <a:cubicBezTo>
                  <a:pt x="631" y="549"/>
                  <a:pt x="672" y="517"/>
                  <a:pt x="672" y="509"/>
                </a:cubicBezTo>
                <a:cubicBezTo>
                  <a:pt x="680" y="502"/>
                  <a:pt x="704" y="470"/>
                  <a:pt x="713" y="462"/>
                </a:cubicBezTo>
                <a:cubicBezTo>
                  <a:pt x="721" y="454"/>
                  <a:pt x="745" y="398"/>
                  <a:pt x="745" y="390"/>
                </a:cubicBezTo>
                <a:cubicBezTo>
                  <a:pt x="745" y="374"/>
                  <a:pt x="713" y="310"/>
                  <a:pt x="704" y="294"/>
                </a:cubicBezTo>
                <a:cubicBezTo>
                  <a:pt x="704" y="278"/>
                  <a:pt x="696" y="231"/>
                  <a:pt x="696" y="231"/>
                </a:cubicBezTo>
                <a:lnTo>
                  <a:pt x="664" y="167"/>
                </a:lnTo>
                <a:cubicBezTo>
                  <a:pt x="664" y="167"/>
                  <a:pt x="664" y="127"/>
                  <a:pt x="672" y="127"/>
                </a:cubicBezTo>
                <a:cubicBezTo>
                  <a:pt x="680" y="119"/>
                  <a:pt x="721" y="87"/>
                  <a:pt x="721" y="87"/>
                </a:cubicBezTo>
                <a:lnTo>
                  <a:pt x="761" y="48"/>
                </a:lnTo>
                <a:lnTo>
                  <a:pt x="802" y="24"/>
                </a:lnTo>
                <a:lnTo>
                  <a:pt x="834" y="0"/>
                </a:lnTo>
                <a:lnTo>
                  <a:pt x="875" y="16"/>
                </a:lnTo>
                <a:lnTo>
                  <a:pt x="907" y="16"/>
                </a:lnTo>
                <a:lnTo>
                  <a:pt x="939" y="32"/>
                </a:lnTo>
                <a:lnTo>
                  <a:pt x="980" y="32"/>
                </a:lnTo>
                <a:lnTo>
                  <a:pt x="1012" y="40"/>
                </a:lnTo>
                <a:lnTo>
                  <a:pt x="1053" y="55"/>
                </a:lnTo>
                <a:lnTo>
                  <a:pt x="1126" y="103"/>
                </a:lnTo>
                <a:lnTo>
                  <a:pt x="1150" y="135"/>
                </a:lnTo>
                <a:lnTo>
                  <a:pt x="1174" y="143"/>
                </a:lnTo>
                <a:cubicBezTo>
                  <a:pt x="1174" y="143"/>
                  <a:pt x="1190" y="159"/>
                  <a:pt x="1207" y="151"/>
                </a:cubicBezTo>
                <a:cubicBezTo>
                  <a:pt x="1215" y="151"/>
                  <a:pt x="1223" y="143"/>
                  <a:pt x="1231" y="135"/>
                </a:cubicBezTo>
                <a:cubicBezTo>
                  <a:pt x="1247" y="127"/>
                  <a:pt x="1255" y="111"/>
                  <a:pt x="1255" y="111"/>
                </a:cubicBezTo>
                <a:lnTo>
                  <a:pt x="1271" y="111"/>
                </a:lnTo>
                <a:lnTo>
                  <a:pt x="1288" y="87"/>
                </a:lnTo>
                <a:lnTo>
                  <a:pt x="1352" y="103"/>
                </a:lnTo>
                <a:lnTo>
                  <a:pt x="1385" y="103"/>
                </a:lnTo>
                <a:lnTo>
                  <a:pt x="1433" y="87"/>
                </a:lnTo>
                <a:lnTo>
                  <a:pt x="1458" y="111"/>
                </a:lnTo>
                <a:lnTo>
                  <a:pt x="1458" y="135"/>
                </a:lnTo>
                <a:lnTo>
                  <a:pt x="1490" y="143"/>
                </a:lnTo>
                <a:cubicBezTo>
                  <a:pt x="1490" y="143"/>
                  <a:pt x="1515" y="159"/>
                  <a:pt x="1523" y="159"/>
                </a:cubicBezTo>
                <a:cubicBezTo>
                  <a:pt x="1531" y="159"/>
                  <a:pt x="1547" y="167"/>
                  <a:pt x="1547" y="167"/>
                </a:cubicBezTo>
                <a:lnTo>
                  <a:pt x="1555" y="247"/>
                </a:lnTo>
                <a:lnTo>
                  <a:pt x="1539" y="271"/>
                </a:lnTo>
                <a:lnTo>
                  <a:pt x="1555" y="334"/>
                </a:lnTo>
                <a:lnTo>
                  <a:pt x="1555" y="366"/>
                </a:lnTo>
                <a:lnTo>
                  <a:pt x="1587" y="342"/>
                </a:lnTo>
                <a:lnTo>
                  <a:pt x="1620" y="366"/>
                </a:lnTo>
                <a:lnTo>
                  <a:pt x="1604" y="390"/>
                </a:lnTo>
                <a:lnTo>
                  <a:pt x="1644" y="422"/>
                </a:lnTo>
                <a:lnTo>
                  <a:pt x="1677" y="438"/>
                </a:lnTo>
                <a:lnTo>
                  <a:pt x="1668" y="462"/>
                </a:lnTo>
                <a:cubicBezTo>
                  <a:pt x="1668" y="462"/>
                  <a:pt x="1677" y="470"/>
                  <a:pt x="1685" y="470"/>
                </a:cubicBezTo>
                <a:cubicBezTo>
                  <a:pt x="1693" y="478"/>
                  <a:pt x="1709" y="486"/>
                  <a:pt x="1709" y="486"/>
                </a:cubicBezTo>
                <a:cubicBezTo>
                  <a:pt x="1709" y="486"/>
                  <a:pt x="1717" y="510"/>
                  <a:pt x="1717" y="525"/>
                </a:cubicBezTo>
                <a:cubicBezTo>
                  <a:pt x="1725" y="533"/>
                  <a:pt x="1758" y="557"/>
                  <a:pt x="1758" y="557"/>
                </a:cubicBezTo>
                <a:lnTo>
                  <a:pt x="1749" y="597"/>
                </a:lnTo>
                <a:lnTo>
                  <a:pt x="1749" y="621"/>
                </a:lnTo>
                <a:lnTo>
                  <a:pt x="1749" y="645"/>
                </a:lnTo>
                <a:lnTo>
                  <a:pt x="1749" y="637"/>
                </a:lnTo>
                <a:lnTo>
                  <a:pt x="1709" y="661"/>
                </a:lnTo>
                <a:lnTo>
                  <a:pt x="1701" y="717"/>
                </a:lnTo>
                <a:lnTo>
                  <a:pt x="1660" y="756"/>
                </a:lnTo>
                <a:lnTo>
                  <a:pt x="1677" y="796"/>
                </a:lnTo>
                <a:lnTo>
                  <a:pt x="1660" y="820"/>
                </a:lnTo>
                <a:lnTo>
                  <a:pt x="1596" y="820"/>
                </a:lnTo>
                <a:lnTo>
                  <a:pt x="1555" y="820"/>
                </a:lnTo>
                <a:cubicBezTo>
                  <a:pt x="1523" y="820"/>
                  <a:pt x="1531" y="820"/>
                  <a:pt x="1531" y="820"/>
                </a:cubicBezTo>
                <a:lnTo>
                  <a:pt x="1506" y="844"/>
                </a:lnTo>
                <a:lnTo>
                  <a:pt x="1498" y="892"/>
                </a:lnTo>
                <a:cubicBezTo>
                  <a:pt x="1498" y="892"/>
                  <a:pt x="1482" y="892"/>
                  <a:pt x="1450" y="900"/>
                </a:cubicBezTo>
                <a:cubicBezTo>
                  <a:pt x="1434" y="908"/>
                  <a:pt x="1434" y="916"/>
                  <a:pt x="1434" y="916"/>
                </a:cubicBezTo>
                <a:lnTo>
                  <a:pt x="1409" y="916"/>
                </a:lnTo>
                <a:lnTo>
                  <a:pt x="1369" y="908"/>
                </a:lnTo>
                <a:lnTo>
                  <a:pt x="1336" y="908"/>
                </a:lnTo>
                <a:lnTo>
                  <a:pt x="1320" y="876"/>
                </a:lnTo>
                <a:lnTo>
                  <a:pt x="1296" y="868"/>
                </a:lnTo>
                <a:lnTo>
                  <a:pt x="1272" y="836"/>
                </a:lnTo>
                <a:lnTo>
                  <a:pt x="1239" y="828"/>
                </a:lnTo>
                <a:lnTo>
                  <a:pt x="1223" y="804"/>
                </a:lnTo>
                <a:lnTo>
                  <a:pt x="1182" y="804"/>
                </a:lnTo>
                <a:lnTo>
                  <a:pt x="1158" y="788"/>
                </a:lnTo>
                <a:lnTo>
                  <a:pt x="1150" y="772"/>
                </a:lnTo>
                <a:lnTo>
                  <a:pt x="1126" y="772"/>
                </a:lnTo>
                <a:lnTo>
                  <a:pt x="1093" y="780"/>
                </a:lnTo>
                <a:lnTo>
                  <a:pt x="1037" y="796"/>
                </a:lnTo>
                <a:lnTo>
                  <a:pt x="1004" y="772"/>
                </a:lnTo>
                <a:lnTo>
                  <a:pt x="996" y="764"/>
                </a:lnTo>
                <a:lnTo>
                  <a:pt x="964" y="741"/>
                </a:lnTo>
                <a:lnTo>
                  <a:pt x="947" y="693"/>
                </a:lnTo>
                <a:cubicBezTo>
                  <a:pt x="947" y="693"/>
                  <a:pt x="915" y="717"/>
                  <a:pt x="907" y="717"/>
                </a:cubicBezTo>
                <a:lnTo>
                  <a:pt x="883" y="756"/>
                </a:lnTo>
                <a:lnTo>
                  <a:pt x="875" y="788"/>
                </a:lnTo>
                <a:lnTo>
                  <a:pt x="826" y="772"/>
                </a:lnTo>
                <a:cubicBezTo>
                  <a:pt x="826" y="772"/>
                  <a:pt x="802" y="804"/>
                  <a:pt x="802" y="812"/>
                </a:cubicBezTo>
                <a:cubicBezTo>
                  <a:pt x="794" y="812"/>
                  <a:pt x="761" y="796"/>
                  <a:pt x="761" y="796"/>
                </a:cubicBezTo>
                <a:lnTo>
                  <a:pt x="713" y="796"/>
                </a:lnTo>
                <a:cubicBezTo>
                  <a:pt x="713" y="796"/>
                  <a:pt x="664" y="796"/>
                  <a:pt x="656" y="788"/>
                </a:cubicBezTo>
                <a:cubicBezTo>
                  <a:pt x="648" y="788"/>
                  <a:pt x="648" y="796"/>
                  <a:pt x="648" y="796"/>
                </a:cubicBezTo>
                <a:lnTo>
                  <a:pt x="607" y="804"/>
                </a:lnTo>
                <a:lnTo>
                  <a:pt x="559" y="812"/>
                </a:lnTo>
                <a:cubicBezTo>
                  <a:pt x="559" y="812"/>
                  <a:pt x="550" y="844"/>
                  <a:pt x="542" y="852"/>
                </a:cubicBezTo>
                <a:cubicBezTo>
                  <a:pt x="534" y="852"/>
                  <a:pt x="510" y="828"/>
                  <a:pt x="502" y="820"/>
                </a:cubicBezTo>
                <a:cubicBezTo>
                  <a:pt x="502" y="812"/>
                  <a:pt x="478" y="804"/>
                  <a:pt x="478" y="804"/>
                </a:cubicBezTo>
                <a:lnTo>
                  <a:pt x="445" y="828"/>
                </a:lnTo>
                <a:cubicBezTo>
                  <a:pt x="445" y="828"/>
                  <a:pt x="388" y="836"/>
                  <a:pt x="380" y="836"/>
                </a:cubicBezTo>
                <a:cubicBezTo>
                  <a:pt x="372" y="836"/>
                  <a:pt x="332" y="852"/>
                  <a:pt x="332" y="852"/>
                </a:cubicBezTo>
                <a:lnTo>
                  <a:pt x="275" y="844"/>
                </a:lnTo>
                <a:lnTo>
                  <a:pt x="251" y="868"/>
                </a:lnTo>
                <a:lnTo>
                  <a:pt x="202" y="900"/>
                </a:lnTo>
                <a:lnTo>
                  <a:pt x="170" y="900"/>
                </a:lnTo>
                <a:lnTo>
                  <a:pt x="154" y="940"/>
                </a:lnTo>
                <a:lnTo>
                  <a:pt x="121" y="956"/>
                </a:lnTo>
                <a:lnTo>
                  <a:pt x="113" y="971"/>
                </a:lnTo>
                <a:lnTo>
                  <a:pt x="105" y="1019"/>
                </a:lnTo>
                <a:cubicBezTo>
                  <a:pt x="105" y="1019"/>
                  <a:pt x="81" y="1027"/>
                  <a:pt x="64" y="1027"/>
                </a:cubicBezTo>
                <a:cubicBezTo>
                  <a:pt x="56" y="1035"/>
                  <a:pt x="72" y="1043"/>
                  <a:pt x="72" y="1043"/>
                </a:cubicBezTo>
                <a:lnTo>
                  <a:pt x="64" y="1067"/>
                </a:lnTo>
                <a:lnTo>
                  <a:pt x="56" y="1059"/>
                </a:lnTo>
                <a:cubicBezTo>
                  <a:pt x="56" y="1059"/>
                  <a:pt x="48" y="1035"/>
                  <a:pt x="40" y="1019"/>
                </a:cubicBezTo>
                <a:cubicBezTo>
                  <a:pt x="24" y="1003"/>
                  <a:pt x="8" y="932"/>
                  <a:pt x="8" y="932"/>
                </a:cubicBezTo>
                <a:lnTo>
                  <a:pt x="24" y="900"/>
                </a:lnTo>
                <a:lnTo>
                  <a:pt x="24" y="860"/>
                </a:lnTo>
                <a:cubicBezTo>
                  <a:pt x="16" y="844"/>
                  <a:pt x="8" y="772"/>
                  <a:pt x="8" y="772"/>
                </a:cubicBezTo>
                <a:cubicBezTo>
                  <a:pt x="8" y="772"/>
                  <a:pt x="0" y="741"/>
                  <a:pt x="0" y="733"/>
                </a:cubicBezTo>
                <a:cubicBezTo>
                  <a:pt x="0" y="725"/>
                  <a:pt x="56" y="661"/>
                  <a:pt x="56" y="661"/>
                </a:cubicBezTo>
                <a:cubicBezTo>
                  <a:pt x="56" y="653"/>
                  <a:pt x="64" y="589"/>
                  <a:pt x="64" y="589"/>
                </a:cubicBezTo>
                <a:lnTo>
                  <a:pt x="48" y="541"/>
                </a:lnTo>
                <a:lnTo>
                  <a:pt x="64" y="478"/>
                </a:lnTo>
                <a:lnTo>
                  <a:pt x="81" y="406"/>
                </a:lnTo>
                <a:cubicBezTo>
                  <a:pt x="81" y="406"/>
                  <a:pt x="89" y="374"/>
                  <a:pt x="97" y="374"/>
                </a:cubicBezTo>
                <a:cubicBezTo>
                  <a:pt x="105" y="366"/>
                  <a:pt x="154" y="358"/>
                  <a:pt x="154" y="358"/>
                </a:cubicBez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53" name="Freeform 45">
            <a:extLst>
              <a:ext uri="{FF2B5EF4-FFF2-40B4-BE49-F238E27FC236}">
                <a16:creationId xmlns:a16="http://schemas.microsoft.com/office/drawing/2014/main" id="{47EA67E6-0B13-9D26-FDAE-7595E6C1B404}"/>
              </a:ext>
            </a:extLst>
          </p:cNvPr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8177670" y="2412541"/>
            <a:ext cx="722676" cy="438315"/>
          </a:xfrm>
          <a:custGeom>
            <a:avLst/>
            <a:gdLst>
              <a:gd name="T0" fmla="*/ 251 w 1759"/>
              <a:gd name="T1" fmla="*/ 278 h 1068"/>
              <a:gd name="T2" fmla="*/ 340 w 1759"/>
              <a:gd name="T3" fmla="*/ 342 h 1068"/>
              <a:gd name="T4" fmla="*/ 445 w 1759"/>
              <a:gd name="T5" fmla="*/ 422 h 1068"/>
              <a:gd name="T6" fmla="*/ 534 w 1759"/>
              <a:gd name="T7" fmla="*/ 541 h 1068"/>
              <a:gd name="T8" fmla="*/ 672 w 1759"/>
              <a:gd name="T9" fmla="*/ 509 h 1068"/>
              <a:gd name="T10" fmla="*/ 704 w 1759"/>
              <a:gd name="T11" fmla="*/ 294 h 1068"/>
              <a:gd name="T12" fmla="*/ 672 w 1759"/>
              <a:gd name="T13" fmla="*/ 127 h 1068"/>
              <a:gd name="T14" fmla="*/ 802 w 1759"/>
              <a:gd name="T15" fmla="*/ 24 h 1068"/>
              <a:gd name="T16" fmla="*/ 907 w 1759"/>
              <a:gd name="T17" fmla="*/ 16 h 1068"/>
              <a:gd name="T18" fmla="*/ 1012 w 1759"/>
              <a:gd name="T19" fmla="*/ 40 h 1068"/>
              <a:gd name="T20" fmla="*/ 1150 w 1759"/>
              <a:gd name="T21" fmla="*/ 135 h 1068"/>
              <a:gd name="T22" fmla="*/ 1231 w 1759"/>
              <a:gd name="T23" fmla="*/ 135 h 1068"/>
              <a:gd name="T24" fmla="*/ 1288 w 1759"/>
              <a:gd name="T25" fmla="*/ 87 h 1068"/>
              <a:gd name="T26" fmla="*/ 1433 w 1759"/>
              <a:gd name="T27" fmla="*/ 87 h 1068"/>
              <a:gd name="T28" fmla="*/ 1490 w 1759"/>
              <a:gd name="T29" fmla="*/ 143 h 1068"/>
              <a:gd name="T30" fmla="*/ 1555 w 1759"/>
              <a:gd name="T31" fmla="*/ 247 h 1068"/>
              <a:gd name="T32" fmla="*/ 1555 w 1759"/>
              <a:gd name="T33" fmla="*/ 366 h 1068"/>
              <a:gd name="T34" fmla="*/ 1604 w 1759"/>
              <a:gd name="T35" fmla="*/ 390 h 1068"/>
              <a:gd name="T36" fmla="*/ 1668 w 1759"/>
              <a:gd name="T37" fmla="*/ 462 h 1068"/>
              <a:gd name="T38" fmla="*/ 1717 w 1759"/>
              <a:gd name="T39" fmla="*/ 525 h 1068"/>
              <a:gd name="T40" fmla="*/ 1749 w 1759"/>
              <a:gd name="T41" fmla="*/ 621 h 1068"/>
              <a:gd name="T42" fmla="*/ 1709 w 1759"/>
              <a:gd name="T43" fmla="*/ 661 h 1068"/>
              <a:gd name="T44" fmla="*/ 1677 w 1759"/>
              <a:gd name="T45" fmla="*/ 796 h 1068"/>
              <a:gd name="T46" fmla="*/ 1555 w 1759"/>
              <a:gd name="T47" fmla="*/ 820 h 1068"/>
              <a:gd name="T48" fmla="*/ 1498 w 1759"/>
              <a:gd name="T49" fmla="*/ 892 h 1068"/>
              <a:gd name="T50" fmla="*/ 1409 w 1759"/>
              <a:gd name="T51" fmla="*/ 916 h 1068"/>
              <a:gd name="T52" fmla="*/ 1320 w 1759"/>
              <a:gd name="T53" fmla="*/ 876 h 1068"/>
              <a:gd name="T54" fmla="*/ 1239 w 1759"/>
              <a:gd name="T55" fmla="*/ 828 h 1068"/>
              <a:gd name="T56" fmla="*/ 1158 w 1759"/>
              <a:gd name="T57" fmla="*/ 788 h 1068"/>
              <a:gd name="T58" fmla="*/ 1093 w 1759"/>
              <a:gd name="T59" fmla="*/ 780 h 1068"/>
              <a:gd name="T60" fmla="*/ 996 w 1759"/>
              <a:gd name="T61" fmla="*/ 764 h 1068"/>
              <a:gd name="T62" fmla="*/ 907 w 1759"/>
              <a:gd name="T63" fmla="*/ 717 h 1068"/>
              <a:gd name="T64" fmla="*/ 826 w 1759"/>
              <a:gd name="T65" fmla="*/ 772 h 1068"/>
              <a:gd name="T66" fmla="*/ 713 w 1759"/>
              <a:gd name="T67" fmla="*/ 796 h 1068"/>
              <a:gd name="T68" fmla="*/ 607 w 1759"/>
              <a:gd name="T69" fmla="*/ 804 h 1068"/>
              <a:gd name="T70" fmla="*/ 502 w 1759"/>
              <a:gd name="T71" fmla="*/ 820 h 1068"/>
              <a:gd name="T72" fmla="*/ 380 w 1759"/>
              <a:gd name="T73" fmla="*/ 836 h 1068"/>
              <a:gd name="T74" fmla="*/ 251 w 1759"/>
              <a:gd name="T75" fmla="*/ 868 h 1068"/>
              <a:gd name="T76" fmla="*/ 154 w 1759"/>
              <a:gd name="T77" fmla="*/ 940 h 1068"/>
              <a:gd name="T78" fmla="*/ 105 w 1759"/>
              <a:gd name="T79" fmla="*/ 1019 h 1068"/>
              <a:gd name="T80" fmla="*/ 64 w 1759"/>
              <a:gd name="T81" fmla="*/ 1067 h 1068"/>
              <a:gd name="T82" fmla="*/ 8 w 1759"/>
              <a:gd name="T83" fmla="*/ 932 h 1068"/>
              <a:gd name="T84" fmla="*/ 8 w 1759"/>
              <a:gd name="T85" fmla="*/ 772 h 1068"/>
              <a:gd name="T86" fmla="*/ 64 w 1759"/>
              <a:gd name="T87" fmla="*/ 589 h 1068"/>
              <a:gd name="T88" fmla="*/ 81 w 1759"/>
              <a:gd name="T89" fmla="*/ 406 h 10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59" h="1068">
                <a:moveTo>
                  <a:pt x="154" y="358"/>
                </a:moveTo>
                <a:lnTo>
                  <a:pt x="194" y="318"/>
                </a:lnTo>
                <a:cubicBezTo>
                  <a:pt x="194" y="318"/>
                  <a:pt x="243" y="278"/>
                  <a:pt x="251" y="278"/>
                </a:cubicBezTo>
                <a:cubicBezTo>
                  <a:pt x="267" y="271"/>
                  <a:pt x="291" y="255"/>
                  <a:pt x="291" y="263"/>
                </a:cubicBezTo>
                <a:cubicBezTo>
                  <a:pt x="291" y="271"/>
                  <a:pt x="299" y="326"/>
                  <a:pt x="299" y="326"/>
                </a:cubicBezTo>
                <a:lnTo>
                  <a:pt x="340" y="342"/>
                </a:lnTo>
                <a:lnTo>
                  <a:pt x="372" y="366"/>
                </a:lnTo>
                <a:lnTo>
                  <a:pt x="437" y="398"/>
                </a:lnTo>
                <a:lnTo>
                  <a:pt x="445" y="422"/>
                </a:lnTo>
                <a:cubicBezTo>
                  <a:pt x="445" y="422"/>
                  <a:pt x="437" y="438"/>
                  <a:pt x="453" y="462"/>
                </a:cubicBezTo>
                <a:cubicBezTo>
                  <a:pt x="478" y="486"/>
                  <a:pt x="486" y="486"/>
                  <a:pt x="494" y="509"/>
                </a:cubicBezTo>
                <a:cubicBezTo>
                  <a:pt x="502" y="525"/>
                  <a:pt x="534" y="541"/>
                  <a:pt x="534" y="541"/>
                </a:cubicBezTo>
                <a:lnTo>
                  <a:pt x="575" y="549"/>
                </a:lnTo>
                <a:cubicBezTo>
                  <a:pt x="575" y="549"/>
                  <a:pt x="615" y="565"/>
                  <a:pt x="623" y="557"/>
                </a:cubicBezTo>
                <a:cubicBezTo>
                  <a:pt x="631" y="549"/>
                  <a:pt x="672" y="517"/>
                  <a:pt x="672" y="509"/>
                </a:cubicBezTo>
                <a:cubicBezTo>
                  <a:pt x="680" y="502"/>
                  <a:pt x="704" y="470"/>
                  <a:pt x="713" y="462"/>
                </a:cubicBezTo>
                <a:cubicBezTo>
                  <a:pt x="721" y="454"/>
                  <a:pt x="745" y="398"/>
                  <a:pt x="745" y="390"/>
                </a:cubicBezTo>
                <a:cubicBezTo>
                  <a:pt x="745" y="374"/>
                  <a:pt x="713" y="310"/>
                  <a:pt x="704" y="294"/>
                </a:cubicBezTo>
                <a:cubicBezTo>
                  <a:pt x="704" y="278"/>
                  <a:pt x="696" y="231"/>
                  <a:pt x="696" y="231"/>
                </a:cubicBezTo>
                <a:lnTo>
                  <a:pt x="664" y="167"/>
                </a:lnTo>
                <a:cubicBezTo>
                  <a:pt x="664" y="167"/>
                  <a:pt x="664" y="127"/>
                  <a:pt x="672" y="127"/>
                </a:cubicBezTo>
                <a:cubicBezTo>
                  <a:pt x="680" y="119"/>
                  <a:pt x="721" y="87"/>
                  <a:pt x="721" y="87"/>
                </a:cubicBezTo>
                <a:lnTo>
                  <a:pt x="761" y="48"/>
                </a:lnTo>
                <a:lnTo>
                  <a:pt x="802" y="24"/>
                </a:lnTo>
                <a:lnTo>
                  <a:pt x="834" y="0"/>
                </a:lnTo>
                <a:lnTo>
                  <a:pt x="875" y="16"/>
                </a:lnTo>
                <a:lnTo>
                  <a:pt x="907" y="16"/>
                </a:lnTo>
                <a:lnTo>
                  <a:pt x="939" y="32"/>
                </a:lnTo>
                <a:lnTo>
                  <a:pt x="980" y="32"/>
                </a:lnTo>
                <a:lnTo>
                  <a:pt x="1012" y="40"/>
                </a:lnTo>
                <a:lnTo>
                  <a:pt x="1053" y="55"/>
                </a:lnTo>
                <a:lnTo>
                  <a:pt x="1126" y="103"/>
                </a:lnTo>
                <a:lnTo>
                  <a:pt x="1150" y="135"/>
                </a:lnTo>
                <a:lnTo>
                  <a:pt x="1174" y="143"/>
                </a:lnTo>
                <a:cubicBezTo>
                  <a:pt x="1174" y="143"/>
                  <a:pt x="1190" y="159"/>
                  <a:pt x="1207" y="151"/>
                </a:cubicBezTo>
                <a:cubicBezTo>
                  <a:pt x="1215" y="151"/>
                  <a:pt x="1223" y="143"/>
                  <a:pt x="1231" y="135"/>
                </a:cubicBezTo>
                <a:cubicBezTo>
                  <a:pt x="1247" y="127"/>
                  <a:pt x="1255" y="111"/>
                  <a:pt x="1255" y="111"/>
                </a:cubicBezTo>
                <a:lnTo>
                  <a:pt x="1271" y="111"/>
                </a:lnTo>
                <a:lnTo>
                  <a:pt x="1288" y="87"/>
                </a:lnTo>
                <a:lnTo>
                  <a:pt x="1352" y="103"/>
                </a:lnTo>
                <a:lnTo>
                  <a:pt x="1385" y="103"/>
                </a:lnTo>
                <a:lnTo>
                  <a:pt x="1433" y="87"/>
                </a:lnTo>
                <a:lnTo>
                  <a:pt x="1458" y="111"/>
                </a:lnTo>
                <a:lnTo>
                  <a:pt x="1458" y="135"/>
                </a:lnTo>
                <a:lnTo>
                  <a:pt x="1490" y="143"/>
                </a:lnTo>
                <a:cubicBezTo>
                  <a:pt x="1490" y="143"/>
                  <a:pt x="1515" y="159"/>
                  <a:pt x="1523" y="159"/>
                </a:cubicBezTo>
                <a:cubicBezTo>
                  <a:pt x="1531" y="159"/>
                  <a:pt x="1547" y="167"/>
                  <a:pt x="1547" y="167"/>
                </a:cubicBezTo>
                <a:lnTo>
                  <a:pt x="1555" y="247"/>
                </a:lnTo>
                <a:lnTo>
                  <a:pt x="1539" y="271"/>
                </a:lnTo>
                <a:lnTo>
                  <a:pt x="1555" y="334"/>
                </a:lnTo>
                <a:lnTo>
                  <a:pt x="1555" y="366"/>
                </a:lnTo>
                <a:lnTo>
                  <a:pt x="1587" y="342"/>
                </a:lnTo>
                <a:lnTo>
                  <a:pt x="1620" y="366"/>
                </a:lnTo>
                <a:lnTo>
                  <a:pt x="1604" y="390"/>
                </a:lnTo>
                <a:lnTo>
                  <a:pt x="1644" y="422"/>
                </a:lnTo>
                <a:lnTo>
                  <a:pt x="1677" y="438"/>
                </a:lnTo>
                <a:lnTo>
                  <a:pt x="1668" y="462"/>
                </a:lnTo>
                <a:cubicBezTo>
                  <a:pt x="1668" y="462"/>
                  <a:pt x="1677" y="470"/>
                  <a:pt x="1685" y="470"/>
                </a:cubicBezTo>
                <a:cubicBezTo>
                  <a:pt x="1693" y="478"/>
                  <a:pt x="1709" y="486"/>
                  <a:pt x="1709" y="486"/>
                </a:cubicBezTo>
                <a:cubicBezTo>
                  <a:pt x="1709" y="486"/>
                  <a:pt x="1717" y="510"/>
                  <a:pt x="1717" y="525"/>
                </a:cubicBezTo>
                <a:cubicBezTo>
                  <a:pt x="1725" y="533"/>
                  <a:pt x="1758" y="557"/>
                  <a:pt x="1758" y="557"/>
                </a:cubicBezTo>
                <a:lnTo>
                  <a:pt x="1749" y="597"/>
                </a:lnTo>
                <a:lnTo>
                  <a:pt x="1749" y="621"/>
                </a:lnTo>
                <a:lnTo>
                  <a:pt x="1749" y="645"/>
                </a:lnTo>
                <a:lnTo>
                  <a:pt x="1749" y="637"/>
                </a:lnTo>
                <a:lnTo>
                  <a:pt x="1709" y="661"/>
                </a:lnTo>
                <a:lnTo>
                  <a:pt x="1701" y="717"/>
                </a:lnTo>
                <a:lnTo>
                  <a:pt x="1660" y="756"/>
                </a:lnTo>
                <a:lnTo>
                  <a:pt x="1677" y="796"/>
                </a:lnTo>
                <a:lnTo>
                  <a:pt x="1660" y="820"/>
                </a:lnTo>
                <a:lnTo>
                  <a:pt x="1596" y="820"/>
                </a:lnTo>
                <a:lnTo>
                  <a:pt x="1555" y="820"/>
                </a:lnTo>
                <a:cubicBezTo>
                  <a:pt x="1523" y="820"/>
                  <a:pt x="1531" y="820"/>
                  <a:pt x="1531" y="820"/>
                </a:cubicBezTo>
                <a:lnTo>
                  <a:pt x="1506" y="844"/>
                </a:lnTo>
                <a:lnTo>
                  <a:pt x="1498" y="892"/>
                </a:lnTo>
                <a:cubicBezTo>
                  <a:pt x="1498" y="892"/>
                  <a:pt x="1482" y="892"/>
                  <a:pt x="1450" y="900"/>
                </a:cubicBezTo>
                <a:cubicBezTo>
                  <a:pt x="1434" y="908"/>
                  <a:pt x="1434" y="916"/>
                  <a:pt x="1434" y="916"/>
                </a:cubicBezTo>
                <a:lnTo>
                  <a:pt x="1409" y="916"/>
                </a:lnTo>
                <a:lnTo>
                  <a:pt x="1369" y="908"/>
                </a:lnTo>
                <a:lnTo>
                  <a:pt x="1336" y="908"/>
                </a:lnTo>
                <a:lnTo>
                  <a:pt x="1320" y="876"/>
                </a:lnTo>
                <a:lnTo>
                  <a:pt x="1296" y="868"/>
                </a:lnTo>
                <a:lnTo>
                  <a:pt x="1272" y="836"/>
                </a:lnTo>
                <a:lnTo>
                  <a:pt x="1239" y="828"/>
                </a:lnTo>
                <a:lnTo>
                  <a:pt x="1223" y="804"/>
                </a:lnTo>
                <a:lnTo>
                  <a:pt x="1182" y="804"/>
                </a:lnTo>
                <a:lnTo>
                  <a:pt x="1158" y="788"/>
                </a:lnTo>
                <a:lnTo>
                  <a:pt x="1150" y="772"/>
                </a:lnTo>
                <a:lnTo>
                  <a:pt x="1126" y="772"/>
                </a:lnTo>
                <a:lnTo>
                  <a:pt x="1093" y="780"/>
                </a:lnTo>
                <a:lnTo>
                  <a:pt x="1037" y="796"/>
                </a:lnTo>
                <a:lnTo>
                  <a:pt x="1004" y="772"/>
                </a:lnTo>
                <a:lnTo>
                  <a:pt x="996" y="764"/>
                </a:lnTo>
                <a:lnTo>
                  <a:pt x="964" y="741"/>
                </a:lnTo>
                <a:lnTo>
                  <a:pt x="947" y="693"/>
                </a:lnTo>
                <a:cubicBezTo>
                  <a:pt x="947" y="693"/>
                  <a:pt x="915" y="717"/>
                  <a:pt x="907" y="717"/>
                </a:cubicBezTo>
                <a:lnTo>
                  <a:pt x="883" y="756"/>
                </a:lnTo>
                <a:lnTo>
                  <a:pt x="875" y="788"/>
                </a:lnTo>
                <a:lnTo>
                  <a:pt x="826" y="772"/>
                </a:lnTo>
                <a:cubicBezTo>
                  <a:pt x="826" y="772"/>
                  <a:pt x="802" y="804"/>
                  <a:pt x="802" y="812"/>
                </a:cubicBezTo>
                <a:cubicBezTo>
                  <a:pt x="794" y="812"/>
                  <a:pt x="761" y="796"/>
                  <a:pt x="761" y="796"/>
                </a:cubicBezTo>
                <a:lnTo>
                  <a:pt x="713" y="796"/>
                </a:lnTo>
                <a:cubicBezTo>
                  <a:pt x="713" y="796"/>
                  <a:pt x="664" y="796"/>
                  <a:pt x="656" y="788"/>
                </a:cubicBezTo>
                <a:cubicBezTo>
                  <a:pt x="648" y="788"/>
                  <a:pt x="648" y="796"/>
                  <a:pt x="648" y="796"/>
                </a:cubicBezTo>
                <a:lnTo>
                  <a:pt x="607" y="804"/>
                </a:lnTo>
                <a:lnTo>
                  <a:pt x="559" y="812"/>
                </a:lnTo>
                <a:cubicBezTo>
                  <a:pt x="559" y="812"/>
                  <a:pt x="550" y="844"/>
                  <a:pt x="542" y="852"/>
                </a:cubicBezTo>
                <a:cubicBezTo>
                  <a:pt x="534" y="852"/>
                  <a:pt x="510" y="828"/>
                  <a:pt x="502" y="820"/>
                </a:cubicBezTo>
                <a:cubicBezTo>
                  <a:pt x="502" y="812"/>
                  <a:pt x="478" y="804"/>
                  <a:pt x="478" y="804"/>
                </a:cubicBezTo>
                <a:lnTo>
                  <a:pt x="445" y="828"/>
                </a:lnTo>
                <a:cubicBezTo>
                  <a:pt x="445" y="828"/>
                  <a:pt x="388" y="836"/>
                  <a:pt x="380" y="836"/>
                </a:cubicBezTo>
                <a:cubicBezTo>
                  <a:pt x="372" y="836"/>
                  <a:pt x="332" y="852"/>
                  <a:pt x="332" y="852"/>
                </a:cubicBezTo>
                <a:lnTo>
                  <a:pt x="275" y="844"/>
                </a:lnTo>
                <a:lnTo>
                  <a:pt x="251" y="868"/>
                </a:lnTo>
                <a:lnTo>
                  <a:pt x="202" y="900"/>
                </a:lnTo>
                <a:lnTo>
                  <a:pt x="170" y="900"/>
                </a:lnTo>
                <a:lnTo>
                  <a:pt x="154" y="940"/>
                </a:lnTo>
                <a:lnTo>
                  <a:pt x="121" y="956"/>
                </a:lnTo>
                <a:lnTo>
                  <a:pt x="113" y="971"/>
                </a:lnTo>
                <a:lnTo>
                  <a:pt x="105" y="1019"/>
                </a:lnTo>
                <a:cubicBezTo>
                  <a:pt x="105" y="1019"/>
                  <a:pt x="81" y="1027"/>
                  <a:pt x="64" y="1027"/>
                </a:cubicBezTo>
                <a:cubicBezTo>
                  <a:pt x="56" y="1035"/>
                  <a:pt x="72" y="1043"/>
                  <a:pt x="72" y="1043"/>
                </a:cubicBezTo>
                <a:lnTo>
                  <a:pt x="64" y="1067"/>
                </a:lnTo>
                <a:lnTo>
                  <a:pt x="56" y="1059"/>
                </a:lnTo>
                <a:cubicBezTo>
                  <a:pt x="56" y="1059"/>
                  <a:pt x="48" y="1035"/>
                  <a:pt x="40" y="1019"/>
                </a:cubicBezTo>
                <a:cubicBezTo>
                  <a:pt x="24" y="1003"/>
                  <a:pt x="8" y="932"/>
                  <a:pt x="8" y="932"/>
                </a:cubicBezTo>
                <a:lnTo>
                  <a:pt x="24" y="900"/>
                </a:lnTo>
                <a:lnTo>
                  <a:pt x="24" y="860"/>
                </a:lnTo>
                <a:cubicBezTo>
                  <a:pt x="16" y="844"/>
                  <a:pt x="8" y="772"/>
                  <a:pt x="8" y="772"/>
                </a:cubicBezTo>
                <a:cubicBezTo>
                  <a:pt x="8" y="772"/>
                  <a:pt x="0" y="741"/>
                  <a:pt x="0" y="733"/>
                </a:cubicBezTo>
                <a:cubicBezTo>
                  <a:pt x="0" y="725"/>
                  <a:pt x="56" y="661"/>
                  <a:pt x="56" y="661"/>
                </a:cubicBezTo>
                <a:cubicBezTo>
                  <a:pt x="56" y="653"/>
                  <a:pt x="64" y="589"/>
                  <a:pt x="64" y="589"/>
                </a:cubicBezTo>
                <a:lnTo>
                  <a:pt x="48" y="541"/>
                </a:lnTo>
                <a:lnTo>
                  <a:pt x="64" y="478"/>
                </a:lnTo>
                <a:lnTo>
                  <a:pt x="81" y="406"/>
                </a:lnTo>
                <a:cubicBezTo>
                  <a:pt x="81" y="406"/>
                  <a:pt x="89" y="374"/>
                  <a:pt x="97" y="374"/>
                </a:cubicBezTo>
                <a:cubicBezTo>
                  <a:pt x="105" y="366"/>
                  <a:pt x="154" y="358"/>
                  <a:pt x="154" y="358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54" name="Freeform 46">
            <a:extLst>
              <a:ext uri="{FF2B5EF4-FFF2-40B4-BE49-F238E27FC236}">
                <a16:creationId xmlns:a16="http://schemas.microsoft.com/office/drawing/2014/main" id="{D0FD787A-0792-988B-7B4A-1FA51F3DF7ED}"/>
              </a:ext>
            </a:extLst>
          </p:cNvPr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7855274" y="4770746"/>
            <a:ext cx="528875" cy="450992"/>
          </a:xfrm>
          <a:custGeom>
            <a:avLst/>
            <a:gdLst>
              <a:gd name="T0" fmla="*/ 1148 w 1288"/>
              <a:gd name="T1" fmla="*/ 111 h 1100"/>
              <a:gd name="T2" fmla="*/ 1116 w 1288"/>
              <a:gd name="T3" fmla="*/ 222 h 1100"/>
              <a:gd name="T4" fmla="*/ 1108 w 1288"/>
              <a:gd name="T5" fmla="*/ 317 h 1100"/>
              <a:gd name="T6" fmla="*/ 1181 w 1288"/>
              <a:gd name="T7" fmla="*/ 356 h 1100"/>
              <a:gd name="T8" fmla="*/ 1246 w 1288"/>
              <a:gd name="T9" fmla="*/ 404 h 1100"/>
              <a:gd name="T10" fmla="*/ 1262 w 1288"/>
              <a:gd name="T11" fmla="*/ 459 h 1100"/>
              <a:gd name="T12" fmla="*/ 1173 w 1288"/>
              <a:gd name="T13" fmla="*/ 459 h 1100"/>
              <a:gd name="T14" fmla="*/ 1230 w 1288"/>
              <a:gd name="T15" fmla="*/ 530 h 1100"/>
              <a:gd name="T16" fmla="*/ 1262 w 1288"/>
              <a:gd name="T17" fmla="*/ 633 h 1100"/>
              <a:gd name="T18" fmla="*/ 1181 w 1288"/>
              <a:gd name="T19" fmla="*/ 656 h 1100"/>
              <a:gd name="T20" fmla="*/ 1140 w 1288"/>
              <a:gd name="T21" fmla="*/ 672 h 1100"/>
              <a:gd name="T22" fmla="*/ 1099 w 1288"/>
              <a:gd name="T23" fmla="*/ 680 h 1100"/>
              <a:gd name="T24" fmla="*/ 1124 w 1288"/>
              <a:gd name="T25" fmla="*/ 704 h 1100"/>
              <a:gd name="T26" fmla="*/ 1157 w 1288"/>
              <a:gd name="T27" fmla="*/ 743 h 1100"/>
              <a:gd name="T28" fmla="*/ 1124 w 1288"/>
              <a:gd name="T29" fmla="*/ 775 h 1100"/>
              <a:gd name="T30" fmla="*/ 1083 w 1288"/>
              <a:gd name="T31" fmla="*/ 751 h 1100"/>
              <a:gd name="T32" fmla="*/ 1034 w 1288"/>
              <a:gd name="T33" fmla="*/ 830 h 1100"/>
              <a:gd name="T34" fmla="*/ 1010 w 1288"/>
              <a:gd name="T35" fmla="*/ 902 h 1100"/>
              <a:gd name="T36" fmla="*/ 1010 w 1288"/>
              <a:gd name="T37" fmla="*/ 973 h 1100"/>
              <a:gd name="T38" fmla="*/ 1026 w 1288"/>
              <a:gd name="T39" fmla="*/ 1028 h 1100"/>
              <a:gd name="T40" fmla="*/ 1042 w 1288"/>
              <a:gd name="T41" fmla="*/ 1068 h 1100"/>
              <a:gd name="T42" fmla="*/ 1010 w 1288"/>
              <a:gd name="T43" fmla="*/ 1099 h 1100"/>
              <a:gd name="T44" fmla="*/ 928 w 1288"/>
              <a:gd name="T45" fmla="*/ 1091 h 1100"/>
              <a:gd name="T46" fmla="*/ 863 w 1288"/>
              <a:gd name="T47" fmla="*/ 1060 h 1100"/>
              <a:gd name="T48" fmla="*/ 757 w 1288"/>
              <a:gd name="T49" fmla="*/ 981 h 1100"/>
              <a:gd name="T50" fmla="*/ 627 w 1288"/>
              <a:gd name="T51" fmla="*/ 862 h 1100"/>
              <a:gd name="T52" fmla="*/ 554 w 1288"/>
              <a:gd name="T53" fmla="*/ 807 h 1100"/>
              <a:gd name="T54" fmla="*/ 480 w 1288"/>
              <a:gd name="T55" fmla="*/ 736 h 1100"/>
              <a:gd name="T56" fmla="*/ 423 w 1288"/>
              <a:gd name="T57" fmla="*/ 680 h 1100"/>
              <a:gd name="T58" fmla="*/ 350 w 1288"/>
              <a:gd name="T59" fmla="*/ 625 h 1100"/>
              <a:gd name="T60" fmla="*/ 285 w 1288"/>
              <a:gd name="T61" fmla="*/ 562 h 1100"/>
              <a:gd name="T62" fmla="*/ 228 w 1288"/>
              <a:gd name="T63" fmla="*/ 506 h 1100"/>
              <a:gd name="T64" fmla="*/ 187 w 1288"/>
              <a:gd name="T65" fmla="*/ 427 h 1100"/>
              <a:gd name="T66" fmla="*/ 138 w 1288"/>
              <a:gd name="T67" fmla="*/ 348 h 1100"/>
              <a:gd name="T68" fmla="*/ 114 w 1288"/>
              <a:gd name="T69" fmla="*/ 309 h 1100"/>
              <a:gd name="T70" fmla="*/ 40 w 1288"/>
              <a:gd name="T71" fmla="*/ 285 h 1100"/>
              <a:gd name="T72" fmla="*/ 8 w 1288"/>
              <a:gd name="T73" fmla="*/ 182 h 1100"/>
              <a:gd name="T74" fmla="*/ 16 w 1288"/>
              <a:gd name="T75" fmla="*/ 119 h 1100"/>
              <a:gd name="T76" fmla="*/ 24 w 1288"/>
              <a:gd name="T77" fmla="*/ 72 h 1100"/>
              <a:gd name="T78" fmla="*/ 146 w 1288"/>
              <a:gd name="T79" fmla="*/ 119 h 1100"/>
              <a:gd name="T80" fmla="*/ 203 w 1288"/>
              <a:gd name="T81" fmla="*/ 87 h 1100"/>
              <a:gd name="T82" fmla="*/ 252 w 1288"/>
              <a:gd name="T83" fmla="*/ 40 h 1100"/>
              <a:gd name="T84" fmla="*/ 342 w 1288"/>
              <a:gd name="T85" fmla="*/ 16 h 1100"/>
              <a:gd name="T86" fmla="*/ 448 w 1288"/>
              <a:gd name="T87" fmla="*/ 40 h 1100"/>
              <a:gd name="T88" fmla="*/ 537 w 1288"/>
              <a:gd name="T89" fmla="*/ 40 h 1100"/>
              <a:gd name="T90" fmla="*/ 651 w 1288"/>
              <a:gd name="T91" fmla="*/ 48 h 1100"/>
              <a:gd name="T92" fmla="*/ 717 w 1288"/>
              <a:gd name="T93" fmla="*/ 40 h 1100"/>
              <a:gd name="T94" fmla="*/ 765 w 1288"/>
              <a:gd name="T95" fmla="*/ 16 h 1100"/>
              <a:gd name="T96" fmla="*/ 806 w 1288"/>
              <a:gd name="T97" fmla="*/ 8 h 1100"/>
              <a:gd name="T98" fmla="*/ 871 w 1288"/>
              <a:gd name="T99" fmla="*/ 24 h 1100"/>
              <a:gd name="T100" fmla="*/ 961 w 1288"/>
              <a:gd name="T101" fmla="*/ 87 h 1100"/>
              <a:gd name="T102" fmla="*/ 1059 w 1288"/>
              <a:gd name="T103" fmla="*/ 95 h 1100"/>
              <a:gd name="T104" fmla="*/ 1189 w 1288"/>
              <a:gd name="T105" fmla="*/ 656 h 1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88" h="1100">
                <a:moveTo>
                  <a:pt x="1075" y="72"/>
                </a:moveTo>
                <a:lnTo>
                  <a:pt x="1124" y="79"/>
                </a:lnTo>
                <a:lnTo>
                  <a:pt x="1148" y="87"/>
                </a:lnTo>
                <a:lnTo>
                  <a:pt x="1148" y="111"/>
                </a:lnTo>
                <a:lnTo>
                  <a:pt x="1148" y="143"/>
                </a:lnTo>
                <a:lnTo>
                  <a:pt x="1148" y="166"/>
                </a:lnTo>
                <a:lnTo>
                  <a:pt x="1124" y="198"/>
                </a:lnTo>
                <a:lnTo>
                  <a:pt x="1116" y="222"/>
                </a:lnTo>
                <a:cubicBezTo>
                  <a:pt x="1116" y="230"/>
                  <a:pt x="1108" y="245"/>
                  <a:pt x="1108" y="245"/>
                </a:cubicBezTo>
                <a:cubicBezTo>
                  <a:pt x="1108" y="245"/>
                  <a:pt x="1091" y="238"/>
                  <a:pt x="1100" y="261"/>
                </a:cubicBezTo>
                <a:cubicBezTo>
                  <a:pt x="1100" y="285"/>
                  <a:pt x="1108" y="277"/>
                  <a:pt x="1108" y="285"/>
                </a:cubicBezTo>
                <a:lnTo>
                  <a:pt x="1108" y="317"/>
                </a:lnTo>
                <a:cubicBezTo>
                  <a:pt x="1100" y="324"/>
                  <a:pt x="1108" y="324"/>
                  <a:pt x="1100" y="332"/>
                </a:cubicBezTo>
                <a:cubicBezTo>
                  <a:pt x="1100" y="340"/>
                  <a:pt x="1116" y="348"/>
                  <a:pt x="1132" y="348"/>
                </a:cubicBezTo>
                <a:cubicBezTo>
                  <a:pt x="1148" y="356"/>
                  <a:pt x="1148" y="348"/>
                  <a:pt x="1157" y="348"/>
                </a:cubicBezTo>
                <a:cubicBezTo>
                  <a:pt x="1165" y="348"/>
                  <a:pt x="1173" y="356"/>
                  <a:pt x="1181" y="356"/>
                </a:cubicBezTo>
                <a:cubicBezTo>
                  <a:pt x="1189" y="364"/>
                  <a:pt x="1189" y="364"/>
                  <a:pt x="1189" y="372"/>
                </a:cubicBezTo>
                <a:cubicBezTo>
                  <a:pt x="1197" y="380"/>
                  <a:pt x="1205" y="388"/>
                  <a:pt x="1214" y="396"/>
                </a:cubicBezTo>
                <a:cubicBezTo>
                  <a:pt x="1222" y="396"/>
                  <a:pt x="1222" y="388"/>
                  <a:pt x="1230" y="388"/>
                </a:cubicBezTo>
                <a:cubicBezTo>
                  <a:pt x="1230" y="396"/>
                  <a:pt x="1238" y="404"/>
                  <a:pt x="1246" y="404"/>
                </a:cubicBezTo>
                <a:cubicBezTo>
                  <a:pt x="1246" y="411"/>
                  <a:pt x="1254" y="419"/>
                  <a:pt x="1262" y="419"/>
                </a:cubicBezTo>
                <a:lnTo>
                  <a:pt x="1279" y="427"/>
                </a:lnTo>
                <a:cubicBezTo>
                  <a:pt x="1287" y="435"/>
                  <a:pt x="1279" y="443"/>
                  <a:pt x="1279" y="443"/>
                </a:cubicBezTo>
                <a:cubicBezTo>
                  <a:pt x="1271" y="443"/>
                  <a:pt x="1271" y="459"/>
                  <a:pt x="1262" y="459"/>
                </a:cubicBezTo>
                <a:lnTo>
                  <a:pt x="1238" y="467"/>
                </a:lnTo>
                <a:lnTo>
                  <a:pt x="1214" y="467"/>
                </a:lnTo>
                <a:cubicBezTo>
                  <a:pt x="1205" y="467"/>
                  <a:pt x="1197" y="467"/>
                  <a:pt x="1189" y="459"/>
                </a:cubicBezTo>
                <a:lnTo>
                  <a:pt x="1173" y="459"/>
                </a:lnTo>
                <a:lnTo>
                  <a:pt x="1173" y="483"/>
                </a:lnTo>
                <a:cubicBezTo>
                  <a:pt x="1173" y="483"/>
                  <a:pt x="1181" y="491"/>
                  <a:pt x="1189" y="498"/>
                </a:cubicBezTo>
                <a:cubicBezTo>
                  <a:pt x="1189" y="498"/>
                  <a:pt x="1205" y="514"/>
                  <a:pt x="1214" y="514"/>
                </a:cubicBezTo>
                <a:cubicBezTo>
                  <a:pt x="1214" y="514"/>
                  <a:pt x="1222" y="522"/>
                  <a:pt x="1230" y="530"/>
                </a:cubicBezTo>
                <a:cubicBezTo>
                  <a:pt x="1238" y="546"/>
                  <a:pt x="1238" y="554"/>
                  <a:pt x="1238" y="554"/>
                </a:cubicBezTo>
                <a:lnTo>
                  <a:pt x="1279" y="585"/>
                </a:lnTo>
                <a:lnTo>
                  <a:pt x="1279" y="617"/>
                </a:lnTo>
                <a:cubicBezTo>
                  <a:pt x="1279" y="649"/>
                  <a:pt x="1271" y="633"/>
                  <a:pt x="1262" y="633"/>
                </a:cubicBezTo>
                <a:cubicBezTo>
                  <a:pt x="1254" y="633"/>
                  <a:pt x="1246" y="633"/>
                  <a:pt x="1230" y="625"/>
                </a:cubicBezTo>
                <a:lnTo>
                  <a:pt x="1222" y="625"/>
                </a:lnTo>
                <a:lnTo>
                  <a:pt x="1205" y="649"/>
                </a:lnTo>
                <a:cubicBezTo>
                  <a:pt x="1205" y="649"/>
                  <a:pt x="1189" y="649"/>
                  <a:pt x="1181" y="656"/>
                </a:cubicBezTo>
                <a:lnTo>
                  <a:pt x="1173" y="656"/>
                </a:lnTo>
                <a:lnTo>
                  <a:pt x="1157" y="664"/>
                </a:lnTo>
                <a:lnTo>
                  <a:pt x="1148" y="672"/>
                </a:lnTo>
                <a:lnTo>
                  <a:pt x="1140" y="672"/>
                </a:lnTo>
                <a:lnTo>
                  <a:pt x="1132" y="664"/>
                </a:lnTo>
                <a:lnTo>
                  <a:pt x="1124" y="656"/>
                </a:lnTo>
                <a:lnTo>
                  <a:pt x="1108" y="672"/>
                </a:lnTo>
                <a:lnTo>
                  <a:pt x="1099" y="680"/>
                </a:lnTo>
                <a:lnTo>
                  <a:pt x="1099" y="688"/>
                </a:lnTo>
                <a:lnTo>
                  <a:pt x="1116" y="688"/>
                </a:lnTo>
                <a:lnTo>
                  <a:pt x="1116" y="704"/>
                </a:lnTo>
                <a:lnTo>
                  <a:pt x="1124" y="704"/>
                </a:lnTo>
                <a:lnTo>
                  <a:pt x="1132" y="712"/>
                </a:lnTo>
                <a:lnTo>
                  <a:pt x="1140" y="720"/>
                </a:lnTo>
                <a:lnTo>
                  <a:pt x="1140" y="736"/>
                </a:lnTo>
                <a:lnTo>
                  <a:pt x="1157" y="743"/>
                </a:lnTo>
                <a:lnTo>
                  <a:pt x="1157" y="759"/>
                </a:lnTo>
                <a:lnTo>
                  <a:pt x="1148" y="767"/>
                </a:lnTo>
                <a:lnTo>
                  <a:pt x="1140" y="775"/>
                </a:lnTo>
                <a:lnTo>
                  <a:pt x="1124" y="775"/>
                </a:lnTo>
                <a:lnTo>
                  <a:pt x="1124" y="767"/>
                </a:lnTo>
                <a:lnTo>
                  <a:pt x="1116" y="751"/>
                </a:lnTo>
                <a:lnTo>
                  <a:pt x="1108" y="743"/>
                </a:lnTo>
                <a:lnTo>
                  <a:pt x="1083" y="751"/>
                </a:lnTo>
                <a:lnTo>
                  <a:pt x="1083" y="767"/>
                </a:lnTo>
                <a:lnTo>
                  <a:pt x="1042" y="799"/>
                </a:lnTo>
                <a:lnTo>
                  <a:pt x="1051" y="815"/>
                </a:lnTo>
                <a:lnTo>
                  <a:pt x="1034" y="830"/>
                </a:lnTo>
                <a:lnTo>
                  <a:pt x="1034" y="854"/>
                </a:lnTo>
                <a:lnTo>
                  <a:pt x="1042" y="878"/>
                </a:lnTo>
                <a:lnTo>
                  <a:pt x="1042" y="894"/>
                </a:lnTo>
                <a:lnTo>
                  <a:pt x="1010" y="902"/>
                </a:lnTo>
                <a:lnTo>
                  <a:pt x="985" y="909"/>
                </a:lnTo>
                <a:lnTo>
                  <a:pt x="985" y="933"/>
                </a:lnTo>
                <a:lnTo>
                  <a:pt x="985" y="941"/>
                </a:lnTo>
                <a:lnTo>
                  <a:pt x="1010" y="973"/>
                </a:lnTo>
                <a:lnTo>
                  <a:pt x="1002" y="981"/>
                </a:lnTo>
                <a:lnTo>
                  <a:pt x="994" y="988"/>
                </a:lnTo>
                <a:lnTo>
                  <a:pt x="1018" y="1020"/>
                </a:lnTo>
                <a:lnTo>
                  <a:pt x="1026" y="1028"/>
                </a:lnTo>
                <a:lnTo>
                  <a:pt x="1042" y="1028"/>
                </a:lnTo>
                <a:lnTo>
                  <a:pt x="1042" y="1044"/>
                </a:lnTo>
                <a:lnTo>
                  <a:pt x="1042" y="1052"/>
                </a:lnTo>
                <a:lnTo>
                  <a:pt x="1042" y="1068"/>
                </a:lnTo>
                <a:lnTo>
                  <a:pt x="1026" y="1083"/>
                </a:lnTo>
                <a:lnTo>
                  <a:pt x="1034" y="1099"/>
                </a:lnTo>
                <a:lnTo>
                  <a:pt x="1018" y="1091"/>
                </a:lnTo>
                <a:lnTo>
                  <a:pt x="1010" y="1099"/>
                </a:lnTo>
                <a:lnTo>
                  <a:pt x="985" y="1091"/>
                </a:lnTo>
                <a:cubicBezTo>
                  <a:pt x="985" y="1091"/>
                  <a:pt x="969" y="1099"/>
                  <a:pt x="961" y="1099"/>
                </a:cubicBezTo>
                <a:lnTo>
                  <a:pt x="953" y="1099"/>
                </a:lnTo>
                <a:cubicBezTo>
                  <a:pt x="953" y="1099"/>
                  <a:pt x="937" y="1091"/>
                  <a:pt x="928" y="1091"/>
                </a:cubicBezTo>
                <a:lnTo>
                  <a:pt x="928" y="1083"/>
                </a:lnTo>
                <a:lnTo>
                  <a:pt x="920" y="1083"/>
                </a:lnTo>
                <a:lnTo>
                  <a:pt x="912" y="1083"/>
                </a:lnTo>
                <a:lnTo>
                  <a:pt x="863" y="1060"/>
                </a:lnTo>
                <a:lnTo>
                  <a:pt x="823" y="1036"/>
                </a:lnTo>
                <a:lnTo>
                  <a:pt x="806" y="1020"/>
                </a:lnTo>
                <a:lnTo>
                  <a:pt x="798" y="988"/>
                </a:lnTo>
                <a:lnTo>
                  <a:pt x="757" y="981"/>
                </a:lnTo>
                <a:cubicBezTo>
                  <a:pt x="757" y="957"/>
                  <a:pt x="708" y="996"/>
                  <a:pt x="725" y="949"/>
                </a:cubicBezTo>
                <a:lnTo>
                  <a:pt x="725" y="941"/>
                </a:lnTo>
                <a:cubicBezTo>
                  <a:pt x="725" y="933"/>
                  <a:pt x="708" y="917"/>
                  <a:pt x="708" y="917"/>
                </a:cubicBezTo>
                <a:cubicBezTo>
                  <a:pt x="660" y="894"/>
                  <a:pt x="651" y="870"/>
                  <a:pt x="627" y="862"/>
                </a:cubicBezTo>
                <a:lnTo>
                  <a:pt x="619" y="862"/>
                </a:lnTo>
                <a:lnTo>
                  <a:pt x="586" y="830"/>
                </a:lnTo>
                <a:lnTo>
                  <a:pt x="570" y="822"/>
                </a:lnTo>
                <a:lnTo>
                  <a:pt x="554" y="807"/>
                </a:lnTo>
                <a:lnTo>
                  <a:pt x="554" y="791"/>
                </a:lnTo>
                <a:lnTo>
                  <a:pt x="546" y="759"/>
                </a:lnTo>
                <a:cubicBezTo>
                  <a:pt x="546" y="759"/>
                  <a:pt x="513" y="751"/>
                  <a:pt x="497" y="743"/>
                </a:cubicBezTo>
                <a:lnTo>
                  <a:pt x="480" y="736"/>
                </a:lnTo>
                <a:lnTo>
                  <a:pt x="464" y="712"/>
                </a:lnTo>
                <a:lnTo>
                  <a:pt x="456" y="704"/>
                </a:lnTo>
                <a:lnTo>
                  <a:pt x="431" y="680"/>
                </a:lnTo>
                <a:lnTo>
                  <a:pt x="423" y="680"/>
                </a:lnTo>
                <a:lnTo>
                  <a:pt x="383" y="664"/>
                </a:lnTo>
                <a:lnTo>
                  <a:pt x="374" y="649"/>
                </a:lnTo>
                <a:lnTo>
                  <a:pt x="358" y="641"/>
                </a:lnTo>
                <a:lnTo>
                  <a:pt x="350" y="625"/>
                </a:lnTo>
                <a:lnTo>
                  <a:pt x="326" y="617"/>
                </a:lnTo>
                <a:lnTo>
                  <a:pt x="317" y="601"/>
                </a:lnTo>
                <a:lnTo>
                  <a:pt x="309" y="593"/>
                </a:lnTo>
                <a:lnTo>
                  <a:pt x="285" y="562"/>
                </a:lnTo>
                <a:lnTo>
                  <a:pt x="260" y="546"/>
                </a:lnTo>
                <a:lnTo>
                  <a:pt x="252" y="538"/>
                </a:lnTo>
                <a:lnTo>
                  <a:pt x="244" y="530"/>
                </a:lnTo>
                <a:lnTo>
                  <a:pt x="228" y="506"/>
                </a:lnTo>
                <a:lnTo>
                  <a:pt x="203" y="483"/>
                </a:lnTo>
                <a:lnTo>
                  <a:pt x="187" y="467"/>
                </a:lnTo>
                <a:lnTo>
                  <a:pt x="171" y="443"/>
                </a:lnTo>
                <a:lnTo>
                  <a:pt x="187" y="427"/>
                </a:lnTo>
                <a:cubicBezTo>
                  <a:pt x="179" y="419"/>
                  <a:pt x="171" y="419"/>
                  <a:pt x="171" y="411"/>
                </a:cubicBezTo>
                <a:cubicBezTo>
                  <a:pt x="163" y="411"/>
                  <a:pt x="146" y="404"/>
                  <a:pt x="154" y="396"/>
                </a:cubicBezTo>
                <a:cubicBezTo>
                  <a:pt x="154" y="388"/>
                  <a:pt x="146" y="380"/>
                  <a:pt x="146" y="364"/>
                </a:cubicBezTo>
                <a:cubicBezTo>
                  <a:pt x="146" y="356"/>
                  <a:pt x="146" y="348"/>
                  <a:pt x="138" y="348"/>
                </a:cubicBezTo>
                <a:lnTo>
                  <a:pt x="130" y="340"/>
                </a:lnTo>
                <a:lnTo>
                  <a:pt x="114" y="340"/>
                </a:lnTo>
                <a:lnTo>
                  <a:pt x="106" y="340"/>
                </a:lnTo>
                <a:cubicBezTo>
                  <a:pt x="106" y="340"/>
                  <a:pt x="114" y="324"/>
                  <a:pt x="114" y="309"/>
                </a:cubicBezTo>
                <a:lnTo>
                  <a:pt x="81" y="301"/>
                </a:lnTo>
                <a:cubicBezTo>
                  <a:pt x="81" y="301"/>
                  <a:pt x="81" y="277"/>
                  <a:pt x="65" y="269"/>
                </a:cubicBezTo>
                <a:lnTo>
                  <a:pt x="49" y="269"/>
                </a:lnTo>
                <a:cubicBezTo>
                  <a:pt x="40" y="277"/>
                  <a:pt x="40" y="285"/>
                  <a:pt x="40" y="285"/>
                </a:cubicBezTo>
                <a:lnTo>
                  <a:pt x="8" y="253"/>
                </a:lnTo>
                <a:cubicBezTo>
                  <a:pt x="8" y="253"/>
                  <a:pt x="8" y="245"/>
                  <a:pt x="16" y="230"/>
                </a:cubicBezTo>
                <a:cubicBezTo>
                  <a:pt x="32" y="214"/>
                  <a:pt x="16" y="206"/>
                  <a:pt x="16" y="206"/>
                </a:cubicBezTo>
                <a:lnTo>
                  <a:pt x="8" y="182"/>
                </a:lnTo>
                <a:lnTo>
                  <a:pt x="16" y="166"/>
                </a:lnTo>
                <a:lnTo>
                  <a:pt x="8" y="158"/>
                </a:lnTo>
                <a:lnTo>
                  <a:pt x="0" y="151"/>
                </a:lnTo>
                <a:lnTo>
                  <a:pt x="16" y="119"/>
                </a:lnTo>
                <a:cubicBezTo>
                  <a:pt x="16" y="119"/>
                  <a:pt x="8" y="103"/>
                  <a:pt x="8" y="87"/>
                </a:cubicBezTo>
                <a:lnTo>
                  <a:pt x="16" y="79"/>
                </a:lnTo>
                <a:lnTo>
                  <a:pt x="16" y="72"/>
                </a:lnTo>
                <a:lnTo>
                  <a:pt x="24" y="72"/>
                </a:lnTo>
                <a:cubicBezTo>
                  <a:pt x="24" y="64"/>
                  <a:pt x="65" y="56"/>
                  <a:pt x="65" y="56"/>
                </a:cubicBezTo>
                <a:lnTo>
                  <a:pt x="81" y="48"/>
                </a:lnTo>
                <a:lnTo>
                  <a:pt x="114" y="87"/>
                </a:lnTo>
                <a:lnTo>
                  <a:pt x="146" y="119"/>
                </a:lnTo>
                <a:lnTo>
                  <a:pt x="171" y="135"/>
                </a:lnTo>
                <a:cubicBezTo>
                  <a:pt x="171" y="135"/>
                  <a:pt x="179" y="127"/>
                  <a:pt x="187" y="127"/>
                </a:cubicBezTo>
                <a:lnTo>
                  <a:pt x="187" y="103"/>
                </a:lnTo>
                <a:lnTo>
                  <a:pt x="203" y="87"/>
                </a:lnTo>
                <a:lnTo>
                  <a:pt x="211" y="72"/>
                </a:lnTo>
                <a:lnTo>
                  <a:pt x="211" y="56"/>
                </a:lnTo>
                <a:lnTo>
                  <a:pt x="228" y="48"/>
                </a:lnTo>
                <a:lnTo>
                  <a:pt x="252" y="40"/>
                </a:lnTo>
                <a:lnTo>
                  <a:pt x="285" y="32"/>
                </a:lnTo>
                <a:cubicBezTo>
                  <a:pt x="285" y="32"/>
                  <a:pt x="309" y="40"/>
                  <a:pt x="317" y="40"/>
                </a:cubicBezTo>
                <a:lnTo>
                  <a:pt x="326" y="40"/>
                </a:lnTo>
                <a:lnTo>
                  <a:pt x="342" y="16"/>
                </a:lnTo>
                <a:lnTo>
                  <a:pt x="350" y="0"/>
                </a:lnTo>
                <a:lnTo>
                  <a:pt x="391" y="16"/>
                </a:lnTo>
                <a:lnTo>
                  <a:pt x="407" y="32"/>
                </a:lnTo>
                <a:lnTo>
                  <a:pt x="448" y="40"/>
                </a:lnTo>
                <a:lnTo>
                  <a:pt x="464" y="40"/>
                </a:lnTo>
                <a:lnTo>
                  <a:pt x="464" y="32"/>
                </a:lnTo>
                <a:lnTo>
                  <a:pt x="497" y="32"/>
                </a:lnTo>
                <a:lnTo>
                  <a:pt x="537" y="40"/>
                </a:lnTo>
                <a:lnTo>
                  <a:pt x="603" y="40"/>
                </a:lnTo>
                <a:lnTo>
                  <a:pt x="627" y="48"/>
                </a:lnTo>
                <a:lnTo>
                  <a:pt x="643" y="56"/>
                </a:lnTo>
                <a:lnTo>
                  <a:pt x="651" y="48"/>
                </a:lnTo>
                <a:lnTo>
                  <a:pt x="676" y="48"/>
                </a:lnTo>
                <a:lnTo>
                  <a:pt x="684" y="24"/>
                </a:lnTo>
                <a:lnTo>
                  <a:pt x="692" y="40"/>
                </a:lnTo>
                <a:lnTo>
                  <a:pt x="717" y="40"/>
                </a:lnTo>
                <a:lnTo>
                  <a:pt x="725" y="16"/>
                </a:lnTo>
                <a:lnTo>
                  <a:pt x="733" y="24"/>
                </a:lnTo>
                <a:lnTo>
                  <a:pt x="749" y="24"/>
                </a:lnTo>
                <a:cubicBezTo>
                  <a:pt x="757" y="24"/>
                  <a:pt x="765" y="16"/>
                  <a:pt x="765" y="16"/>
                </a:cubicBezTo>
                <a:lnTo>
                  <a:pt x="774" y="24"/>
                </a:lnTo>
                <a:cubicBezTo>
                  <a:pt x="774" y="24"/>
                  <a:pt x="782" y="16"/>
                  <a:pt x="790" y="16"/>
                </a:cubicBezTo>
                <a:lnTo>
                  <a:pt x="806" y="16"/>
                </a:lnTo>
                <a:lnTo>
                  <a:pt x="806" y="8"/>
                </a:lnTo>
                <a:lnTo>
                  <a:pt x="814" y="8"/>
                </a:lnTo>
                <a:cubicBezTo>
                  <a:pt x="814" y="8"/>
                  <a:pt x="822" y="24"/>
                  <a:pt x="839" y="32"/>
                </a:cubicBezTo>
                <a:lnTo>
                  <a:pt x="855" y="32"/>
                </a:lnTo>
                <a:cubicBezTo>
                  <a:pt x="855" y="32"/>
                  <a:pt x="863" y="24"/>
                  <a:pt x="871" y="24"/>
                </a:cubicBezTo>
                <a:lnTo>
                  <a:pt x="904" y="24"/>
                </a:lnTo>
                <a:cubicBezTo>
                  <a:pt x="920" y="24"/>
                  <a:pt x="928" y="40"/>
                  <a:pt x="928" y="40"/>
                </a:cubicBezTo>
                <a:lnTo>
                  <a:pt x="953" y="64"/>
                </a:lnTo>
                <a:cubicBezTo>
                  <a:pt x="953" y="64"/>
                  <a:pt x="961" y="79"/>
                  <a:pt x="961" y="87"/>
                </a:cubicBezTo>
                <a:cubicBezTo>
                  <a:pt x="969" y="95"/>
                  <a:pt x="969" y="103"/>
                  <a:pt x="969" y="103"/>
                </a:cubicBezTo>
                <a:cubicBezTo>
                  <a:pt x="977" y="103"/>
                  <a:pt x="1034" y="127"/>
                  <a:pt x="1042" y="127"/>
                </a:cubicBezTo>
                <a:lnTo>
                  <a:pt x="1051" y="127"/>
                </a:lnTo>
                <a:cubicBezTo>
                  <a:pt x="1051" y="111"/>
                  <a:pt x="1042" y="103"/>
                  <a:pt x="1059" y="95"/>
                </a:cubicBezTo>
                <a:cubicBezTo>
                  <a:pt x="1067" y="95"/>
                  <a:pt x="1075" y="111"/>
                  <a:pt x="1075" y="95"/>
                </a:cubicBezTo>
                <a:cubicBezTo>
                  <a:pt x="1075" y="79"/>
                  <a:pt x="1083" y="87"/>
                  <a:pt x="1075" y="72"/>
                </a:cubicBezTo>
                <a:close/>
                <a:moveTo>
                  <a:pt x="1181" y="656"/>
                </a:moveTo>
                <a:lnTo>
                  <a:pt x="1189" y="656"/>
                </a:lnTo>
                <a:lnTo>
                  <a:pt x="1181" y="656"/>
                </a:lnTo>
                <a:close/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55" name="Freeform 47">
            <a:extLst>
              <a:ext uri="{FF2B5EF4-FFF2-40B4-BE49-F238E27FC236}">
                <a16:creationId xmlns:a16="http://schemas.microsoft.com/office/drawing/2014/main" id="{86956243-D5D4-B428-90B5-AE48406FB3A5}"/>
              </a:ext>
            </a:extLst>
          </p:cNvPr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7855274" y="4770746"/>
            <a:ext cx="528875" cy="450992"/>
          </a:xfrm>
          <a:custGeom>
            <a:avLst/>
            <a:gdLst>
              <a:gd name="T0" fmla="*/ 1148 w 1288"/>
              <a:gd name="T1" fmla="*/ 111 h 1100"/>
              <a:gd name="T2" fmla="*/ 1116 w 1288"/>
              <a:gd name="T3" fmla="*/ 222 h 1100"/>
              <a:gd name="T4" fmla="*/ 1108 w 1288"/>
              <a:gd name="T5" fmla="*/ 317 h 1100"/>
              <a:gd name="T6" fmla="*/ 1181 w 1288"/>
              <a:gd name="T7" fmla="*/ 356 h 1100"/>
              <a:gd name="T8" fmla="*/ 1246 w 1288"/>
              <a:gd name="T9" fmla="*/ 404 h 1100"/>
              <a:gd name="T10" fmla="*/ 1262 w 1288"/>
              <a:gd name="T11" fmla="*/ 459 h 1100"/>
              <a:gd name="T12" fmla="*/ 1173 w 1288"/>
              <a:gd name="T13" fmla="*/ 459 h 1100"/>
              <a:gd name="T14" fmla="*/ 1230 w 1288"/>
              <a:gd name="T15" fmla="*/ 530 h 1100"/>
              <a:gd name="T16" fmla="*/ 1262 w 1288"/>
              <a:gd name="T17" fmla="*/ 633 h 1100"/>
              <a:gd name="T18" fmla="*/ 1181 w 1288"/>
              <a:gd name="T19" fmla="*/ 656 h 1100"/>
              <a:gd name="T20" fmla="*/ 1140 w 1288"/>
              <a:gd name="T21" fmla="*/ 672 h 1100"/>
              <a:gd name="T22" fmla="*/ 1099 w 1288"/>
              <a:gd name="T23" fmla="*/ 680 h 1100"/>
              <a:gd name="T24" fmla="*/ 1124 w 1288"/>
              <a:gd name="T25" fmla="*/ 704 h 1100"/>
              <a:gd name="T26" fmla="*/ 1157 w 1288"/>
              <a:gd name="T27" fmla="*/ 743 h 1100"/>
              <a:gd name="T28" fmla="*/ 1124 w 1288"/>
              <a:gd name="T29" fmla="*/ 775 h 1100"/>
              <a:gd name="T30" fmla="*/ 1083 w 1288"/>
              <a:gd name="T31" fmla="*/ 751 h 1100"/>
              <a:gd name="T32" fmla="*/ 1034 w 1288"/>
              <a:gd name="T33" fmla="*/ 830 h 1100"/>
              <a:gd name="T34" fmla="*/ 1010 w 1288"/>
              <a:gd name="T35" fmla="*/ 902 h 1100"/>
              <a:gd name="T36" fmla="*/ 1010 w 1288"/>
              <a:gd name="T37" fmla="*/ 973 h 1100"/>
              <a:gd name="T38" fmla="*/ 1026 w 1288"/>
              <a:gd name="T39" fmla="*/ 1028 h 1100"/>
              <a:gd name="T40" fmla="*/ 1042 w 1288"/>
              <a:gd name="T41" fmla="*/ 1068 h 1100"/>
              <a:gd name="T42" fmla="*/ 1010 w 1288"/>
              <a:gd name="T43" fmla="*/ 1099 h 1100"/>
              <a:gd name="T44" fmla="*/ 928 w 1288"/>
              <a:gd name="T45" fmla="*/ 1091 h 1100"/>
              <a:gd name="T46" fmla="*/ 863 w 1288"/>
              <a:gd name="T47" fmla="*/ 1060 h 1100"/>
              <a:gd name="T48" fmla="*/ 757 w 1288"/>
              <a:gd name="T49" fmla="*/ 981 h 1100"/>
              <a:gd name="T50" fmla="*/ 627 w 1288"/>
              <a:gd name="T51" fmla="*/ 862 h 1100"/>
              <a:gd name="T52" fmla="*/ 554 w 1288"/>
              <a:gd name="T53" fmla="*/ 807 h 1100"/>
              <a:gd name="T54" fmla="*/ 480 w 1288"/>
              <a:gd name="T55" fmla="*/ 736 h 1100"/>
              <a:gd name="T56" fmla="*/ 423 w 1288"/>
              <a:gd name="T57" fmla="*/ 680 h 1100"/>
              <a:gd name="T58" fmla="*/ 350 w 1288"/>
              <a:gd name="T59" fmla="*/ 625 h 1100"/>
              <a:gd name="T60" fmla="*/ 285 w 1288"/>
              <a:gd name="T61" fmla="*/ 562 h 1100"/>
              <a:gd name="T62" fmla="*/ 228 w 1288"/>
              <a:gd name="T63" fmla="*/ 506 h 1100"/>
              <a:gd name="T64" fmla="*/ 187 w 1288"/>
              <a:gd name="T65" fmla="*/ 427 h 1100"/>
              <a:gd name="T66" fmla="*/ 138 w 1288"/>
              <a:gd name="T67" fmla="*/ 348 h 1100"/>
              <a:gd name="T68" fmla="*/ 114 w 1288"/>
              <a:gd name="T69" fmla="*/ 309 h 1100"/>
              <a:gd name="T70" fmla="*/ 40 w 1288"/>
              <a:gd name="T71" fmla="*/ 285 h 1100"/>
              <a:gd name="T72" fmla="*/ 8 w 1288"/>
              <a:gd name="T73" fmla="*/ 182 h 1100"/>
              <a:gd name="T74" fmla="*/ 16 w 1288"/>
              <a:gd name="T75" fmla="*/ 119 h 1100"/>
              <a:gd name="T76" fmla="*/ 24 w 1288"/>
              <a:gd name="T77" fmla="*/ 72 h 1100"/>
              <a:gd name="T78" fmla="*/ 146 w 1288"/>
              <a:gd name="T79" fmla="*/ 119 h 1100"/>
              <a:gd name="T80" fmla="*/ 203 w 1288"/>
              <a:gd name="T81" fmla="*/ 87 h 1100"/>
              <a:gd name="T82" fmla="*/ 252 w 1288"/>
              <a:gd name="T83" fmla="*/ 40 h 1100"/>
              <a:gd name="T84" fmla="*/ 342 w 1288"/>
              <a:gd name="T85" fmla="*/ 16 h 1100"/>
              <a:gd name="T86" fmla="*/ 448 w 1288"/>
              <a:gd name="T87" fmla="*/ 40 h 1100"/>
              <a:gd name="T88" fmla="*/ 537 w 1288"/>
              <a:gd name="T89" fmla="*/ 40 h 1100"/>
              <a:gd name="T90" fmla="*/ 651 w 1288"/>
              <a:gd name="T91" fmla="*/ 48 h 1100"/>
              <a:gd name="T92" fmla="*/ 717 w 1288"/>
              <a:gd name="T93" fmla="*/ 40 h 1100"/>
              <a:gd name="T94" fmla="*/ 765 w 1288"/>
              <a:gd name="T95" fmla="*/ 16 h 1100"/>
              <a:gd name="T96" fmla="*/ 806 w 1288"/>
              <a:gd name="T97" fmla="*/ 8 h 1100"/>
              <a:gd name="T98" fmla="*/ 871 w 1288"/>
              <a:gd name="T99" fmla="*/ 24 h 1100"/>
              <a:gd name="T100" fmla="*/ 961 w 1288"/>
              <a:gd name="T101" fmla="*/ 87 h 1100"/>
              <a:gd name="T102" fmla="*/ 1059 w 1288"/>
              <a:gd name="T103" fmla="*/ 95 h 1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288" h="1100">
                <a:moveTo>
                  <a:pt x="1075" y="72"/>
                </a:moveTo>
                <a:lnTo>
                  <a:pt x="1124" y="79"/>
                </a:lnTo>
                <a:lnTo>
                  <a:pt x="1148" y="87"/>
                </a:lnTo>
                <a:lnTo>
                  <a:pt x="1148" y="111"/>
                </a:lnTo>
                <a:lnTo>
                  <a:pt x="1148" y="143"/>
                </a:lnTo>
                <a:lnTo>
                  <a:pt x="1148" y="166"/>
                </a:lnTo>
                <a:lnTo>
                  <a:pt x="1124" y="198"/>
                </a:lnTo>
                <a:lnTo>
                  <a:pt x="1116" y="222"/>
                </a:lnTo>
                <a:cubicBezTo>
                  <a:pt x="1116" y="230"/>
                  <a:pt x="1108" y="245"/>
                  <a:pt x="1108" y="245"/>
                </a:cubicBezTo>
                <a:cubicBezTo>
                  <a:pt x="1108" y="245"/>
                  <a:pt x="1091" y="238"/>
                  <a:pt x="1100" y="261"/>
                </a:cubicBezTo>
                <a:cubicBezTo>
                  <a:pt x="1100" y="285"/>
                  <a:pt x="1108" y="277"/>
                  <a:pt x="1108" y="285"/>
                </a:cubicBezTo>
                <a:lnTo>
                  <a:pt x="1108" y="317"/>
                </a:lnTo>
                <a:cubicBezTo>
                  <a:pt x="1100" y="324"/>
                  <a:pt x="1108" y="324"/>
                  <a:pt x="1100" y="332"/>
                </a:cubicBezTo>
                <a:cubicBezTo>
                  <a:pt x="1100" y="340"/>
                  <a:pt x="1116" y="348"/>
                  <a:pt x="1132" y="348"/>
                </a:cubicBezTo>
                <a:cubicBezTo>
                  <a:pt x="1148" y="356"/>
                  <a:pt x="1148" y="348"/>
                  <a:pt x="1157" y="348"/>
                </a:cubicBezTo>
                <a:cubicBezTo>
                  <a:pt x="1165" y="348"/>
                  <a:pt x="1173" y="356"/>
                  <a:pt x="1181" y="356"/>
                </a:cubicBezTo>
                <a:cubicBezTo>
                  <a:pt x="1189" y="364"/>
                  <a:pt x="1189" y="364"/>
                  <a:pt x="1189" y="372"/>
                </a:cubicBezTo>
                <a:cubicBezTo>
                  <a:pt x="1197" y="380"/>
                  <a:pt x="1205" y="388"/>
                  <a:pt x="1214" y="396"/>
                </a:cubicBezTo>
                <a:cubicBezTo>
                  <a:pt x="1222" y="396"/>
                  <a:pt x="1222" y="388"/>
                  <a:pt x="1230" y="388"/>
                </a:cubicBezTo>
                <a:cubicBezTo>
                  <a:pt x="1230" y="396"/>
                  <a:pt x="1238" y="404"/>
                  <a:pt x="1246" y="404"/>
                </a:cubicBezTo>
                <a:cubicBezTo>
                  <a:pt x="1246" y="411"/>
                  <a:pt x="1254" y="419"/>
                  <a:pt x="1262" y="419"/>
                </a:cubicBezTo>
                <a:lnTo>
                  <a:pt x="1279" y="427"/>
                </a:lnTo>
                <a:cubicBezTo>
                  <a:pt x="1287" y="435"/>
                  <a:pt x="1279" y="443"/>
                  <a:pt x="1279" y="443"/>
                </a:cubicBezTo>
                <a:cubicBezTo>
                  <a:pt x="1271" y="443"/>
                  <a:pt x="1271" y="459"/>
                  <a:pt x="1262" y="459"/>
                </a:cubicBezTo>
                <a:lnTo>
                  <a:pt x="1238" y="467"/>
                </a:lnTo>
                <a:lnTo>
                  <a:pt x="1214" y="467"/>
                </a:lnTo>
                <a:cubicBezTo>
                  <a:pt x="1205" y="467"/>
                  <a:pt x="1197" y="467"/>
                  <a:pt x="1189" y="459"/>
                </a:cubicBezTo>
                <a:lnTo>
                  <a:pt x="1173" y="459"/>
                </a:lnTo>
                <a:lnTo>
                  <a:pt x="1173" y="483"/>
                </a:lnTo>
                <a:cubicBezTo>
                  <a:pt x="1173" y="483"/>
                  <a:pt x="1181" y="491"/>
                  <a:pt x="1189" y="498"/>
                </a:cubicBezTo>
                <a:cubicBezTo>
                  <a:pt x="1189" y="498"/>
                  <a:pt x="1205" y="514"/>
                  <a:pt x="1214" y="514"/>
                </a:cubicBezTo>
                <a:cubicBezTo>
                  <a:pt x="1214" y="514"/>
                  <a:pt x="1222" y="522"/>
                  <a:pt x="1230" y="530"/>
                </a:cubicBezTo>
                <a:cubicBezTo>
                  <a:pt x="1238" y="546"/>
                  <a:pt x="1238" y="554"/>
                  <a:pt x="1238" y="554"/>
                </a:cubicBezTo>
                <a:lnTo>
                  <a:pt x="1279" y="585"/>
                </a:lnTo>
                <a:lnTo>
                  <a:pt x="1279" y="617"/>
                </a:lnTo>
                <a:cubicBezTo>
                  <a:pt x="1279" y="649"/>
                  <a:pt x="1271" y="633"/>
                  <a:pt x="1262" y="633"/>
                </a:cubicBezTo>
                <a:cubicBezTo>
                  <a:pt x="1254" y="633"/>
                  <a:pt x="1246" y="633"/>
                  <a:pt x="1230" y="625"/>
                </a:cubicBezTo>
                <a:lnTo>
                  <a:pt x="1222" y="625"/>
                </a:lnTo>
                <a:lnTo>
                  <a:pt x="1205" y="649"/>
                </a:lnTo>
                <a:cubicBezTo>
                  <a:pt x="1205" y="649"/>
                  <a:pt x="1189" y="649"/>
                  <a:pt x="1181" y="656"/>
                </a:cubicBezTo>
                <a:lnTo>
                  <a:pt x="1173" y="656"/>
                </a:lnTo>
                <a:lnTo>
                  <a:pt x="1157" y="664"/>
                </a:lnTo>
                <a:lnTo>
                  <a:pt x="1148" y="672"/>
                </a:lnTo>
                <a:lnTo>
                  <a:pt x="1140" y="672"/>
                </a:lnTo>
                <a:lnTo>
                  <a:pt x="1132" y="664"/>
                </a:lnTo>
                <a:lnTo>
                  <a:pt x="1124" y="656"/>
                </a:lnTo>
                <a:lnTo>
                  <a:pt x="1108" y="672"/>
                </a:lnTo>
                <a:lnTo>
                  <a:pt x="1099" y="680"/>
                </a:lnTo>
                <a:lnTo>
                  <a:pt x="1099" y="688"/>
                </a:lnTo>
                <a:lnTo>
                  <a:pt x="1116" y="688"/>
                </a:lnTo>
                <a:lnTo>
                  <a:pt x="1116" y="704"/>
                </a:lnTo>
                <a:lnTo>
                  <a:pt x="1124" y="704"/>
                </a:lnTo>
                <a:lnTo>
                  <a:pt x="1132" y="712"/>
                </a:lnTo>
                <a:lnTo>
                  <a:pt x="1140" y="720"/>
                </a:lnTo>
                <a:lnTo>
                  <a:pt x="1140" y="736"/>
                </a:lnTo>
                <a:lnTo>
                  <a:pt x="1157" y="743"/>
                </a:lnTo>
                <a:lnTo>
                  <a:pt x="1157" y="759"/>
                </a:lnTo>
                <a:lnTo>
                  <a:pt x="1148" y="767"/>
                </a:lnTo>
                <a:lnTo>
                  <a:pt x="1140" y="775"/>
                </a:lnTo>
                <a:lnTo>
                  <a:pt x="1124" y="775"/>
                </a:lnTo>
                <a:lnTo>
                  <a:pt x="1124" y="767"/>
                </a:lnTo>
                <a:lnTo>
                  <a:pt x="1116" y="751"/>
                </a:lnTo>
                <a:lnTo>
                  <a:pt x="1108" y="743"/>
                </a:lnTo>
                <a:lnTo>
                  <a:pt x="1083" y="751"/>
                </a:lnTo>
                <a:lnTo>
                  <a:pt x="1083" y="767"/>
                </a:lnTo>
                <a:lnTo>
                  <a:pt x="1042" y="799"/>
                </a:lnTo>
                <a:lnTo>
                  <a:pt x="1051" y="815"/>
                </a:lnTo>
                <a:lnTo>
                  <a:pt x="1034" y="830"/>
                </a:lnTo>
                <a:lnTo>
                  <a:pt x="1034" y="854"/>
                </a:lnTo>
                <a:lnTo>
                  <a:pt x="1042" y="878"/>
                </a:lnTo>
                <a:lnTo>
                  <a:pt x="1042" y="894"/>
                </a:lnTo>
                <a:lnTo>
                  <a:pt x="1010" y="902"/>
                </a:lnTo>
                <a:lnTo>
                  <a:pt x="985" y="909"/>
                </a:lnTo>
                <a:lnTo>
                  <a:pt x="985" y="933"/>
                </a:lnTo>
                <a:lnTo>
                  <a:pt x="985" y="941"/>
                </a:lnTo>
                <a:lnTo>
                  <a:pt x="1010" y="973"/>
                </a:lnTo>
                <a:lnTo>
                  <a:pt x="1002" y="981"/>
                </a:lnTo>
                <a:lnTo>
                  <a:pt x="994" y="988"/>
                </a:lnTo>
                <a:lnTo>
                  <a:pt x="1018" y="1020"/>
                </a:lnTo>
                <a:lnTo>
                  <a:pt x="1026" y="1028"/>
                </a:lnTo>
                <a:lnTo>
                  <a:pt x="1042" y="1028"/>
                </a:lnTo>
                <a:lnTo>
                  <a:pt x="1042" y="1044"/>
                </a:lnTo>
                <a:lnTo>
                  <a:pt x="1042" y="1052"/>
                </a:lnTo>
                <a:lnTo>
                  <a:pt x="1042" y="1068"/>
                </a:lnTo>
                <a:lnTo>
                  <a:pt x="1026" y="1083"/>
                </a:lnTo>
                <a:lnTo>
                  <a:pt x="1034" y="1099"/>
                </a:lnTo>
                <a:lnTo>
                  <a:pt x="1018" y="1091"/>
                </a:lnTo>
                <a:lnTo>
                  <a:pt x="1010" y="1099"/>
                </a:lnTo>
                <a:lnTo>
                  <a:pt x="985" y="1091"/>
                </a:lnTo>
                <a:cubicBezTo>
                  <a:pt x="985" y="1091"/>
                  <a:pt x="969" y="1099"/>
                  <a:pt x="961" y="1099"/>
                </a:cubicBezTo>
                <a:lnTo>
                  <a:pt x="953" y="1099"/>
                </a:lnTo>
                <a:cubicBezTo>
                  <a:pt x="953" y="1099"/>
                  <a:pt x="937" y="1091"/>
                  <a:pt x="928" y="1091"/>
                </a:cubicBezTo>
                <a:lnTo>
                  <a:pt x="928" y="1083"/>
                </a:lnTo>
                <a:lnTo>
                  <a:pt x="920" y="1083"/>
                </a:lnTo>
                <a:lnTo>
                  <a:pt x="912" y="1083"/>
                </a:lnTo>
                <a:lnTo>
                  <a:pt x="863" y="1060"/>
                </a:lnTo>
                <a:lnTo>
                  <a:pt x="823" y="1036"/>
                </a:lnTo>
                <a:lnTo>
                  <a:pt x="806" y="1020"/>
                </a:lnTo>
                <a:lnTo>
                  <a:pt x="798" y="988"/>
                </a:lnTo>
                <a:lnTo>
                  <a:pt x="757" y="981"/>
                </a:lnTo>
                <a:cubicBezTo>
                  <a:pt x="757" y="957"/>
                  <a:pt x="708" y="996"/>
                  <a:pt x="725" y="949"/>
                </a:cubicBezTo>
                <a:lnTo>
                  <a:pt x="725" y="941"/>
                </a:lnTo>
                <a:cubicBezTo>
                  <a:pt x="725" y="933"/>
                  <a:pt x="708" y="917"/>
                  <a:pt x="708" y="917"/>
                </a:cubicBezTo>
                <a:cubicBezTo>
                  <a:pt x="660" y="894"/>
                  <a:pt x="651" y="870"/>
                  <a:pt x="627" y="862"/>
                </a:cubicBezTo>
                <a:lnTo>
                  <a:pt x="619" y="862"/>
                </a:lnTo>
                <a:lnTo>
                  <a:pt x="586" y="830"/>
                </a:lnTo>
                <a:lnTo>
                  <a:pt x="570" y="822"/>
                </a:lnTo>
                <a:lnTo>
                  <a:pt x="554" y="807"/>
                </a:lnTo>
                <a:lnTo>
                  <a:pt x="554" y="791"/>
                </a:lnTo>
                <a:lnTo>
                  <a:pt x="546" y="759"/>
                </a:lnTo>
                <a:cubicBezTo>
                  <a:pt x="546" y="759"/>
                  <a:pt x="513" y="751"/>
                  <a:pt x="497" y="743"/>
                </a:cubicBezTo>
                <a:lnTo>
                  <a:pt x="480" y="736"/>
                </a:lnTo>
                <a:lnTo>
                  <a:pt x="464" y="712"/>
                </a:lnTo>
                <a:lnTo>
                  <a:pt x="456" y="704"/>
                </a:lnTo>
                <a:lnTo>
                  <a:pt x="431" y="680"/>
                </a:lnTo>
                <a:lnTo>
                  <a:pt x="423" y="680"/>
                </a:lnTo>
                <a:lnTo>
                  <a:pt x="383" y="664"/>
                </a:lnTo>
                <a:lnTo>
                  <a:pt x="374" y="649"/>
                </a:lnTo>
                <a:lnTo>
                  <a:pt x="358" y="641"/>
                </a:lnTo>
                <a:lnTo>
                  <a:pt x="350" y="625"/>
                </a:lnTo>
                <a:lnTo>
                  <a:pt x="326" y="617"/>
                </a:lnTo>
                <a:lnTo>
                  <a:pt x="317" y="601"/>
                </a:lnTo>
                <a:lnTo>
                  <a:pt x="309" y="593"/>
                </a:lnTo>
                <a:lnTo>
                  <a:pt x="285" y="562"/>
                </a:lnTo>
                <a:lnTo>
                  <a:pt x="260" y="546"/>
                </a:lnTo>
                <a:lnTo>
                  <a:pt x="252" y="538"/>
                </a:lnTo>
                <a:lnTo>
                  <a:pt x="244" y="530"/>
                </a:lnTo>
                <a:lnTo>
                  <a:pt x="228" y="506"/>
                </a:lnTo>
                <a:lnTo>
                  <a:pt x="203" y="483"/>
                </a:lnTo>
                <a:lnTo>
                  <a:pt x="187" y="467"/>
                </a:lnTo>
                <a:lnTo>
                  <a:pt x="171" y="443"/>
                </a:lnTo>
                <a:lnTo>
                  <a:pt x="187" y="427"/>
                </a:lnTo>
                <a:cubicBezTo>
                  <a:pt x="179" y="419"/>
                  <a:pt x="171" y="419"/>
                  <a:pt x="171" y="411"/>
                </a:cubicBezTo>
                <a:cubicBezTo>
                  <a:pt x="163" y="411"/>
                  <a:pt x="146" y="404"/>
                  <a:pt x="154" y="396"/>
                </a:cubicBezTo>
                <a:cubicBezTo>
                  <a:pt x="154" y="388"/>
                  <a:pt x="146" y="380"/>
                  <a:pt x="146" y="364"/>
                </a:cubicBezTo>
                <a:cubicBezTo>
                  <a:pt x="146" y="356"/>
                  <a:pt x="146" y="348"/>
                  <a:pt x="138" y="348"/>
                </a:cubicBezTo>
                <a:lnTo>
                  <a:pt x="130" y="340"/>
                </a:lnTo>
                <a:lnTo>
                  <a:pt x="114" y="340"/>
                </a:lnTo>
                <a:lnTo>
                  <a:pt x="106" y="340"/>
                </a:lnTo>
                <a:cubicBezTo>
                  <a:pt x="106" y="340"/>
                  <a:pt x="114" y="324"/>
                  <a:pt x="114" y="309"/>
                </a:cubicBezTo>
                <a:lnTo>
                  <a:pt x="81" y="301"/>
                </a:lnTo>
                <a:cubicBezTo>
                  <a:pt x="81" y="301"/>
                  <a:pt x="81" y="277"/>
                  <a:pt x="65" y="269"/>
                </a:cubicBezTo>
                <a:lnTo>
                  <a:pt x="49" y="269"/>
                </a:lnTo>
                <a:cubicBezTo>
                  <a:pt x="40" y="277"/>
                  <a:pt x="40" y="285"/>
                  <a:pt x="40" y="285"/>
                </a:cubicBezTo>
                <a:lnTo>
                  <a:pt x="8" y="253"/>
                </a:lnTo>
                <a:cubicBezTo>
                  <a:pt x="8" y="253"/>
                  <a:pt x="8" y="245"/>
                  <a:pt x="16" y="230"/>
                </a:cubicBezTo>
                <a:cubicBezTo>
                  <a:pt x="32" y="214"/>
                  <a:pt x="16" y="206"/>
                  <a:pt x="16" y="206"/>
                </a:cubicBezTo>
                <a:lnTo>
                  <a:pt x="8" y="182"/>
                </a:lnTo>
                <a:lnTo>
                  <a:pt x="16" y="166"/>
                </a:lnTo>
                <a:lnTo>
                  <a:pt x="8" y="158"/>
                </a:lnTo>
                <a:lnTo>
                  <a:pt x="0" y="151"/>
                </a:lnTo>
                <a:lnTo>
                  <a:pt x="16" y="119"/>
                </a:lnTo>
                <a:cubicBezTo>
                  <a:pt x="16" y="119"/>
                  <a:pt x="8" y="103"/>
                  <a:pt x="8" y="87"/>
                </a:cubicBezTo>
                <a:lnTo>
                  <a:pt x="16" y="79"/>
                </a:lnTo>
                <a:lnTo>
                  <a:pt x="16" y="72"/>
                </a:lnTo>
                <a:lnTo>
                  <a:pt x="24" y="72"/>
                </a:lnTo>
                <a:cubicBezTo>
                  <a:pt x="24" y="64"/>
                  <a:pt x="65" y="56"/>
                  <a:pt x="65" y="56"/>
                </a:cubicBezTo>
                <a:lnTo>
                  <a:pt x="81" y="48"/>
                </a:lnTo>
                <a:lnTo>
                  <a:pt x="114" y="87"/>
                </a:lnTo>
                <a:lnTo>
                  <a:pt x="146" y="119"/>
                </a:lnTo>
                <a:lnTo>
                  <a:pt x="171" y="135"/>
                </a:lnTo>
                <a:cubicBezTo>
                  <a:pt x="171" y="135"/>
                  <a:pt x="179" y="127"/>
                  <a:pt x="187" y="127"/>
                </a:cubicBezTo>
                <a:lnTo>
                  <a:pt x="187" y="103"/>
                </a:lnTo>
                <a:lnTo>
                  <a:pt x="203" y="87"/>
                </a:lnTo>
                <a:lnTo>
                  <a:pt x="211" y="72"/>
                </a:lnTo>
                <a:lnTo>
                  <a:pt x="211" y="56"/>
                </a:lnTo>
                <a:lnTo>
                  <a:pt x="228" y="48"/>
                </a:lnTo>
                <a:lnTo>
                  <a:pt x="252" y="40"/>
                </a:lnTo>
                <a:lnTo>
                  <a:pt x="285" y="32"/>
                </a:lnTo>
                <a:cubicBezTo>
                  <a:pt x="285" y="32"/>
                  <a:pt x="309" y="40"/>
                  <a:pt x="317" y="40"/>
                </a:cubicBezTo>
                <a:lnTo>
                  <a:pt x="326" y="40"/>
                </a:lnTo>
                <a:lnTo>
                  <a:pt x="342" y="16"/>
                </a:lnTo>
                <a:lnTo>
                  <a:pt x="350" y="0"/>
                </a:lnTo>
                <a:lnTo>
                  <a:pt x="391" y="16"/>
                </a:lnTo>
                <a:lnTo>
                  <a:pt x="407" y="32"/>
                </a:lnTo>
                <a:lnTo>
                  <a:pt x="448" y="40"/>
                </a:lnTo>
                <a:lnTo>
                  <a:pt x="464" y="40"/>
                </a:lnTo>
                <a:lnTo>
                  <a:pt x="464" y="32"/>
                </a:lnTo>
                <a:lnTo>
                  <a:pt x="497" y="32"/>
                </a:lnTo>
                <a:lnTo>
                  <a:pt x="537" y="40"/>
                </a:lnTo>
                <a:lnTo>
                  <a:pt x="603" y="40"/>
                </a:lnTo>
                <a:lnTo>
                  <a:pt x="627" y="48"/>
                </a:lnTo>
                <a:lnTo>
                  <a:pt x="643" y="56"/>
                </a:lnTo>
                <a:lnTo>
                  <a:pt x="651" y="48"/>
                </a:lnTo>
                <a:lnTo>
                  <a:pt x="676" y="48"/>
                </a:lnTo>
                <a:lnTo>
                  <a:pt x="684" y="24"/>
                </a:lnTo>
                <a:lnTo>
                  <a:pt x="692" y="40"/>
                </a:lnTo>
                <a:lnTo>
                  <a:pt x="717" y="40"/>
                </a:lnTo>
                <a:lnTo>
                  <a:pt x="725" y="16"/>
                </a:lnTo>
                <a:lnTo>
                  <a:pt x="733" y="24"/>
                </a:lnTo>
                <a:lnTo>
                  <a:pt x="749" y="24"/>
                </a:lnTo>
                <a:cubicBezTo>
                  <a:pt x="757" y="24"/>
                  <a:pt x="765" y="16"/>
                  <a:pt x="765" y="16"/>
                </a:cubicBezTo>
                <a:lnTo>
                  <a:pt x="774" y="24"/>
                </a:lnTo>
                <a:cubicBezTo>
                  <a:pt x="774" y="24"/>
                  <a:pt x="782" y="16"/>
                  <a:pt x="790" y="16"/>
                </a:cubicBezTo>
                <a:lnTo>
                  <a:pt x="806" y="16"/>
                </a:lnTo>
                <a:lnTo>
                  <a:pt x="806" y="8"/>
                </a:lnTo>
                <a:lnTo>
                  <a:pt x="814" y="8"/>
                </a:lnTo>
                <a:cubicBezTo>
                  <a:pt x="814" y="8"/>
                  <a:pt x="822" y="24"/>
                  <a:pt x="839" y="32"/>
                </a:cubicBezTo>
                <a:lnTo>
                  <a:pt x="855" y="32"/>
                </a:lnTo>
                <a:cubicBezTo>
                  <a:pt x="855" y="32"/>
                  <a:pt x="863" y="24"/>
                  <a:pt x="871" y="24"/>
                </a:cubicBezTo>
                <a:lnTo>
                  <a:pt x="904" y="24"/>
                </a:lnTo>
                <a:cubicBezTo>
                  <a:pt x="920" y="24"/>
                  <a:pt x="928" y="40"/>
                  <a:pt x="928" y="40"/>
                </a:cubicBezTo>
                <a:lnTo>
                  <a:pt x="953" y="64"/>
                </a:lnTo>
                <a:cubicBezTo>
                  <a:pt x="953" y="64"/>
                  <a:pt x="961" y="79"/>
                  <a:pt x="961" y="87"/>
                </a:cubicBezTo>
                <a:cubicBezTo>
                  <a:pt x="969" y="95"/>
                  <a:pt x="969" y="103"/>
                  <a:pt x="969" y="103"/>
                </a:cubicBezTo>
                <a:cubicBezTo>
                  <a:pt x="977" y="103"/>
                  <a:pt x="1034" y="127"/>
                  <a:pt x="1042" y="127"/>
                </a:cubicBezTo>
                <a:lnTo>
                  <a:pt x="1051" y="127"/>
                </a:lnTo>
                <a:cubicBezTo>
                  <a:pt x="1051" y="111"/>
                  <a:pt x="1042" y="103"/>
                  <a:pt x="1059" y="95"/>
                </a:cubicBezTo>
                <a:cubicBezTo>
                  <a:pt x="1067" y="95"/>
                  <a:pt x="1075" y="111"/>
                  <a:pt x="1075" y="95"/>
                </a:cubicBezTo>
                <a:cubicBezTo>
                  <a:pt x="1075" y="79"/>
                  <a:pt x="1083" y="87"/>
                  <a:pt x="1075" y="72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56" name="Freeform 48">
            <a:extLst>
              <a:ext uri="{FF2B5EF4-FFF2-40B4-BE49-F238E27FC236}">
                <a16:creationId xmlns:a16="http://schemas.microsoft.com/office/drawing/2014/main" id="{34393584-0F8B-BA25-F231-A33A34C4CB52}"/>
              </a:ext>
            </a:extLst>
          </p:cNvPr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8340680" y="5040617"/>
            <a:ext cx="3622" cy="1812"/>
          </a:xfrm>
          <a:custGeom>
            <a:avLst/>
            <a:gdLst>
              <a:gd name="T0" fmla="*/ 0 w 9"/>
              <a:gd name="T1" fmla="*/ 0 h 1"/>
              <a:gd name="T2" fmla="*/ 8 w 9"/>
              <a:gd name="T3" fmla="*/ 0 h 1"/>
              <a:gd name="T4" fmla="*/ 0 w 9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" h="1">
                <a:moveTo>
                  <a:pt x="0" y="0"/>
                </a:moveTo>
                <a:lnTo>
                  <a:pt x="8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57" name="Freeform 49">
            <a:extLst>
              <a:ext uri="{FF2B5EF4-FFF2-40B4-BE49-F238E27FC236}">
                <a16:creationId xmlns:a16="http://schemas.microsoft.com/office/drawing/2014/main" id="{21E3E4A1-1229-5692-A63A-B8726A70A882}"/>
              </a:ext>
            </a:extLst>
          </p:cNvPr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6888084" y="2629887"/>
            <a:ext cx="478161" cy="541553"/>
          </a:xfrm>
          <a:custGeom>
            <a:avLst/>
            <a:gdLst>
              <a:gd name="T0" fmla="*/ 701 w 1163"/>
              <a:gd name="T1" fmla="*/ 182 h 1320"/>
              <a:gd name="T2" fmla="*/ 511 w 1163"/>
              <a:gd name="T3" fmla="*/ 1216 h 1320"/>
              <a:gd name="T4" fmla="*/ 569 w 1163"/>
              <a:gd name="T5" fmla="*/ 1216 h 1320"/>
              <a:gd name="T6" fmla="*/ 626 w 1163"/>
              <a:gd name="T7" fmla="*/ 1177 h 1320"/>
              <a:gd name="T8" fmla="*/ 692 w 1163"/>
              <a:gd name="T9" fmla="*/ 1279 h 1320"/>
              <a:gd name="T10" fmla="*/ 692 w 1163"/>
              <a:gd name="T11" fmla="*/ 1177 h 1320"/>
              <a:gd name="T12" fmla="*/ 651 w 1163"/>
              <a:gd name="T13" fmla="*/ 790 h 1320"/>
              <a:gd name="T14" fmla="*/ 618 w 1163"/>
              <a:gd name="T15" fmla="*/ 829 h 1320"/>
              <a:gd name="T16" fmla="*/ 486 w 1163"/>
              <a:gd name="T17" fmla="*/ 940 h 1320"/>
              <a:gd name="T18" fmla="*/ 462 w 1163"/>
              <a:gd name="T19" fmla="*/ 1066 h 1320"/>
              <a:gd name="T20" fmla="*/ 643 w 1163"/>
              <a:gd name="T21" fmla="*/ 1145 h 1320"/>
              <a:gd name="T22" fmla="*/ 692 w 1163"/>
              <a:gd name="T23" fmla="*/ 971 h 1320"/>
              <a:gd name="T24" fmla="*/ 602 w 1163"/>
              <a:gd name="T25" fmla="*/ 892 h 1320"/>
              <a:gd name="T26" fmla="*/ 931 w 1163"/>
              <a:gd name="T27" fmla="*/ 1208 h 1320"/>
              <a:gd name="T28" fmla="*/ 775 w 1163"/>
              <a:gd name="T29" fmla="*/ 1185 h 1320"/>
              <a:gd name="T30" fmla="*/ 824 w 1163"/>
              <a:gd name="T31" fmla="*/ 1287 h 1320"/>
              <a:gd name="T32" fmla="*/ 1047 w 1163"/>
              <a:gd name="T33" fmla="*/ 1185 h 1320"/>
              <a:gd name="T34" fmla="*/ 1129 w 1163"/>
              <a:gd name="T35" fmla="*/ 1137 h 1320"/>
              <a:gd name="T36" fmla="*/ 1047 w 1163"/>
              <a:gd name="T37" fmla="*/ 1106 h 1320"/>
              <a:gd name="T38" fmla="*/ 1112 w 1163"/>
              <a:gd name="T39" fmla="*/ 1027 h 1320"/>
              <a:gd name="T40" fmla="*/ 1162 w 1163"/>
              <a:gd name="T41" fmla="*/ 885 h 1320"/>
              <a:gd name="T42" fmla="*/ 1096 w 1163"/>
              <a:gd name="T43" fmla="*/ 687 h 1320"/>
              <a:gd name="T44" fmla="*/ 981 w 1163"/>
              <a:gd name="T45" fmla="*/ 766 h 1320"/>
              <a:gd name="T46" fmla="*/ 915 w 1163"/>
              <a:gd name="T47" fmla="*/ 853 h 1320"/>
              <a:gd name="T48" fmla="*/ 931 w 1163"/>
              <a:gd name="T49" fmla="*/ 750 h 1320"/>
              <a:gd name="T50" fmla="*/ 865 w 1163"/>
              <a:gd name="T51" fmla="*/ 782 h 1320"/>
              <a:gd name="T52" fmla="*/ 725 w 1163"/>
              <a:gd name="T53" fmla="*/ 853 h 1320"/>
              <a:gd name="T54" fmla="*/ 791 w 1163"/>
              <a:gd name="T55" fmla="*/ 1003 h 1320"/>
              <a:gd name="T56" fmla="*/ 948 w 1163"/>
              <a:gd name="T57" fmla="*/ 1106 h 1320"/>
              <a:gd name="T58" fmla="*/ 1047 w 1163"/>
              <a:gd name="T59" fmla="*/ 1145 h 1320"/>
              <a:gd name="T60" fmla="*/ 890 w 1163"/>
              <a:gd name="T61" fmla="*/ 1185 h 1320"/>
              <a:gd name="T62" fmla="*/ 874 w 1163"/>
              <a:gd name="T63" fmla="*/ 1200 h 1320"/>
              <a:gd name="T64" fmla="*/ 561 w 1163"/>
              <a:gd name="T65" fmla="*/ 845 h 1320"/>
              <a:gd name="T66" fmla="*/ 66 w 1163"/>
              <a:gd name="T67" fmla="*/ 1161 h 1320"/>
              <a:gd name="T68" fmla="*/ 437 w 1163"/>
              <a:gd name="T69" fmla="*/ 111 h 1320"/>
              <a:gd name="T70" fmla="*/ 602 w 1163"/>
              <a:gd name="T71" fmla="*/ 150 h 1320"/>
              <a:gd name="T72" fmla="*/ 577 w 1163"/>
              <a:gd name="T73" fmla="*/ 506 h 1320"/>
              <a:gd name="T74" fmla="*/ 659 w 1163"/>
              <a:gd name="T75" fmla="*/ 679 h 1320"/>
              <a:gd name="T76" fmla="*/ 561 w 1163"/>
              <a:gd name="T77" fmla="*/ 632 h 1320"/>
              <a:gd name="T78" fmla="*/ 495 w 1163"/>
              <a:gd name="T79" fmla="*/ 806 h 1320"/>
              <a:gd name="T80" fmla="*/ 421 w 1163"/>
              <a:gd name="T81" fmla="*/ 885 h 1320"/>
              <a:gd name="T82" fmla="*/ 363 w 1163"/>
              <a:gd name="T83" fmla="*/ 956 h 1320"/>
              <a:gd name="T84" fmla="*/ 396 w 1163"/>
              <a:gd name="T85" fmla="*/ 1090 h 1320"/>
              <a:gd name="T86" fmla="*/ 396 w 1163"/>
              <a:gd name="T87" fmla="*/ 1216 h 1320"/>
              <a:gd name="T88" fmla="*/ 132 w 1163"/>
              <a:gd name="T89" fmla="*/ 1200 h 1320"/>
              <a:gd name="T90" fmla="*/ 58 w 1163"/>
              <a:gd name="T91" fmla="*/ 964 h 1320"/>
              <a:gd name="T92" fmla="*/ 42 w 1163"/>
              <a:gd name="T93" fmla="*/ 821 h 1320"/>
              <a:gd name="T94" fmla="*/ 33 w 1163"/>
              <a:gd name="T95" fmla="*/ 466 h 1320"/>
              <a:gd name="T96" fmla="*/ 165 w 1163"/>
              <a:gd name="T97" fmla="*/ 521 h 1320"/>
              <a:gd name="T98" fmla="*/ 157 w 1163"/>
              <a:gd name="T99" fmla="*/ 364 h 1320"/>
              <a:gd name="T100" fmla="*/ 215 w 1163"/>
              <a:gd name="T101" fmla="*/ 450 h 1320"/>
              <a:gd name="T102" fmla="*/ 256 w 1163"/>
              <a:gd name="T103" fmla="*/ 498 h 1320"/>
              <a:gd name="T104" fmla="*/ 297 w 1163"/>
              <a:gd name="T105" fmla="*/ 442 h 1320"/>
              <a:gd name="T106" fmla="*/ 404 w 1163"/>
              <a:gd name="T107" fmla="*/ 316 h 1320"/>
              <a:gd name="T108" fmla="*/ 272 w 1163"/>
              <a:gd name="T109" fmla="*/ 308 h 1320"/>
              <a:gd name="T110" fmla="*/ 140 w 1163"/>
              <a:gd name="T111" fmla="*/ 364 h 1320"/>
              <a:gd name="T112" fmla="*/ 132 w 1163"/>
              <a:gd name="T113" fmla="*/ 482 h 1320"/>
              <a:gd name="T114" fmla="*/ 58 w 1163"/>
              <a:gd name="T115" fmla="*/ 387 h 1320"/>
              <a:gd name="T116" fmla="*/ 239 w 1163"/>
              <a:gd name="T117" fmla="*/ 253 h 1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63" h="1320">
                <a:moveTo>
                  <a:pt x="684" y="198"/>
                </a:moveTo>
                <a:lnTo>
                  <a:pt x="684" y="206"/>
                </a:lnTo>
                <a:lnTo>
                  <a:pt x="701" y="206"/>
                </a:lnTo>
                <a:lnTo>
                  <a:pt x="717" y="213"/>
                </a:lnTo>
                <a:cubicBezTo>
                  <a:pt x="717" y="221"/>
                  <a:pt x="725" y="213"/>
                  <a:pt x="725" y="213"/>
                </a:cubicBezTo>
                <a:cubicBezTo>
                  <a:pt x="734" y="213"/>
                  <a:pt x="734" y="206"/>
                  <a:pt x="734" y="198"/>
                </a:cubicBezTo>
                <a:lnTo>
                  <a:pt x="742" y="190"/>
                </a:lnTo>
                <a:lnTo>
                  <a:pt x="766" y="174"/>
                </a:lnTo>
                <a:cubicBezTo>
                  <a:pt x="766" y="166"/>
                  <a:pt x="750" y="166"/>
                  <a:pt x="750" y="166"/>
                </a:cubicBezTo>
                <a:lnTo>
                  <a:pt x="725" y="174"/>
                </a:lnTo>
                <a:lnTo>
                  <a:pt x="701" y="182"/>
                </a:lnTo>
                <a:lnTo>
                  <a:pt x="684" y="198"/>
                </a:lnTo>
                <a:close/>
                <a:moveTo>
                  <a:pt x="412" y="1161"/>
                </a:moveTo>
                <a:lnTo>
                  <a:pt x="429" y="1169"/>
                </a:lnTo>
                <a:lnTo>
                  <a:pt x="437" y="1177"/>
                </a:lnTo>
                <a:lnTo>
                  <a:pt x="453" y="1185"/>
                </a:lnTo>
                <a:lnTo>
                  <a:pt x="437" y="1200"/>
                </a:lnTo>
                <a:cubicBezTo>
                  <a:pt x="437" y="1200"/>
                  <a:pt x="445" y="1216"/>
                  <a:pt x="453" y="1208"/>
                </a:cubicBezTo>
                <a:lnTo>
                  <a:pt x="462" y="1208"/>
                </a:lnTo>
                <a:lnTo>
                  <a:pt x="478" y="1216"/>
                </a:lnTo>
                <a:cubicBezTo>
                  <a:pt x="486" y="1224"/>
                  <a:pt x="495" y="1224"/>
                  <a:pt x="503" y="1224"/>
                </a:cubicBezTo>
                <a:cubicBezTo>
                  <a:pt x="511" y="1224"/>
                  <a:pt x="511" y="1216"/>
                  <a:pt x="511" y="1216"/>
                </a:cubicBezTo>
                <a:lnTo>
                  <a:pt x="511" y="1200"/>
                </a:lnTo>
                <a:lnTo>
                  <a:pt x="503" y="1185"/>
                </a:lnTo>
                <a:lnTo>
                  <a:pt x="495" y="1169"/>
                </a:lnTo>
                <a:lnTo>
                  <a:pt x="462" y="1161"/>
                </a:lnTo>
                <a:lnTo>
                  <a:pt x="445" y="1145"/>
                </a:lnTo>
                <a:lnTo>
                  <a:pt x="421" y="1137"/>
                </a:lnTo>
                <a:lnTo>
                  <a:pt x="412" y="1137"/>
                </a:lnTo>
                <a:lnTo>
                  <a:pt x="412" y="1161"/>
                </a:lnTo>
                <a:close/>
                <a:moveTo>
                  <a:pt x="544" y="1185"/>
                </a:moveTo>
                <a:lnTo>
                  <a:pt x="552" y="1208"/>
                </a:lnTo>
                <a:cubicBezTo>
                  <a:pt x="561" y="1208"/>
                  <a:pt x="569" y="1216"/>
                  <a:pt x="569" y="1216"/>
                </a:cubicBezTo>
                <a:lnTo>
                  <a:pt x="585" y="1232"/>
                </a:lnTo>
                <a:cubicBezTo>
                  <a:pt x="585" y="1232"/>
                  <a:pt x="585" y="1240"/>
                  <a:pt x="593" y="1240"/>
                </a:cubicBezTo>
                <a:lnTo>
                  <a:pt x="610" y="1232"/>
                </a:lnTo>
                <a:lnTo>
                  <a:pt x="618" y="1216"/>
                </a:lnTo>
                <a:lnTo>
                  <a:pt x="602" y="1216"/>
                </a:lnTo>
                <a:cubicBezTo>
                  <a:pt x="593" y="1216"/>
                  <a:pt x="585" y="1200"/>
                  <a:pt x="585" y="1200"/>
                </a:cubicBezTo>
                <a:lnTo>
                  <a:pt x="577" y="1200"/>
                </a:lnTo>
                <a:cubicBezTo>
                  <a:pt x="569" y="1200"/>
                  <a:pt x="552" y="1185"/>
                  <a:pt x="552" y="1185"/>
                </a:cubicBezTo>
                <a:lnTo>
                  <a:pt x="544" y="1185"/>
                </a:lnTo>
                <a:close/>
                <a:moveTo>
                  <a:pt x="618" y="1169"/>
                </a:moveTo>
                <a:lnTo>
                  <a:pt x="626" y="1177"/>
                </a:lnTo>
                <a:cubicBezTo>
                  <a:pt x="626" y="1177"/>
                  <a:pt x="635" y="1200"/>
                  <a:pt x="643" y="1200"/>
                </a:cubicBezTo>
                <a:lnTo>
                  <a:pt x="668" y="1177"/>
                </a:lnTo>
                <a:lnTo>
                  <a:pt x="668" y="1161"/>
                </a:lnTo>
                <a:lnTo>
                  <a:pt x="676" y="1145"/>
                </a:lnTo>
                <a:lnTo>
                  <a:pt x="651" y="1153"/>
                </a:lnTo>
                <a:lnTo>
                  <a:pt x="635" y="1169"/>
                </a:lnTo>
                <a:lnTo>
                  <a:pt x="618" y="1169"/>
                </a:lnTo>
                <a:close/>
                <a:moveTo>
                  <a:pt x="659" y="1240"/>
                </a:moveTo>
                <a:lnTo>
                  <a:pt x="668" y="1264"/>
                </a:lnTo>
                <a:lnTo>
                  <a:pt x="676" y="1279"/>
                </a:lnTo>
                <a:cubicBezTo>
                  <a:pt x="676" y="1279"/>
                  <a:pt x="692" y="1287"/>
                  <a:pt x="692" y="1279"/>
                </a:cubicBezTo>
                <a:cubicBezTo>
                  <a:pt x="692" y="1271"/>
                  <a:pt x="684" y="1264"/>
                  <a:pt x="692" y="1256"/>
                </a:cubicBezTo>
                <a:cubicBezTo>
                  <a:pt x="692" y="1248"/>
                  <a:pt x="701" y="1232"/>
                  <a:pt x="701" y="1224"/>
                </a:cubicBezTo>
                <a:cubicBezTo>
                  <a:pt x="701" y="1216"/>
                  <a:pt x="709" y="1208"/>
                  <a:pt x="709" y="1200"/>
                </a:cubicBezTo>
                <a:cubicBezTo>
                  <a:pt x="717" y="1192"/>
                  <a:pt x="725" y="1177"/>
                  <a:pt x="725" y="1169"/>
                </a:cubicBezTo>
                <a:cubicBezTo>
                  <a:pt x="725" y="1169"/>
                  <a:pt x="734" y="1153"/>
                  <a:pt x="734" y="1145"/>
                </a:cubicBezTo>
                <a:lnTo>
                  <a:pt x="734" y="1121"/>
                </a:lnTo>
                <a:lnTo>
                  <a:pt x="725" y="1098"/>
                </a:lnTo>
                <a:lnTo>
                  <a:pt x="717" y="1114"/>
                </a:lnTo>
                <a:lnTo>
                  <a:pt x="717" y="1129"/>
                </a:lnTo>
                <a:lnTo>
                  <a:pt x="701" y="1161"/>
                </a:lnTo>
                <a:lnTo>
                  <a:pt x="692" y="1177"/>
                </a:lnTo>
                <a:lnTo>
                  <a:pt x="676" y="1192"/>
                </a:lnTo>
                <a:lnTo>
                  <a:pt x="676" y="1200"/>
                </a:lnTo>
                <a:lnTo>
                  <a:pt x="676" y="1216"/>
                </a:lnTo>
                <a:lnTo>
                  <a:pt x="668" y="1224"/>
                </a:lnTo>
                <a:lnTo>
                  <a:pt x="668" y="1232"/>
                </a:lnTo>
                <a:lnTo>
                  <a:pt x="659" y="1240"/>
                </a:lnTo>
                <a:close/>
                <a:moveTo>
                  <a:pt x="618" y="845"/>
                </a:moveTo>
                <a:lnTo>
                  <a:pt x="635" y="845"/>
                </a:lnTo>
                <a:lnTo>
                  <a:pt x="643" y="829"/>
                </a:lnTo>
                <a:cubicBezTo>
                  <a:pt x="643" y="829"/>
                  <a:pt x="651" y="821"/>
                  <a:pt x="651" y="814"/>
                </a:cubicBezTo>
                <a:lnTo>
                  <a:pt x="651" y="790"/>
                </a:lnTo>
                <a:lnTo>
                  <a:pt x="643" y="782"/>
                </a:lnTo>
                <a:lnTo>
                  <a:pt x="635" y="766"/>
                </a:lnTo>
                <a:lnTo>
                  <a:pt x="626" y="742"/>
                </a:lnTo>
                <a:lnTo>
                  <a:pt x="610" y="742"/>
                </a:lnTo>
                <a:lnTo>
                  <a:pt x="610" y="758"/>
                </a:lnTo>
                <a:cubicBezTo>
                  <a:pt x="610" y="766"/>
                  <a:pt x="618" y="774"/>
                  <a:pt x="618" y="774"/>
                </a:cubicBezTo>
                <a:lnTo>
                  <a:pt x="626" y="782"/>
                </a:lnTo>
                <a:lnTo>
                  <a:pt x="626" y="790"/>
                </a:lnTo>
                <a:lnTo>
                  <a:pt x="618" y="798"/>
                </a:lnTo>
                <a:lnTo>
                  <a:pt x="610" y="814"/>
                </a:lnTo>
                <a:lnTo>
                  <a:pt x="618" y="829"/>
                </a:lnTo>
                <a:lnTo>
                  <a:pt x="618" y="845"/>
                </a:lnTo>
                <a:close/>
                <a:moveTo>
                  <a:pt x="635" y="956"/>
                </a:moveTo>
                <a:lnTo>
                  <a:pt x="618" y="948"/>
                </a:lnTo>
                <a:lnTo>
                  <a:pt x="602" y="924"/>
                </a:lnTo>
                <a:lnTo>
                  <a:pt x="577" y="916"/>
                </a:lnTo>
                <a:lnTo>
                  <a:pt x="569" y="892"/>
                </a:lnTo>
                <a:cubicBezTo>
                  <a:pt x="561" y="885"/>
                  <a:pt x="561" y="892"/>
                  <a:pt x="561" y="892"/>
                </a:cubicBezTo>
                <a:cubicBezTo>
                  <a:pt x="561" y="892"/>
                  <a:pt x="561" y="908"/>
                  <a:pt x="552" y="916"/>
                </a:cubicBezTo>
                <a:lnTo>
                  <a:pt x="536" y="916"/>
                </a:lnTo>
                <a:lnTo>
                  <a:pt x="519" y="932"/>
                </a:lnTo>
                <a:cubicBezTo>
                  <a:pt x="519" y="932"/>
                  <a:pt x="495" y="940"/>
                  <a:pt x="486" y="940"/>
                </a:cubicBezTo>
                <a:lnTo>
                  <a:pt x="478" y="948"/>
                </a:lnTo>
                <a:lnTo>
                  <a:pt x="429" y="940"/>
                </a:lnTo>
                <a:lnTo>
                  <a:pt x="412" y="956"/>
                </a:lnTo>
                <a:lnTo>
                  <a:pt x="412" y="964"/>
                </a:lnTo>
                <a:lnTo>
                  <a:pt x="421" y="979"/>
                </a:lnTo>
                <a:lnTo>
                  <a:pt x="429" y="987"/>
                </a:lnTo>
                <a:lnTo>
                  <a:pt x="437" y="987"/>
                </a:lnTo>
                <a:lnTo>
                  <a:pt x="437" y="1003"/>
                </a:lnTo>
                <a:lnTo>
                  <a:pt x="445" y="1019"/>
                </a:lnTo>
                <a:cubicBezTo>
                  <a:pt x="445" y="1019"/>
                  <a:pt x="453" y="1027"/>
                  <a:pt x="462" y="1042"/>
                </a:cubicBezTo>
                <a:cubicBezTo>
                  <a:pt x="470" y="1058"/>
                  <a:pt x="462" y="1066"/>
                  <a:pt x="462" y="1066"/>
                </a:cubicBezTo>
                <a:lnTo>
                  <a:pt x="486" y="1090"/>
                </a:lnTo>
                <a:lnTo>
                  <a:pt x="503" y="1098"/>
                </a:lnTo>
                <a:cubicBezTo>
                  <a:pt x="503" y="1098"/>
                  <a:pt x="511" y="1106"/>
                  <a:pt x="519" y="1106"/>
                </a:cubicBezTo>
                <a:lnTo>
                  <a:pt x="519" y="1114"/>
                </a:lnTo>
                <a:lnTo>
                  <a:pt x="519" y="1129"/>
                </a:lnTo>
                <a:lnTo>
                  <a:pt x="528" y="1145"/>
                </a:lnTo>
                <a:lnTo>
                  <a:pt x="536" y="1137"/>
                </a:lnTo>
                <a:lnTo>
                  <a:pt x="544" y="1129"/>
                </a:lnTo>
                <a:lnTo>
                  <a:pt x="585" y="1145"/>
                </a:lnTo>
                <a:cubicBezTo>
                  <a:pt x="585" y="1145"/>
                  <a:pt x="618" y="1161"/>
                  <a:pt x="626" y="1161"/>
                </a:cubicBezTo>
                <a:lnTo>
                  <a:pt x="643" y="1145"/>
                </a:lnTo>
                <a:cubicBezTo>
                  <a:pt x="651" y="1137"/>
                  <a:pt x="676" y="1137"/>
                  <a:pt x="676" y="1137"/>
                </a:cubicBezTo>
                <a:cubicBezTo>
                  <a:pt x="684" y="1137"/>
                  <a:pt x="684" y="1129"/>
                  <a:pt x="684" y="1129"/>
                </a:cubicBezTo>
                <a:cubicBezTo>
                  <a:pt x="684" y="1121"/>
                  <a:pt x="692" y="1114"/>
                  <a:pt x="692" y="1106"/>
                </a:cubicBezTo>
                <a:cubicBezTo>
                  <a:pt x="692" y="1098"/>
                  <a:pt x="701" y="1090"/>
                  <a:pt x="701" y="1090"/>
                </a:cubicBezTo>
                <a:lnTo>
                  <a:pt x="701" y="1074"/>
                </a:lnTo>
                <a:lnTo>
                  <a:pt x="692" y="1050"/>
                </a:lnTo>
                <a:lnTo>
                  <a:pt x="701" y="1019"/>
                </a:lnTo>
                <a:lnTo>
                  <a:pt x="684" y="1003"/>
                </a:lnTo>
                <a:lnTo>
                  <a:pt x="676" y="995"/>
                </a:lnTo>
                <a:lnTo>
                  <a:pt x="676" y="979"/>
                </a:lnTo>
                <a:lnTo>
                  <a:pt x="692" y="971"/>
                </a:lnTo>
                <a:lnTo>
                  <a:pt x="692" y="948"/>
                </a:lnTo>
                <a:lnTo>
                  <a:pt x="717" y="932"/>
                </a:lnTo>
                <a:lnTo>
                  <a:pt x="725" y="908"/>
                </a:lnTo>
                <a:cubicBezTo>
                  <a:pt x="725" y="908"/>
                  <a:pt x="692" y="900"/>
                  <a:pt x="684" y="900"/>
                </a:cubicBezTo>
                <a:cubicBezTo>
                  <a:pt x="668" y="900"/>
                  <a:pt x="676" y="900"/>
                  <a:pt x="676" y="892"/>
                </a:cubicBezTo>
                <a:lnTo>
                  <a:pt x="668" y="885"/>
                </a:lnTo>
                <a:lnTo>
                  <a:pt x="651" y="892"/>
                </a:lnTo>
                <a:cubicBezTo>
                  <a:pt x="643" y="892"/>
                  <a:pt x="643" y="877"/>
                  <a:pt x="643" y="877"/>
                </a:cubicBezTo>
                <a:lnTo>
                  <a:pt x="626" y="885"/>
                </a:lnTo>
                <a:lnTo>
                  <a:pt x="602" y="885"/>
                </a:lnTo>
                <a:lnTo>
                  <a:pt x="602" y="892"/>
                </a:lnTo>
                <a:cubicBezTo>
                  <a:pt x="593" y="900"/>
                  <a:pt x="602" y="908"/>
                  <a:pt x="610" y="908"/>
                </a:cubicBezTo>
                <a:cubicBezTo>
                  <a:pt x="610" y="916"/>
                  <a:pt x="618" y="932"/>
                  <a:pt x="618" y="932"/>
                </a:cubicBezTo>
                <a:lnTo>
                  <a:pt x="626" y="948"/>
                </a:lnTo>
                <a:lnTo>
                  <a:pt x="635" y="956"/>
                </a:lnTo>
                <a:close/>
                <a:moveTo>
                  <a:pt x="956" y="1279"/>
                </a:moveTo>
                <a:lnTo>
                  <a:pt x="964" y="1279"/>
                </a:lnTo>
                <a:lnTo>
                  <a:pt x="972" y="1271"/>
                </a:lnTo>
                <a:lnTo>
                  <a:pt x="964" y="1256"/>
                </a:lnTo>
                <a:lnTo>
                  <a:pt x="956" y="1248"/>
                </a:lnTo>
                <a:lnTo>
                  <a:pt x="948" y="1224"/>
                </a:lnTo>
                <a:lnTo>
                  <a:pt x="931" y="1208"/>
                </a:lnTo>
                <a:lnTo>
                  <a:pt x="923" y="1200"/>
                </a:lnTo>
                <a:lnTo>
                  <a:pt x="915" y="1216"/>
                </a:lnTo>
                <a:lnTo>
                  <a:pt x="907" y="1224"/>
                </a:lnTo>
                <a:lnTo>
                  <a:pt x="898" y="1232"/>
                </a:lnTo>
                <a:cubicBezTo>
                  <a:pt x="898" y="1232"/>
                  <a:pt x="874" y="1224"/>
                  <a:pt x="865" y="1216"/>
                </a:cubicBezTo>
                <a:lnTo>
                  <a:pt x="849" y="1208"/>
                </a:lnTo>
                <a:cubicBezTo>
                  <a:pt x="849" y="1208"/>
                  <a:pt x="841" y="1208"/>
                  <a:pt x="832" y="1200"/>
                </a:cubicBezTo>
                <a:lnTo>
                  <a:pt x="824" y="1192"/>
                </a:lnTo>
                <a:cubicBezTo>
                  <a:pt x="824" y="1192"/>
                  <a:pt x="824" y="1185"/>
                  <a:pt x="816" y="1185"/>
                </a:cubicBezTo>
                <a:cubicBezTo>
                  <a:pt x="816" y="1177"/>
                  <a:pt x="808" y="1185"/>
                  <a:pt x="800" y="1185"/>
                </a:cubicBezTo>
                <a:lnTo>
                  <a:pt x="775" y="1185"/>
                </a:lnTo>
                <a:cubicBezTo>
                  <a:pt x="775" y="1192"/>
                  <a:pt x="767" y="1192"/>
                  <a:pt x="767" y="1192"/>
                </a:cubicBezTo>
                <a:cubicBezTo>
                  <a:pt x="758" y="1200"/>
                  <a:pt x="767" y="1216"/>
                  <a:pt x="767" y="1216"/>
                </a:cubicBezTo>
                <a:lnTo>
                  <a:pt x="767" y="1224"/>
                </a:lnTo>
                <a:lnTo>
                  <a:pt x="775" y="1240"/>
                </a:lnTo>
                <a:lnTo>
                  <a:pt x="758" y="1240"/>
                </a:lnTo>
                <a:lnTo>
                  <a:pt x="750" y="1240"/>
                </a:lnTo>
                <a:lnTo>
                  <a:pt x="758" y="1256"/>
                </a:lnTo>
                <a:cubicBezTo>
                  <a:pt x="758" y="1256"/>
                  <a:pt x="758" y="1264"/>
                  <a:pt x="767" y="1271"/>
                </a:cubicBezTo>
                <a:lnTo>
                  <a:pt x="775" y="1279"/>
                </a:lnTo>
                <a:lnTo>
                  <a:pt x="816" y="1287"/>
                </a:lnTo>
                <a:lnTo>
                  <a:pt x="824" y="1287"/>
                </a:lnTo>
                <a:cubicBezTo>
                  <a:pt x="824" y="1287"/>
                  <a:pt x="841" y="1295"/>
                  <a:pt x="857" y="1303"/>
                </a:cubicBezTo>
                <a:cubicBezTo>
                  <a:pt x="865" y="1311"/>
                  <a:pt x="874" y="1319"/>
                  <a:pt x="874" y="1319"/>
                </a:cubicBezTo>
                <a:lnTo>
                  <a:pt x="890" y="1319"/>
                </a:lnTo>
                <a:lnTo>
                  <a:pt x="898" y="1311"/>
                </a:lnTo>
                <a:lnTo>
                  <a:pt x="923" y="1303"/>
                </a:lnTo>
                <a:lnTo>
                  <a:pt x="940" y="1303"/>
                </a:lnTo>
                <a:lnTo>
                  <a:pt x="964" y="1311"/>
                </a:lnTo>
                <a:lnTo>
                  <a:pt x="972" y="1311"/>
                </a:lnTo>
                <a:lnTo>
                  <a:pt x="972" y="1287"/>
                </a:lnTo>
                <a:lnTo>
                  <a:pt x="956" y="1279"/>
                </a:lnTo>
                <a:close/>
                <a:moveTo>
                  <a:pt x="1047" y="1185"/>
                </a:moveTo>
                <a:lnTo>
                  <a:pt x="1038" y="1192"/>
                </a:lnTo>
                <a:lnTo>
                  <a:pt x="1047" y="1192"/>
                </a:lnTo>
                <a:lnTo>
                  <a:pt x="1063" y="1200"/>
                </a:lnTo>
                <a:lnTo>
                  <a:pt x="1071" y="1200"/>
                </a:lnTo>
                <a:lnTo>
                  <a:pt x="1080" y="1192"/>
                </a:lnTo>
                <a:lnTo>
                  <a:pt x="1088" y="1177"/>
                </a:lnTo>
                <a:lnTo>
                  <a:pt x="1112" y="1169"/>
                </a:lnTo>
                <a:lnTo>
                  <a:pt x="1137" y="1169"/>
                </a:lnTo>
                <a:lnTo>
                  <a:pt x="1145" y="1161"/>
                </a:lnTo>
                <a:lnTo>
                  <a:pt x="1145" y="1153"/>
                </a:lnTo>
                <a:lnTo>
                  <a:pt x="1129" y="1137"/>
                </a:lnTo>
                <a:lnTo>
                  <a:pt x="1112" y="1137"/>
                </a:lnTo>
                <a:lnTo>
                  <a:pt x="1088" y="1137"/>
                </a:lnTo>
                <a:lnTo>
                  <a:pt x="1079" y="1137"/>
                </a:lnTo>
                <a:lnTo>
                  <a:pt x="1079" y="1153"/>
                </a:lnTo>
                <a:cubicBezTo>
                  <a:pt x="1071" y="1161"/>
                  <a:pt x="1071" y="1161"/>
                  <a:pt x="1063" y="1161"/>
                </a:cubicBezTo>
                <a:lnTo>
                  <a:pt x="1055" y="1161"/>
                </a:lnTo>
                <a:lnTo>
                  <a:pt x="1047" y="1185"/>
                </a:lnTo>
                <a:close/>
                <a:moveTo>
                  <a:pt x="1047" y="1145"/>
                </a:moveTo>
                <a:lnTo>
                  <a:pt x="1047" y="1121"/>
                </a:lnTo>
                <a:lnTo>
                  <a:pt x="1055" y="1114"/>
                </a:lnTo>
                <a:lnTo>
                  <a:pt x="1047" y="1106"/>
                </a:lnTo>
                <a:lnTo>
                  <a:pt x="1038" y="1106"/>
                </a:lnTo>
                <a:lnTo>
                  <a:pt x="1030" y="1090"/>
                </a:lnTo>
                <a:lnTo>
                  <a:pt x="1022" y="1090"/>
                </a:lnTo>
                <a:lnTo>
                  <a:pt x="1014" y="1090"/>
                </a:lnTo>
                <a:lnTo>
                  <a:pt x="1022" y="1082"/>
                </a:lnTo>
                <a:lnTo>
                  <a:pt x="1030" y="1082"/>
                </a:lnTo>
                <a:lnTo>
                  <a:pt x="1038" y="1074"/>
                </a:lnTo>
                <a:cubicBezTo>
                  <a:pt x="1038" y="1074"/>
                  <a:pt x="1055" y="1050"/>
                  <a:pt x="1071" y="1050"/>
                </a:cubicBezTo>
                <a:lnTo>
                  <a:pt x="1096" y="1050"/>
                </a:lnTo>
                <a:lnTo>
                  <a:pt x="1112" y="1035"/>
                </a:lnTo>
                <a:lnTo>
                  <a:pt x="1112" y="1027"/>
                </a:lnTo>
                <a:cubicBezTo>
                  <a:pt x="1121" y="1027"/>
                  <a:pt x="1112" y="1011"/>
                  <a:pt x="1112" y="1011"/>
                </a:cubicBezTo>
                <a:lnTo>
                  <a:pt x="1112" y="995"/>
                </a:lnTo>
                <a:lnTo>
                  <a:pt x="1088" y="979"/>
                </a:lnTo>
                <a:lnTo>
                  <a:pt x="1055" y="964"/>
                </a:lnTo>
                <a:cubicBezTo>
                  <a:pt x="1055" y="964"/>
                  <a:pt x="1055" y="948"/>
                  <a:pt x="1047" y="948"/>
                </a:cubicBezTo>
                <a:lnTo>
                  <a:pt x="1055" y="932"/>
                </a:lnTo>
                <a:cubicBezTo>
                  <a:pt x="1055" y="932"/>
                  <a:pt x="1071" y="908"/>
                  <a:pt x="1088" y="900"/>
                </a:cubicBezTo>
                <a:cubicBezTo>
                  <a:pt x="1096" y="892"/>
                  <a:pt x="1104" y="892"/>
                  <a:pt x="1104" y="892"/>
                </a:cubicBezTo>
                <a:cubicBezTo>
                  <a:pt x="1112" y="892"/>
                  <a:pt x="1121" y="900"/>
                  <a:pt x="1129" y="908"/>
                </a:cubicBezTo>
                <a:lnTo>
                  <a:pt x="1162" y="908"/>
                </a:lnTo>
                <a:lnTo>
                  <a:pt x="1162" y="885"/>
                </a:lnTo>
                <a:cubicBezTo>
                  <a:pt x="1162" y="877"/>
                  <a:pt x="1162" y="885"/>
                  <a:pt x="1154" y="877"/>
                </a:cubicBezTo>
                <a:lnTo>
                  <a:pt x="1145" y="869"/>
                </a:lnTo>
                <a:lnTo>
                  <a:pt x="1145" y="821"/>
                </a:lnTo>
                <a:cubicBezTo>
                  <a:pt x="1145" y="814"/>
                  <a:pt x="1137" y="798"/>
                  <a:pt x="1137" y="798"/>
                </a:cubicBezTo>
                <a:cubicBezTo>
                  <a:pt x="1137" y="790"/>
                  <a:pt x="1129" y="782"/>
                  <a:pt x="1129" y="782"/>
                </a:cubicBezTo>
                <a:lnTo>
                  <a:pt x="1121" y="766"/>
                </a:lnTo>
                <a:lnTo>
                  <a:pt x="1121" y="758"/>
                </a:lnTo>
                <a:cubicBezTo>
                  <a:pt x="1121" y="742"/>
                  <a:pt x="1129" y="727"/>
                  <a:pt x="1129" y="727"/>
                </a:cubicBezTo>
                <a:cubicBezTo>
                  <a:pt x="1137" y="719"/>
                  <a:pt x="1137" y="703"/>
                  <a:pt x="1137" y="703"/>
                </a:cubicBezTo>
                <a:lnTo>
                  <a:pt x="1129" y="695"/>
                </a:lnTo>
                <a:lnTo>
                  <a:pt x="1096" y="687"/>
                </a:lnTo>
                <a:lnTo>
                  <a:pt x="1088" y="679"/>
                </a:lnTo>
                <a:cubicBezTo>
                  <a:pt x="1088" y="671"/>
                  <a:pt x="1080" y="671"/>
                  <a:pt x="1080" y="671"/>
                </a:cubicBezTo>
                <a:lnTo>
                  <a:pt x="1047" y="679"/>
                </a:lnTo>
                <a:cubicBezTo>
                  <a:pt x="1047" y="679"/>
                  <a:pt x="1030" y="687"/>
                  <a:pt x="1022" y="695"/>
                </a:cubicBezTo>
                <a:cubicBezTo>
                  <a:pt x="1005" y="695"/>
                  <a:pt x="1005" y="695"/>
                  <a:pt x="997" y="703"/>
                </a:cubicBezTo>
                <a:cubicBezTo>
                  <a:pt x="981" y="711"/>
                  <a:pt x="981" y="719"/>
                  <a:pt x="972" y="727"/>
                </a:cubicBezTo>
                <a:cubicBezTo>
                  <a:pt x="964" y="727"/>
                  <a:pt x="956" y="742"/>
                  <a:pt x="956" y="742"/>
                </a:cubicBezTo>
                <a:cubicBezTo>
                  <a:pt x="948" y="750"/>
                  <a:pt x="948" y="750"/>
                  <a:pt x="956" y="758"/>
                </a:cubicBezTo>
                <a:cubicBezTo>
                  <a:pt x="956" y="766"/>
                  <a:pt x="964" y="758"/>
                  <a:pt x="964" y="758"/>
                </a:cubicBezTo>
                <a:lnTo>
                  <a:pt x="981" y="758"/>
                </a:lnTo>
                <a:cubicBezTo>
                  <a:pt x="989" y="758"/>
                  <a:pt x="989" y="766"/>
                  <a:pt x="981" y="766"/>
                </a:cubicBezTo>
                <a:lnTo>
                  <a:pt x="981" y="774"/>
                </a:lnTo>
                <a:lnTo>
                  <a:pt x="972" y="782"/>
                </a:lnTo>
                <a:lnTo>
                  <a:pt x="972" y="798"/>
                </a:lnTo>
                <a:cubicBezTo>
                  <a:pt x="972" y="806"/>
                  <a:pt x="964" y="806"/>
                  <a:pt x="964" y="806"/>
                </a:cubicBezTo>
                <a:cubicBezTo>
                  <a:pt x="956" y="814"/>
                  <a:pt x="956" y="814"/>
                  <a:pt x="948" y="821"/>
                </a:cubicBezTo>
                <a:cubicBezTo>
                  <a:pt x="939" y="821"/>
                  <a:pt x="939" y="829"/>
                  <a:pt x="939" y="829"/>
                </a:cubicBezTo>
                <a:cubicBezTo>
                  <a:pt x="939" y="837"/>
                  <a:pt x="939" y="837"/>
                  <a:pt x="948" y="845"/>
                </a:cubicBezTo>
                <a:lnTo>
                  <a:pt x="948" y="853"/>
                </a:lnTo>
                <a:cubicBezTo>
                  <a:pt x="948" y="861"/>
                  <a:pt x="939" y="869"/>
                  <a:pt x="939" y="861"/>
                </a:cubicBezTo>
                <a:lnTo>
                  <a:pt x="939" y="853"/>
                </a:lnTo>
                <a:lnTo>
                  <a:pt x="915" y="853"/>
                </a:lnTo>
                <a:lnTo>
                  <a:pt x="907" y="853"/>
                </a:lnTo>
                <a:lnTo>
                  <a:pt x="923" y="837"/>
                </a:lnTo>
                <a:lnTo>
                  <a:pt x="931" y="829"/>
                </a:lnTo>
                <a:lnTo>
                  <a:pt x="931" y="821"/>
                </a:lnTo>
                <a:lnTo>
                  <a:pt x="907" y="821"/>
                </a:lnTo>
                <a:lnTo>
                  <a:pt x="898" y="821"/>
                </a:lnTo>
                <a:lnTo>
                  <a:pt x="907" y="814"/>
                </a:lnTo>
                <a:lnTo>
                  <a:pt x="907" y="798"/>
                </a:lnTo>
                <a:lnTo>
                  <a:pt x="915" y="782"/>
                </a:lnTo>
                <a:cubicBezTo>
                  <a:pt x="915" y="782"/>
                  <a:pt x="915" y="766"/>
                  <a:pt x="923" y="766"/>
                </a:cubicBezTo>
                <a:cubicBezTo>
                  <a:pt x="923" y="766"/>
                  <a:pt x="931" y="758"/>
                  <a:pt x="931" y="750"/>
                </a:cubicBezTo>
                <a:cubicBezTo>
                  <a:pt x="939" y="750"/>
                  <a:pt x="931" y="742"/>
                  <a:pt x="931" y="742"/>
                </a:cubicBezTo>
                <a:lnTo>
                  <a:pt x="915" y="742"/>
                </a:lnTo>
                <a:lnTo>
                  <a:pt x="898" y="750"/>
                </a:lnTo>
                <a:cubicBezTo>
                  <a:pt x="898" y="750"/>
                  <a:pt x="874" y="758"/>
                  <a:pt x="865" y="758"/>
                </a:cubicBezTo>
                <a:lnTo>
                  <a:pt x="857" y="758"/>
                </a:lnTo>
                <a:cubicBezTo>
                  <a:pt x="857" y="750"/>
                  <a:pt x="849" y="750"/>
                  <a:pt x="849" y="750"/>
                </a:cubicBezTo>
                <a:lnTo>
                  <a:pt x="832" y="750"/>
                </a:lnTo>
                <a:cubicBezTo>
                  <a:pt x="824" y="750"/>
                  <a:pt x="824" y="758"/>
                  <a:pt x="824" y="758"/>
                </a:cubicBezTo>
                <a:cubicBezTo>
                  <a:pt x="824" y="758"/>
                  <a:pt x="849" y="766"/>
                  <a:pt x="857" y="774"/>
                </a:cubicBezTo>
                <a:lnTo>
                  <a:pt x="865" y="774"/>
                </a:lnTo>
                <a:lnTo>
                  <a:pt x="865" y="782"/>
                </a:lnTo>
                <a:cubicBezTo>
                  <a:pt x="865" y="782"/>
                  <a:pt x="857" y="798"/>
                  <a:pt x="849" y="798"/>
                </a:cubicBezTo>
                <a:cubicBezTo>
                  <a:pt x="849" y="806"/>
                  <a:pt x="841" y="806"/>
                  <a:pt x="841" y="806"/>
                </a:cubicBezTo>
                <a:lnTo>
                  <a:pt x="824" y="814"/>
                </a:lnTo>
                <a:lnTo>
                  <a:pt x="832" y="829"/>
                </a:lnTo>
                <a:lnTo>
                  <a:pt x="832" y="845"/>
                </a:lnTo>
                <a:lnTo>
                  <a:pt x="816" y="837"/>
                </a:lnTo>
                <a:lnTo>
                  <a:pt x="791" y="853"/>
                </a:lnTo>
                <a:lnTo>
                  <a:pt x="783" y="853"/>
                </a:lnTo>
                <a:cubicBezTo>
                  <a:pt x="775" y="853"/>
                  <a:pt x="775" y="845"/>
                  <a:pt x="775" y="845"/>
                </a:cubicBezTo>
                <a:lnTo>
                  <a:pt x="767" y="861"/>
                </a:lnTo>
                <a:cubicBezTo>
                  <a:pt x="767" y="861"/>
                  <a:pt x="734" y="853"/>
                  <a:pt x="725" y="853"/>
                </a:cubicBezTo>
                <a:lnTo>
                  <a:pt x="725" y="869"/>
                </a:lnTo>
                <a:lnTo>
                  <a:pt x="742" y="877"/>
                </a:lnTo>
                <a:lnTo>
                  <a:pt x="725" y="885"/>
                </a:lnTo>
                <a:lnTo>
                  <a:pt x="758" y="900"/>
                </a:lnTo>
                <a:lnTo>
                  <a:pt x="767" y="908"/>
                </a:lnTo>
                <a:lnTo>
                  <a:pt x="775" y="932"/>
                </a:lnTo>
                <a:lnTo>
                  <a:pt x="767" y="940"/>
                </a:lnTo>
                <a:lnTo>
                  <a:pt x="783" y="956"/>
                </a:lnTo>
                <a:cubicBezTo>
                  <a:pt x="783" y="956"/>
                  <a:pt x="783" y="964"/>
                  <a:pt x="791" y="971"/>
                </a:cubicBezTo>
                <a:lnTo>
                  <a:pt x="791" y="987"/>
                </a:lnTo>
                <a:lnTo>
                  <a:pt x="791" y="1003"/>
                </a:lnTo>
                <a:lnTo>
                  <a:pt x="791" y="1011"/>
                </a:lnTo>
                <a:cubicBezTo>
                  <a:pt x="791" y="1011"/>
                  <a:pt x="775" y="1019"/>
                  <a:pt x="775" y="1027"/>
                </a:cubicBezTo>
                <a:lnTo>
                  <a:pt x="783" y="1027"/>
                </a:lnTo>
                <a:lnTo>
                  <a:pt x="799" y="1042"/>
                </a:lnTo>
                <a:lnTo>
                  <a:pt x="808" y="1058"/>
                </a:lnTo>
                <a:cubicBezTo>
                  <a:pt x="808" y="1058"/>
                  <a:pt x="799" y="1066"/>
                  <a:pt x="799" y="1074"/>
                </a:cubicBezTo>
                <a:lnTo>
                  <a:pt x="816" y="1082"/>
                </a:lnTo>
                <a:lnTo>
                  <a:pt x="898" y="1082"/>
                </a:lnTo>
                <a:lnTo>
                  <a:pt x="923" y="1074"/>
                </a:lnTo>
                <a:cubicBezTo>
                  <a:pt x="923" y="1074"/>
                  <a:pt x="940" y="1090"/>
                  <a:pt x="948" y="1090"/>
                </a:cubicBezTo>
                <a:cubicBezTo>
                  <a:pt x="956" y="1098"/>
                  <a:pt x="948" y="1106"/>
                  <a:pt x="948" y="1106"/>
                </a:cubicBezTo>
                <a:cubicBezTo>
                  <a:pt x="948" y="1114"/>
                  <a:pt x="940" y="1114"/>
                  <a:pt x="940" y="1114"/>
                </a:cubicBezTo>
                <a:lnTo>
                  <a:pt x="948" y="1137"/>
                </a:lnTo>
                <a:cubicBezTo>
                  <a:pt x="956" y="1145"/>
                  <a:pt x="956" y="1137"/>
                  <a:pt x="956" y="1137"/>
                </a:cubicBezTo>
                <a:cubicBezTo>
                  <a:pt x="956" y="1137"/>
                  <a:pt x="964" y="1145"/>
                  <a:pt x="972" y="1153"/>
                </a:cubicBezTo>
                <a:cubicBezTo>
                  <a:pt x="972" y="1161"/>
                  <a:pt x="981" y="1161"/>
                  <a:pt x="981" y="1161"/>
                </a:cubicBezTo>
                <a:lnTo>
                  <a:pt x="989" y="1161"/>
                </a:lnTo>
                <a:cubicBezTo>
                  <a:pt x="989" y="1161"/>
                  <a:pt x="997" y="1161"/>
                  <a:pt x="997" y="1169"/>
                </a:cubicBezTo>
                <a:lnTo>
                  <a:pt x="1022" y="1169"/>
                </a:lnTo>
                <a:cubicBezTo>
                  <a:pt x="1022" y="1169"/>
                  <a:pt x="1030" y="1169"/>
                  <a:pt x="1030" y="1161"/>
                </a:cubicBezTo>
                <a:lnTo>
                  <a:pt x="1047" y="1161"/>
                </a:lnTo>
                <a:lnTo>
                  <a:pt x="1047" y="1145"/>
                </a:lnTo>
                <a:close/>
                <a:moveTo>
                  <a:pt x="1063" y="1137"/>
                </a:moveTo>
                <a:lnTo>
                  <a:pt x="1055" y="1129"/>
                </a:lnTo>
                <a:lnTo>
                  <a:pt x="1063" y="1121"/>
                </a:lnTo>
                <a:lnTo>
                  <a:pt x="1080" y="1121"/>
                </a:lnTo>
                <a:lnTo>
                  <a:pt x="1063" y="1137"/>
                </a:lnTo>
                <a:close/>
                <a:moveTo>
                  <a:pt x="890" y="1185"/>
                </a:moveTo>
                <a:lnTo>
                  <a:pt x="882" y="1169"/>
                </a:lnTo>
                <a:lnTo>
                  <a:pt x="890" y="1161"/>
                </a:lnTo>
                <a:lnTo>
                  <a:pt x="898" y="1169"/>
                </a:lnTo>
                <a:lnTo>
                  <a:pt x="890" y="1177"/>
                </a:lnTo>
                <a:lnTo>
                  <a:pt x="890" y="1185"/>
                </a:lnTo>
                <a:close/>
                <a:moveTo>
                  <a:pt x="849" y="1185"/>
                </a:moveTo>
                <a:lnTo>
                  <a:pt x="841" y="1177"/>
                </a:lnTo>
                <a:lnTo>
                  <a:pt x="865" y="1177"/>
                </a:lnTo>
                <a:lnTo>
                  <a:pt x="874" y="1185"/>
                </a:lnTo>
                <a:cubicBezTo>
                  <a:pt x="865" y="1185"/>
                  <a:pt x="865" y="1192"/>
                  <a:pt x="865" y="1192"/>
                </a:cubicBezTo>
                <a:cubicBezTo>
                  <a:pt x="857" y="1192"/>
                  <a:pt x="849" y="1185"/>
                  <a:pt x="849" y="1185"/>
                </a:cubicBezTo>
                <a:close/>
                <a:moveTo>
                  <a:pt x="874" y="1200"/>
                </a:moveTo>
                <a:lnTo>
                  <a:pt x="882" y="1200"/>
                </a:lnTo>
                <a:lnTo>
                  <a:pt x="882" y="1208"/>
                </a:lnTo>
                <a:lnTo>
                  <a:pt x="874" y="1216"/>
                </a:lnTo>
                <a:lnTo>
                  <a:pt x="874" y="1200"/>
                </a:lnTo>
                <a:close/>
                <a:moveTo>
                  <a:pt x="783" y="1098"/>
                </a:moveTo>
                <a:lnTo>
                  <a:pt x="791" y="1090"/>
                </a:lnTo>
                <a:lnTo>
                  <a:pt x="799" y="1098"/>
                </a:lnTo>
                <a:lnTo>
                  <a:pt x="791" y="1106"/>
                </a:lnTo>
                <a:lnTo>
                  <a:pt x="783" y="1098"/>
                </a:lnTo>
                <a:close/>
                <a:moveTo>
                  <a:pt x="561" y="885"/>
                </a:moveTo>
                <a:lnTo>
                  <a:pt x="569" y="877"/>
                </a:lnTo>
                <a:cubicBezTo>
                  <a:pt x="569" y="869"/>
                  <a:pt x="561" y="861"/>
                  <a:pt x="561" y="861"/>
                </a:cubicBezTo>
                <a:cubicBezTo>
                  <a:pt x="561" y="853"/>
                  <a:pt x="569" y="853"/>
                  <a:pt x="569" y="853"/>
                </a:cubicBezTo>
                <a:lnTo>
                  <a:pt x="569" y="845"/>
                </a:lnTo>
                <a:lnTo>
                  <a:pt x="561" y="845"/>
                </a:lnTo>
                <a:cubicBezTo>
                  <a:pt x="552" y="845"/>
                  <a:pt x="552" y="853"/>
                  <a:pt x="552" y="853"/>
                </a:cubicBezTo>
                <a:lnTo>
                  <a:pt x="552" y="861"/>
                </a:lnTo>
                <a:lnTo>
                  <a:pt x="552" y="869"/>
                </a:lnTo>
                <a:lnTo>
                  <a:pt x="561" y="885"/>
                </a:lnTo>
                <a:close/>
                <a:moveTo>
                  <a:pt x="132" y="1098"/>
                </a:moveTo>
                <a:lnTo>
                  <a:pt x="116" y="1090"/>
                </a:lnTo>
                <a:cubicBezTo>
                  <a:pt x="116" y="1098"/>
                  <a:pt x="107" y="1106"/>
                  <a:pt x="107" y="1106"/>
                </a:cubicBezTo>
                <a:lnTo>
                  <a:pt x="99" y="1129"/>
                </a:lnTo>
                <a:lnTo>
                  <a:pt x="91" y="1137"/>
                </a:lnTo>
                <a:lnTo>
                  <a:pt x="91" y="1153"/>
                </a:lnTo>
                <a:lnTo>
                  <a:pt x="66" y="1161"/>
                </a:lnTo>
                <a:cubicBezTo>
                  <a:pt x="66" y="1161"/>
                  <a:pt x="66" y="1169"/>
                  <a:pt x="75" y="1169"/>
                </a:cubicBezTo>
                <a:lnTo>
                  <a:pt x="91" y="1169"/>
                </a:lnTo>
                <a:cubicBezTo>
                  <a:pt x="91" y="1161"/>
                  <a:pt x="99" y="1153"/>
                  <a:pt x="99" y="1153"/>
                </a:cubicBezTo>
                <a:lnTo>
                  <a:pt x="107" y="1145"/>
                </a:lnTo>
                <a:cubicBezTo>
                  <a:pt x="116" y="1145"/>
                  <a:pt x="132" y="1145"/>
                  <a:pt x="132" y="1137"/>
                </a:cubicBezTo>
                <a:lnTo>
                  <a:pt x="132" y="1098"/>
                </a:lnTo>
                <a:close/>
                <a:moveTo>
                  <a:pt x="313" y="261"/>
                </a:moveTo>
                <a:lnTo>
                  <a:pt x="363" y="237"/>
                </a:lnTo>
                <a:lnTo>
                  <a:pt x="388" y="190"/>
                </a:lnTo>
                <a:lnTo>
                  <a:pt x="421" y="135"/>
                </a:lnTo>
                <a:lnTo>
                  <a:pt x="437" y="111"/>
                </a:lnTo>
                <a:lnTo>
                  <a:pt x="453" y="71"/>
                </a:lnTo>
                <a:lnTo>
                  <a:pt x="503" y="56"/>
                </a:lnTo>
                <a:cubicBezTo>
                  <a:pt x="503" y="56"/>
                  <a:pt x="536" y="48"/>
                  <a:pt x="544" y="48"/>
                </a:cubicBezTo>
                <a:cubicBezTo>
                  <a:pt x="552" y="40"/>
                  <a:pt x="602" y="0"/>
                  <a:pt x="602" y="0"/>
                </a:cubicBezTo>
                <a:lnTo>
                  <a:pt x="610" y="0"/>
                </a:lnTo>
                <a:lnTo>
                  <a:pt x="585" y="40"/>
                </a:lnTo>
                <a:lnTo>
                  <a:pt x="585" y="64"/>
                </a:lnTo>
                <a:lnTo>
                  <a:pt x="585" y="79"/>
                </a:lnTo>
                <a:lnTo>
                  <a:pt x="593" y="111"/>
                </a:lnTo>
                <a:lnTo>
                  <a:pt x="602" y="119"/>
                </a:lnTo>
                <a:lnTo>
                  <a:pt x="602" y="150"/>
                </a:lnTo>
                <a:lnTo>
                  <a:pt x="602" y="182"/>
                </a:lnTo>
                <a:cubicBezTo>
                  <a:pt x="602" y="182"/>
                  <a:pt x="626" y="198"/>
                  <a:pt x="618" y="206"/>
                </a:cubicBezTo>
                <a:cubicBezTo>
                  <a:pt x="602" y="213"/>
                  <a:pt x="585" y="237"/>
                  <a:pt x="585" y="237"/>
                </a:cubicBezTo>
                <a:lnTo>
                  <a:pt x="577" y="285"/>
                </a:lnTo>
                <a:lnTo>
                  <a:pt x="544" y="324"/>
                </a:lnTo>
                <a:lnTo>
                  <a:pt x="552" y="371"/>
                </a:lnTo>
                <a:lnTo>
                  <a:pt x="561" y="411"/>
                </a:lnTo>
                <a:lnTo>
                  <a:pt x="552" y="442"/>
                </a:lnTo>
                <a:lnTo>
                  <a:pt x="577" y="466"/>
                </a:lnTo>
                <a:lnTo>
                  <a:pt x="569" y="482"/>
                </a:lnTo>
                <a:lnTo>
                  <a:pt x="577" y="506"/>
                </a:lnTo>
                <a:lnTo>
                  <a:pt x="602" y="521"/>
                </a:lnTo>
                <a:lnTo>
                  <a:pt x="626" y="521"/>
                </a:lnTo>
                <a:cubicBezTo>
                  <a:pt x="635" y="521"/>
                  <a:pt x="659" y="514"/>
                  <a:pt x="668" y="514"/>
                </a:cubicBezTo>
                <a:cubicBezTo>
                  <a:pt x="676" y="514"/>
                  <a:pt x="692" y="521"/>
                  <a:pt x="692" y="521"/>
                </a:cubicBezTo>
                <a:lnTo>
                  <a:pt x="717" y="553"/>
                </a:lnTo>
                <a:lnTo>
                  <a:pt x="717" y="577"/>
                </a:lnTo>
                <a:cubicBezTo>
                  <a:pt x="717" y="577"/>
                  <a:pt x="709" y="592"/>
                  <a:pt x="709" y="600"/>
                </a:cubicBezTo>
                <a:cubicBezTo>
                  <a:pt x="701" y="608"/>
                  <a:pt x="692" y="624"/>
                  <a:pt x="692" y="624"/>
                </a:cubicBezTo>
                <a:lnTo>
                  <a:pt x="676" y="640"/>
                </a:lnTo>
                <a:lnTo>
                  <a:pt x="668" y="664"/>
                </a:lnTo>
                <a:lnTo>
                  <a:pt x="659" y="679"/>
                </a:lnTo>
                <a:lnTo>
                  <a:pt x="643" y="664"/>
                </a:lnTo>
                <a:cubicBezTo>
                  <a:pt x="643" y="664"/>
                  <a:pt x="643" y="640"/>
                  <a:pt x="635" y="648"/>
                </a:cubicBezTo>
                <a:cubicBezTo>
                  <a:pt x="626" y="648"/>
                  <a:pt x="618" y="664"/>
                  <a:pt x="618" y="664"/>
                </a:cubicBezTo>
                <a:lnTo>
                  <a:pt x="626" y="679"/>
                </a:lnTo>
                <a:cubicBezTo>
                  <a:pt x="626" y="679"/>
                  <a:pt x="635" y="703"/>
                  <a:pt x="626" y="703"/>
                </a:cubicBezTo>
                <a:lnTo>
                  <a:pt x="610" y="703"/>
                </a:lnTo>
                <a:lnTo>
                  <a:pt x="602" y="671"/>
                </a:lnTo>
                <a:lnTo>
                  <a:pt x="577" y="664"/>
                </a:lnTo>
                <a:lnTo>
                  <a:pt x="593" y="632"/>
                </a:lnTo>
                <a:lnTo>
                  <a:pt x="577" y="624"/>
                </a:lnTo>
                <a:cubicBezTo>
                  <a:pt x="577" y="624"/>
                  <a:pt x="569" y="624"/>
                  <a:pt x="561" y="632"/>
                </a:cubicBezTo>
                <a:cubicBezTo>
                  <a:pt x="561" y="640"/>
                  <a:pt x="552" y="671"/>
                  <a:pt x="552" y="671"/>
                </a:cubicBezTo>
                <a:lnTo>
                  <a:pt x="544" y="703"/>
                </a:lnTo>
                <a:cubicBezTo>
                  <a:pt x="544" y="703"/>
                  <a:pt x="552" y="711"/>
                  <a:pt x="552" y="719"/>
                </a:cubicBezTo>
                <a:cubicBezTo>
                  <a:pt x="552" y="727"/>
                  <a:pt x="544" y="735"/>
                  <a:pt x="544" y="735"/>
                </a:cubicBezTo>
                <a:lnTo>
                  <a:pt x="544" y="750"/>
                </a:lnTo>
                <a:cubicBezTo>
                  <a:pt x="544" y="750"/>
                  <a:pt x="552" y="766"/>
                  <a:pt x="552" y="774"/>
                </a:cubicBezTo>
                <a:cubicBezTo>
                  <a:pt x="552" y="774"/>
                  <a:pt x="552" y="782"/>
                  <a:pt x="544" y="782"/>
                </a:cubicBezTo>
                <a:lnTo>
                  <a:pt x="544" y="798"/>
                </a:lnTo>
                <a:cubicBezTo>
                  <a:pt x="536" y="798"/>
                  <a:pt x="528" y="806"/>
                  <a:pt x="528" y="806"/>
                </a:cubicBezTo>
                <a:lnTo>
                  <a:pt x="511" y="814"/>
                </a:lnTo>
                <a:cubicBezTo>
                  <a:pt x="511" y="814"/>
                  <a:pt x="503" y="806"/>
                  <a:pt x="495" y="806"/>
                </a:cubicBezTo>
                <a:cubicBezTo>
                  <a:pt x="486" y="806"/>
                  <a:pt x="486" y="798"/>
                  <a:pt x="478" y="806"/>
                </a:cubicBezTo>
                <a:lnTo>
                  <a:pt x="470" y="814"/>
                </a:lnTo>
                <a:lnTo>
                  <a:pt x="478" y="821"/>
                </a:lnTo>
                <a:lnTo>
                  <a:pt x="495" y="821"/>
                </a:lnTo>
                <a:lnTo>
                  <a:pt x="495" y="837"/>
                </a:lnTo>
                <a:cubicBezTo>
                  <a:pt x="495" y="837"/>
                  <a:pt x="503" y="837"/>
                  <a:pt x="503" y="845"/>
                </a:cubicBezTo>
                <a:cubicBezTo>
                  <a:pt x="495" y="853"/>
                  <a:pt x="486" y="861"/>
                  <a:pt x="486" y="861"/>
                </a:cubicBezTo>
                <a:lnTo>
                  <a:pt x="470" y="877"/>
                </a:lnTo>
                <a:lnTo>
                  <a:pt x="453" y="885"/>
                </a:lnTo>
                <a:cubicBezTo>
                  <a:pt x="453" y="885"/>
                  <a:pt x="437" y="877"/>
                  <a:pt x="437" y="885"/>
                </a:cubicBezTo>
                <a:lnTo>
                  <a:pt x="421" y="885"/>
                </a:lnTo>
                <a:cubicBezTo>
                  <a:pt x="421" y="892"/>
                  <a:pt x="437" y="908"/>
                  <a:pt x="437" y="908"/>
                </a:cubicBezTo>
                <a:lnTo>
                  <a:pt x="404" y="877"/>
                </a:lnTo>
                <a:lnTo>
                  <a:pt x="388" y="877"/>
                </a:lnTo>
                <a:lnTo>
                  <a:pt x="412" y="892"/>
                </a:lnTo>
                <a:lnTo>
                  <a:pt x="421" y="908"/>
                </a:lnTo>
                <a:lnTo>
                  <a:pt x="437" y="916"/>
                </a:lnTo>
                <a:lnTo>
                  <a:pt x="429" y="924"/>
                </a:lnTo>
                <a:lnTo>
                  <a:pt x="421" y="932"/>
                </a:lnTo>
                <a:lnTo>
                  <a:pt x="404" y="948"/>
                </a:lnTo>
                <a:cubicBezTo>
                  <a:pt x="404" y="948"/>
                  <a:pt x="396" y="956"/>
                  <a:pt x="388" y="956"/>
                </a:cubicBezTo>
                <a:lnTo>
                  <a:pt x="363" y="956"/>
                </a:lnTo>
                <a:lnTo>
                  <a:pt x="371" y="964"/>
                </a:lnTo>
                <a:lnTo>
                  <a:pt x="388" y="971"/>
                </a:lnTo>
                <a:cubicBezTo>
                  <a:pt x="388" y="971"/>
                  <a:pt x="396" y="964"/>
                  <a:pt x="396" y="971"/>
                </a:cubicBezTo>
                <a:cubicBezTo>
                  <a:pt x="388" y="971"/>
                  <a:pt x="388" y="971"/>
                  <a:pt x="388" y="979"/>
                </a:cubicBezTo>
                <a:lnTo>
                  <a:pt x="388" y="1019"/>
                </a:lnTo>
                <a:lnTo>
                  <a:pt x="404" y="1042"/>
                </a:lnTo>
                <a:lnTo>
                  <a:pt x="412" y="1050"/>
                </a:lnTo>
                <a:lnTo>
                  <a:pt x="412" y="1058"/>
                </a:lnTo>
                <a:lnTo>
                  <a:pt x="412" y="1066"/>
                </a:lnTo>
                <a:lnTo>
                  <a:pt x="412" y="1082"/>
                </a:lnTo>
                <a:cubicBezTo>
                  <a:pt x="412" y="1082"/>
                  <a:pt x="404" y="1090"/>
                  <a:pt x="396" y="1090"/>
                </a:cubicBezTo>
                <a:lnTo>
                  <a:pt x="363" y="1098"/>
                </a:lnTo>
                <a:lnTo>
                  <a:pt x="355" y="1114"/>
                </a:lnTo>
                <a:lnTo>
                  <a:pt x="371" y="1121"/>
                </a:lnTo>
                <a:lnTo>
                  <a:pt x="371" y="1137"/>
                </a:lnTo>
                <a:cubicBezTo>
                  <a:pt x="371" y="1145"/>
                  <a:pt x="363" y="1153"/>
                  <a:pt x="363" y="1153"/>
                </a:cubicBezTo>
                <a:lnTo>
                  <a:pt x="379" y="1153"/>
                </a:lnTo>
                <a:lnTo>
                  <a:pt x="404" y="1161"/>
                </a:lnTo>
                <a:lnTo>
                  <a:pt x="437" y="1200"/>
                </a:lnTo>
                <a:lnTo>
                  <a:pt x="429" y="1232"/>
                </a:lnTo>
                <a:lnTo>
                  <a:pt x="412" y="1248"/>
                </a:lnTo>
                <a:lnTo>
                  <a:pt x="396" y="1216"/>
                </a:lnTo>
                <a:cubicBezTo>
                  <a:pt x="396" y="1216"/>
                  <a:pt x="388" y="1216"/>
                  <a:pt x="388" y="1224"/>
                </a:cubicBezTo>
                <a:cubicBezTo>
                  <a:pt x="379" y="1224"/>
                  <a:pt x="355" y="1240"/>
                  <a:pt x="355" y="1240"/>
                </a:cubicBezTo>
                <a:cubicBezTo>
                  <a:pt x="355" y="1240"/>
                  <a:pt x="338" y="1248"/>
                  <a:pt x="330" y="1248"/>
                </a:cubicBezTo>
                <a:lnTo>
                  <a:pt x="322" y="1248"/>
                </a:lnTo>
                <a:lnTo>
                  <a:pt x="297" y="1240"/>
                </a:lnTo>
                <a:lnTo>
                  <a:pt x="264" y="1224"/>
                </a:lnTo>
                <a:cubicBezTo>
                  <a:pt x="264" y="1224"/>
                  <a:pt x="248" y="1216"/>
                  <a:pt x="239" y="1216"/>
                </a:cubicBezTo>
                <a:cubicBezTo>
                  <a:pt x="231" y="1216"/>
                  <a:pt x="190" y="1200"/>
                  <a:pt x="190" y="1200"/>
                </a:cubicBezTo>
                <a:lnTo>
                  <a:pt x="173" y="1208"/>
                </a:lnTo>
                <a:lnTo>
                  <a:pt x="149" y="1208"/>
                </a:lnTo>
                <a:lnTo>
                  <a:pt x="132" y="1200"/>
                </a:lnTo>
                <a:lnTo>
                  <a:pt x="116" y="1177"/>
                </a:lnTo>
                <a:lnTo>
                  <a:pt x="108" y="1161"/>
                </a:lnTo>
                <a:lnTo>
                  <a:pt x="132" y="1145"/>
                </a:lnTo>
                <a:cubicBezTo>
                  <a:pt x="140" y="1145"/>
                  <a:pt x="140" y="1137"/>
                  <a:pt x="140" y="1137"/>
                </a:cubicBezTo>
                <a:lnTo>
                  <a:pt x="140" y="1090"/>
                </a:lnTo>
                <a:cubicBezTo>
                  <a:pt x="140" y="1082"/>
                  <a:pt x="149" y="1074"/>
                  <a:pt x="149" y="1074"/>
                </a:cubicBezTo>
                <a:cubicBezTo>
                  <a:pt x="149" y="1074"/>
                  <a:pt x="149" y="1050"/>
                  <a:pt x="140" y="1042"/>
                </a:cubicBezTo>
                <a:lnTo>
                  <a:pt x="140" y="1011"/>
                </a:lnTo>
                <a:lnTo>
                  <a:pt x="124" y="987"/>
                </a:lnTo>
                <a:cubicBezTo>
                  <a:pt x="124" y="987"/>
                  <a:pt x="116" y="987"/>
                  <a:pt x="99" y="979"/>
                </a:cubicBezTo>
                <a:cubicBezTo>
                  <a:pt x="83" y="971"/>
                  <a:pt x="58" y="964"/>
                  <a:pt x="58" y="964"/>
                </a:cubicBezTo>
                <a:lnTo>
                  <a:pt x="58" y="940"/>
                </a:lnTo>
                <a:lnTo>
                  <a:pt x="50" y="932"/>
                </a:lnTo>
                <a:cubicBezTo>
                  <a:pt x="50" y="932"/>
                  <a:pt x="33" y="932"/>
                  <a:pt x="33" y="940"/>
                </a:cubicBezTo>
                <a:lnTo>
                  <a:pt x="33" y="948"/>
                </a:lnTo>
                <a:lnTo>
                  <a:pt x="17" y="940"/>
                </a:lnTo>
                <a:cubicBezTo>
                  <a:pt x="17" y="940"/>
                  <a:pt x="0" y="916"/>
                  <a:pt x="0" y="908"/>
                </a:cubicBezTo>
                <a:cubicBezTo>
                  <a:pt x="9" y="908"/>
                  <a:pt x="17" y="900"/>
                  <a:pt x="17" y="892"/>
                </a:cubicBezTo>
                <a:cubicBezTo>
                  <a:pt x="25" y="885"/>
                  <a:pt x="33" y="869"/>
                  <a:pt x="33" y="861"/>
                </a:cubicBezTo>
                <a:lnTo>
                  <a:pt x="33" y="829"/>
                </a:lnTo>
                <a:cubicBezTo>
                  <a:pt x="33" y="829"/>
                  <a:pt x="25" y="821"/>
                  <a:pt x="33" y="821"/>
                </a:cubicBezTo>
                <a:lnTo>
                  <a:pt x="42" y="821"/>
                </a:lnTo>
                <a:cubicBezTo>
                  <a:pt x="50" y="814"/>
                  <a:pt x="75" y="798"/>
                  <a:pt x="75" y="798"/>
                </a:cubicBezTo>
                <a:lnTo>
                  <a:pt x="75" y="782"/>
                </a:lnTo>
                <a:cubicBezTo>
                  <a:pt x="75" y="782"/>
                  <a:pt x="66" y="766"/>
                  <a:pt x="66" y="758"/>
                </a:cubicBezTo>
                <a:lnTo>
                  <a:pt x="66" y="750"/>
                </a:lnTo>
                <a:cubicBezTo>
                  <a:pt x="66" y="735"/>
                  <a:pt x="33" y="703"/>
                  <a:pt x="33" y="703"/>
                </a:cubicBezTo>
                <a:lnTo>
                  <a:pt x="17" y="703"/>
                </a:lnTo>
                <a:lnTo>
                  <a:pt x="17" y="664"/>
                </a:lnTo>
                <a:lnTo>
                  <a:pt x="25" y="632"/>
                </a:lnTo>
                <a:lnTo>
                  <a:pt x="17" y="577"/>
                </a:lnTo>
                <a:lnTo>
                  <a:pt x="17" y="498"/>
                </a:lnTo>
                <a:lnTo>
                  <a:pt x="33" y="466"/>
                </a:lnTo>
                <a:lnTo>
                  <a:pt x="42" y="450"/>
                </a:lnTo>
                <a:lnTo>
                  <a:pt x="50" y="474"/>
                </a:lnTo>
                <a:cubicBezTo>
                  <a:pt x="50" y="474"/>
                  <a:pt x="42" y="482"/>
                  <a:pt x="50" y="490"/>
                </a:cubicBezTo>
                <a:lnTo>
                  <a:pt x="75" y="490"/>
                </a:lnTo>
                <a:lnTo>
                  <a:pt x="83" y="498"/>
                </a:lnTo>
                <a:lnTo>
                  <a:pt x="107" y="514"/>
                </a:lnTo>
                <a:lnTo>
                  <a:pt x="124" y="529"/>
                </a:lnTo>
                <a:lnTo>
                  <a:pt x="140" y="537"/>
                </a:lnTo>
                <a:lnTo>
                  <a:pt x="157" y="537"/>
                </a:lnTo>
                <a:lnTo>
                  <a:pt x="165" y="529"/>
                </a:lnTo>
                <a:lnTo>
                  <a:pt x="165" y="521"/>
                </a:lnTo>
                <a:lnTo>
                  <a:pt x="157" y="506"/>
                </a:lnTo>
                <a:cubicBezTo>
                  <a:pt x="157" y="498"/>
                  <a:pt x="149" y="490"/>
                  <a:pt x="149" y="490"/>
                </a:cubicBezTo>
                <a:lnTo>
                  <a:pt x="173" y="474"/>
                </a:lnTo>
                <a:lnTo>
                  <a:pt x="182" y="458"/>
                </a:lnTo>
                <a:cubicBezTo>
                  <a:pt x="182" y="458"/>
                  <a:pt x="182" y="450"/>
                  <a:pt x="173" y="450"/>
                </a:cubicBezTo>
                <a:lnTo>
                  <a:pt x="149" y="450"/>
                </a:lnTo>
                <a:lnTo>
                  <a:pt x="140" y="442"/>
                </a:lnTo>
                <a:lnTo>
                  <a:pt x="132" y="427"/>
                </a:lnTo>
                <a:cubicBezTo>
                  <a:pt x="132" y="427"/>
                  <a:pt x="132" y="411"/>
                  <a:pt x="140" y="411"/>
                </a:cubicBezTo>
                <a:cubicBezTo>
                  <a:pt x="140" y="403"/>
                  <a:pt x="149" y="379"/>
                  <a:pt x="149" y="379"/>
                </a:cubicBezTo>
                <a:cubicBezTo>
                  <a:pt x="149" y="379"/>
                  <a:pt x="140" y="364"/>
                  <a:pt x="157" y="364"/>
                </a:cubicBezTo>
                <a:lnTo>
                  <a:pt x="182" y="364"/>
                </a:lnTo>
                <a:cubicBezTo>
                  <a:pt x="182" y="364"/>
                  <a:pt x="190" y="348"/>
                  <a:pt x="198" y="348"/>
                </a:cubicBezTo>
                <a:cubicBezTo>
                  <a:pt x="198" y="348"/>
                  <a:pt x="206" y="340"/>
                  <a:pt x="206" y="348"/>
                </a:cubicBezTo>
                <a:cubicBezTo>
                  <a:pt x="215" y="348"/>
                  <a:pt x="206" y="371"/>
                  <a:pt x="206" y="371"/>
                </a:cubicBezTo>
                <a:lnTo>
                  <a:pt x="190" y="387"/>
                </a:lnTo>
                <a:cubicBezTo>
                  <a:pt x="190" y="387"/>
                  <a:pt x="198" y="395"/>
                  <a:pt x="198" y="403"/>
                </a:cubicBezTo>
                <a:lnTo>
                  <a:pt x="198" y="419"/>
                </a:lnTo>
                <a:lnTo>
                  <a:pt x="182" y="442"/>
                </a:lnTo>
                <a:lnTo>
                  <a:pt x="190" y="442"/>
                </a:lnTo>
                <a:lnTo>
                  <a:pt x="190" y="458"/>
                </a:lnTo>
                <a:lnTo>
                  <a:pt x="215" y="450"/>
                </a:lnTo>
                <a:lnTo>
                  <a:pt x="206" y="442"/>
                </a:lnTo>
                <a:cubicBezTo>
                  <a:pt x="206" y="442"/>
                  <a:pt x="198" y="435"/>
                  <a:pt x="206" y="427"/>
                </a:cubicBezTo>
                <a:cubicBezTo>
                  <a:pt x="215" y="419"/>
                  <a:pt x="215" y="411"/>
                  <a:pt x="223" y="411"/>
                </a:cubicBezTo>
                <a:cubicBezTo>
                  <a:pt x="223" y="403"/>
                  <a:pt x="223" y="403"/>
                  <a:pt x="239" y="403"/>
                </a:cubicBezTo>
                <a:cubicBezTo>
                  <a:pt x="247" y="403"/>
                  <a:pt x="264" y="419"/>
                  <a:pt x="264" y="419"/>
                </a:cubicBezTo>
                <a:cubicBezTo>
                  <a:pt x="264" y="419"/>
                  <a:pt x="272" y="427"/>
                  <a:pt x="264" y="427"/>
                </a:cubicBezTo>
                <a:cubicBezTo>
                  <a:pt x="264" y="435"/>
                  <a:pt x="256" y="442"/>
                  <a:pt x="256" y="442"/>
                </a:cubicBezTo>
                <a:lnTo>
                  <a:pt x="272" y="466"/>
                </a:lnTo>
                <a:cubicBezTo>
                  <a:pt x="272" y="466"/>
                  <a:pt x="264" y="466"/>
                  <a:pt x="256" y="474"/>
                </a:cubicBezTo>
                <a:lnTo>
                  <a:pt x="256" y="482"/>
                </a:lnTo>
                <a:cubicBezTo>
                  <a:pt x="256" y="490"/>
                  <a:pt x="231" y="498"/>
                  <a:pt x="256" y="498"/>
                </a:cubicBezTo>
                <a:cubicBezTo>
                  <a:pt x="272" y="498"/>
                  <a:pt x="272" y="498"/>
                  <a:pt x="272" y="490"/>
                </a:cubicBezTo>
                <a:lnTo>
                  <a:pt x="272" y="474"/>
                </a:lnTo>
                <a:lnTo>
                  <a:pt x="297" y="474"/>
                </a:lnTo>
                <a:lnTo>
                  <a:pt x="305" y="482"/>
                </a:lnTo>
                <a:lnTo>
                  <a:pt x="305" y="498"/>
                </a:lnTo>
                <a:lnTo>
                  <a:pt x="305" y="506"/>
                </a:lnTo>
                <a:cubicBezTo>
                  <a:pt x="305" y="506"/>
                  <a:pt x="322" y="521"/>
                  <a:pt x="322" y="514"/>
                </a:cubicBezTo>
                <a:cubicBezTo>
                  <a:pt x="322" y="506"/>
                  <a:pt x="330" y="514"/>
                  <a:pt x="322" y="498"/>
                </a:cubicBezTo>
                <a:cubicBezTo>
                  <a:pt x="313" y="490"/>
                  <a:pt x="313" y="474"/>
                  <a:pt x="313" y="474"/>
                </a:cubicBezTo>
                <a:lnTo>
                  <a:pt x="313" y="458"/>
                </a:lnTo>
                <a:cubicBezTo>
                  <a:pt x="305" y="450"/>
                  <a:pt x="297" y="450"/>
                  <a:pt x="297" y="442"/>
                </a:cubicBezTo>
                <a:lnTo>
                  <a:pt x="272" y="419"/>
                </a:lnTo>
                <a:lnTo>
                  <a:pt x="272" y="371"/>
                </a:lnTo>
                <a:lnTo>
                  <a:pt x="280" y="356"/>
                </a:lnTo>
                <a:cubicBezTo>
                  <a:pt x="280" y="356"/>
                  <a:pt x="280" y="340"/>
                  <a:pt x="289" y="332"/>
                </a:cubicBezTo>
                <a:cubicBezTo>
                  <a:pt x="297" y="332"/>
                  <a:pt x="289" y="324"/>
                  <a:pt x="297" y="324"/>
                </a:cubicBezTo>
                <a:cubicBezTo>
                  <a:pt x="313" y="316"/>
                  <a:pt x="305" y="316"/>
                  <a:pt x="322" y="316"/>
                </a:cubicBezTo>
                <a:cubicBezTo>
                  <a:pt x="330" y="316"/>
                  <a:pt x="346" y="324"/>
                  <a:pt x="355" y="324"/>
                </a:cubicBezTo>
                <a:lnTo>
                  <a:pt x="379" y="332"/>
                </a:lnTo>
                <a:lnTo>
                  <a:pt x="379" y="324"/>
                </a:lnTo>
                <a:cubicBezTo>
                  <a:pt x="387" y="324"/>
                  <a:pt x="387" y="308"/>
                  <a:pt x="387" y="316"/>
                </a:cubicBezTo>
                <a:cubicBezTo>
                  <a:pt x="396" y="316"/>
                  <a:pt x="396" y="324"/>
                  <a:pt x="404" y="316"/>
                </a:cubicBezTo>
                <a:cubicBezTo>
                  <a:pt x="412" y="308"/>
                  <a:pt x="412" y="300"/>
                  <a:pt x="412" y="300"/>
                </a:cubicBezTo>
                <a:cubicBezTo>
                  <a:pt x="412" y="300"/>
                  <a:pt x="420" y="300"/>
                  <a:pt x="429" y="292"/>
                </a:cubicBezTo>
                <a:cubicBezTo>
                  <a:pt x="429" y="292"/>
                  <a:pt x="420" y="285"/>
                  <a:pt x="412" y="285"/>
                </a:cubicBezTo>
                <a:cubicBezTo>
                  <a:pt x="412" y="285"/>
                  <a:pt x="396" y="285"/>
                  <a:pt x="387" y="292"/>
                </a:cubicBezTo>
                <a:lnTo>
                  <a:pt x="371" y="292"/>
                </a:lnTo>
                <a:cubicBezTo>
                  <a:pt x="363" y="300"/>
                  <a:pt x="363" y="300"/>
                  <a:pt x="346" y="300"/>
                </a:cubicBezTo>
                <a:cubicBezTo>
                  <a:pt x="330" y="300"/>
                  <a:pt x="330" y="300"/>
                  <a:pt x="322" y="308"/>
                </a:cubicBezTo>
                <a:cubicBezTo>
                  <a:pt x="313" y="316"/>
                  <a:pt x="305" y="316"/>
                  <a:pt x="305" y="316"/>
                </a:cubicBezTo>
                <a:lnTo>
                  <a:pt x="297" y="316"/>
                </a:lnTo>
                <a:lnTo>
                  <a:pt x="280" y="316"/>
                </a:lnTo>
                <a:lnTo>
                  <a:pt x="272" y="308"/>
                </a:lnTo>
                <a:lnTo>
                  <a:pt x="264" y="308"/>
                </a:lnTo>
                <a:cubicBezTo>
                  <a:pt x="256" y="308"/>
                  <a:pt x="247" y="316"/>
                  <a:pt x="247" y="316"/>
                </a:cubicBezTo>
                <a:lnTo>
                  <a:pt x="231" y="316"/>
                </a:lnTo>
                <a:lnTo>
                  <a:pt x="215" y="316"/>
                </a:lnTo>
                <a:cubicBezTo>
                  <a:pt x="215" y="324"/>
                  <a:pt x="198" y="324"/>
                  <a:pt x="198" y="324"/>
                </a:cubicBezTo>
                <a:lnTo>
                  <a:pt x="190" y="324"/>
                </a:lnTo>
                <a:cubicBezTo>
                  <a:pt x="190" y="332"/>
                  <a:pt x="198" y="332"/>
                  <a:pt x="190" y="340"/>
                </a:cubicBezTo>
                <a:lnTo>
                  <a:pt x="165" y="340"/>
                </a:lnTo>
                <a:lnTo>
                  <a:pt x="157" y="348"/>
                </a:lnTo>
                <a:lnTo>
                  <a:pt x="149" y="364"/>
                </a:lnTo>
                <a:lnTo>
                  <a:pt x="140" y="364"/>
                </a:lnTo>
                <a:lnTo>
                  <a:pt x="132" y="387"/>
                </a:lnTo>
                <a:lnTo>
                  <a:pt x="132" y="395"/>
                </a:lnTo>
                <a:lnTo>
                  <a:pt x="116" y="411"/>
                </a:lnTo>
                <a:lnTo>
                  <a:pt x="107" y="419"/>
                </a:lnTo>
                <a:lnTo>
                  <a:pt x="116" y="427"/>
                </a:lnTo>
                <a:lnTo>
                  <a:pt x="116" y="435"/>
                </a:lnTo>
                <a:lnTo>
                  <a:pt x="107" y="442"/>
                </a:lnTo>
                <a:lnTo>
                  <a:pt x="116" y="458"/>
                </a:lnTo>
                <a:lnTo>
                  <a:pt x="132" y="450"/>
                </a:lnTo>
                <a:lnTo>
                  <a:pt x="140" y="466"/>
                </a:lnTo>
                <a:lnTo>
                  <a:pt x="132" y="482"/>
                </a:lnTo>
                <a:cubicBezTo>
                  <a:pt x="132" y="482"/>
                  <a:pt x="124" y="490"/>
                  <a:pt x="116" y="490"/>
                </a:cubicBezTo>
                <a:lnTo>
                  <a:pt x="107" y="482"/>
                </a:lnTo>
                <a:lnTo>
                  <a:pt x="99" y="466"/>
                </a:lnTo>
                <a:lnTo>
                  <a:pt x="99" y="450"/>
                </a:lnTo>
                <a:lnTo>
                  <a:pt x="75" y="458"/>
                </a:lnTo>
                <a:lnTo>
                  <a:pt x="75" y="450"/>
                </a:lnTo>
                <a:lnTo>
                  <a:pt x="66" y="442"/>
                </a:lnTo>
                <a:cubicBezTo>
                  <a:pt x="66" y="435"/>
                  <a:pt x="58" y="427"/>
                  <a:pt x="58" y="427"/>
                </a:cubicBezTo>
                <a:lnTo>
                  <a:pt x="42" y="403"/>
                </a:lnTo>
                <a:lnTo>
                  <a:pt x="50" y="403"/>
                </a:lnTo>
                <a:cubicBezTo>
                  <a:pt x="50" y="395"/>
                  <a:pt x="50" y="395"/>
                  <a:pt x="58" y="387"/>
                </a:cubicBezTo>
                <a:cubicBezTo>
                  <a:pt x="58" y="379"/>
                  <a:pt x="75" y="364"/>
                  <a:pt x="75" y="364"/>
                </a:cubicBezTo>
                <a:lnTo>
                  <a:pt x="83" y="340"/>
                </a:lnTo>
                <a:lnTo>
                  <a:pt x="99" y="324"/>
                </a:lnTo>
                <a:lnTo>
                  <a:pt x="107" y="308"/>
                </a:lnTo>
                <a:lnTo>
                  <a:pt x="124" y="285"/>
                </a:lnTo>
                <a:lnTo>
                  <a:pt x="140" y="269"/>
                </a:lnTo>
                <a:lnTo>
                  <a:pt x="165" y="269"/>
                </a:lnTo>
                <a:lnTo>
                  <a:pt x="182" y="277"/>
                </a:lnTo>
                <a:cubicBezTo>
                  <a:pt x="190" y="269"/>
                  <a:pt x="198" y="261"/>
                  <a:pt x="198" y="261"/>
                </a:cubicBezTo>
                <a:lnTo>
                  <a:pt x="231" y="253"/>
                </a:lnTo>
                <a:lnTo>
                  <a:pt x="239" y="253"/>
                </a:lnTo>
                <a:lnTo>
                  <a:pt x="264" y="261"/>
                </a:lnTo>
                <a:lnTo>
                  <a:pt x="313" y="261"/>
                </a:ln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58" name="Freeform 50">
            <a:extLst>
              <a:ext uri="{FF2B5EF4-FFF2-40B4-BE49-F238E27FC236}">
                <a16:creationId xmlns:a16="http://schemas.microsoft.com/office/drawing/2014/main" id="{F63901C7-A56F-CD34-30DB-BA0F0C68E8B1}"/>
              </a:ext>
            </a:extLst>
          </p:cNvPr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7168823" y="2698713"/>
            <a:ext cx="34413" cy="23545"/>
          </a:xfrm>
          <a:custGeom>
            <a:avLst/>
            <a:gdLst>
              <a:gd name="T0" fmla="*/ 0 w 83"/>
              <a:gd name="T1" fmla="*/ 32 h 56"/>
              <a:gd name="T2" fmla="*/ 0 w 83"/>
              <a:gd name="T3" fmla="*/ 40 h 56"/>
              <a:gd name="T4" fmla="*/ 17 w 83"/>
              <a:gd name="T5" fmla="*/ 40 h 56"/>
              <a:gd name="T6" fmla="*/ 33 w 83"/>
              <a:gd name="T7" fmla="*/ 47 h 56"/>
              <a:gd name="T8" fmla="*/ 41 w 83"/>
              <a:gd name="T9" fmla="*/ 47 h 56"/>
              <a:gd name="T10" fmla="*/ 50 w 83"/>
              <a:gd name="T11" fmla="*/ 32 h 56"/>
              <a:gd name="T12" fmla="*/ 58 w 83"/>
              <a:gd name="T13" fmla="*/ 24 h 56"/>
              <a:gd name="T14" fmla="*/ 82 w 83"/>
              <a:gd name="T15" fmla="*/ 8 h 56"/>
              <a:gd name="T16" fmla="*/ 66 w 83"/>
              <a:gd name="T17" fmla="*/ 0 h 56"/>
              <a:gd name="T18" fmla="*/ 41 w 83"/>
              <a:gd name="T19" fmla="*/ 8 h 56"/>
              <a:gd name="T20" fmla="*/ 17 w 83"/>
              <a:gd name="T21" fmla="*/ 16 h 56"/>
              <a:gd name="T22" fmla="*/ 0 w 83"/>
              <a:gd name="T23" fmla="*/ 32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3" h="56">
                <a:moveTo>
                  <a:pt x="0" y="32"/>
                </a:moveTo>
                <a:lnTo>
                  <a:pt x="0" y="40"/>
                </a:lnTo>
                <a:lnTo>
                  <a:pt x="17" y="40"/>
                </a:lnTo>
                <a:lnTo>
                  <a:pt x="33" y="47"/>
                </a:lnTo>
                <a:cubicBezTo>
                  <a:pt x="33" y="55"/>
                  <a:pt x="41" y="47"/>
                  <a:pt x="41" y="47"/>
                </a:cubicBezTo>
                <a:cubicBezTo>
                  <a:pt x="50" y="47"/>
                  <a:pt x="50" y="40"/>
                  <a:pt x="50" y="32"/>
                </a:cubicBezTo>
                <a:lnTo>
                  <a:pt x="58" y="24"/>
                </a:lnTo>
                <a:lnTo>
                  <a:pt x="82" y="8"/>
                </a:lnTo>
                <a:cubicBezTo>
                  <a:pt x="82" y="0"/>
                  <a:pt x="66" y="0"/>
                  <a:pt x="66" y="0"/>
                </a:cubicBezTo>
                <a:lnTo>
                  <a:pt x="41" y="8"/>
                </a:lnTo>
                <a:lnTo>
                  <a:pt x="17" y="16"/>
                </a:lnTo>
                <a:lnTo>
                  <a:pt x="0" y="3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59" name="Freeform 51">
            <a:extLst>
              <a:ext uri="{FF2B5EF4-FFF2-40B4-BE49-F238E27FC236}">
                <a16:creationId xmlns:a16="http://schemas.microsoft.com/office/drawing/2014/main" id="{57FD9E80-FBA1-7454-8E5C-EA8DC75D94C3}"/>
              </a:ext>
            </a:extLst>
          </p:cNvPr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7058338" y="3097181"/>
            <a:ext cx="41659" cy="36224"/>
          </a:xfrm>
          <a:custGeom>
            <a:avLst/>
            <a:gdLst>
              <a:gd name="T0" fmla="*/ 0 w 100"/>
              <a:gd name="T1" fmla="*/ 24 h 88"/>
              <a:gd name="T2" fmla="*/ 17 w 100"/>
              <a:gd name="T3" fmla="*/ 32 h 88"/>
              <a:gd name="T4" fmla="*/ 25 w 100"/>
              <a:gd name="T5" fmla="*/ 40 h 88"/>
              <a:gd name="T6" fmla="*/ 41 w 100"/>
              <a:gd name="T7" fmla="*/ 48 h 88"/>
              <a:gd name="T8" fmla="*/ 25 w 100"/>
              <a:gd name="T9" fmla="*/ 63 h 88"/>
              <a:gd name="T10" fmla="*/ 41 w 100"/>
              <a:gd name="T11" fmla="*/ 71 h 88"/>
              <a:gd name="T12" fmla="*/ 50 w 100"/>
              <a:gd name="T13" fmla="*/ 71 h 88"/>
              <a:gd name="T14" fmla="*/ 66 w 100"/>
              <a:gd name="T15" fmla="*/ 79 h 88"/>
              <a:gd name="T16" fmla="*/ 91 w 100"/>
              <a:gd name="T17" fmla="*/ 87 h 88"/>
              <a:gd name="T18" fmla="*/ 99 w 100"/>
              <a:gd name="T19" fmla="*/ 79 h 88"/>
              <a:gd name="T20" fmla="*/ 99 w 100"/>
              <a:gd name="T21" fmla="*/ 63 h 88"/>
              <a:gd name="T22" fmla="*/ 91 w 100"/>
              <a:gd name="T23" fmla="*/ 48 h 88"/>
              <a:gd name="T24" fmla="*/ 83 w 100"/>
              <a:gd name="T25" fmla="*/ 32 h 88"/>
              <a:gd name="T26" fmla="*/ 50 w 100"/>
              <a:gd name="T27" fmla="*/ 24 h 88"/>
              <a:gd name="T28" fmla="*/ 33 w 100"/>
              <a:gd name="T29" fmla="*/ 8 h 88"/>
              <a:gd name="T30" fmla="*/ 9 w 100"/>
              <a:gd name="T31" fmla="*/ 0 h 88"/>
              <a:gd name="T32" fmla="*/ 0 w 100"/>
              <a:gd name="T33" fmla="*/ 0 h 88"/>
              <a:gd name="T34" fmla="*/ 0 w 100"/>
              <a:gd name="T35" fmla="*/ 24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0" h="88">
                <a:moveTo>
                  <a:pt x="0" y="24"/>
                </a:moveTo>
                <a:lnTo>
                  <a:pt x="17" y="32"/>
                </a:lnTo>
                <a:lnTo>
                  <a:pt x="25" y="40"/>
                </a:lnTo>
                <a:lnTo>
                  <a:pt x="41" y="48"/>
                </a:lnTo>
                <a:lnTo>
                  <a:pt x="25" y="63"/>
                </a:lnTo>
                <a:cubicBezTo>
                  <a:pt x="25" y="63"/>
                  <a:pt x="33" y="79"/>
                  <a:pt x="41" y="71"/>
                </a:cubicBezTo>
                <a:lnTo>
                  <a:pt x="50" y="71"/>
                </a:lnTo>
                <a:lnTo>
                  <a:pt x="66" y="79"/>
                </a:lnTo>
                <a:cubicBezTo>
                  <a:pt x="74" y="87"/>
                  <a:pt x="83" y="87"/>
                  <a:pt x="91" y="87"/>
                </a:cubicBezTo>
                <a:cubicBezTo>
                  <a:pt x="99" y="87"/>
                  <a:pt x="99" y="79"/>
                  <a:pt x="99" y="79"/>
                </a:cubicBezTo>
                <a:lnTo>
                  <a:pt x="99" y="63"/>
                </a:lnTo>
                <a:lnTo>
                  <a:pt x="91" y="48"/>
                </a:lnTo>
                <a:lnTo>
                  <a:pt x="83" y="32"/>
                </a:lnTo>
                <a:lnTo>
                  <a:pt x="50" y="24"/>
                </a:lnTo>
                <a:lnTo>
                  <a:pt x="33" y="8"/>
                </a:lnTo>
                <a:lnTo>
                  <a:pt x="9" y="0"/>
                </a:lnTo>
                <a:lnTo>
                  <a:pt x="0" y="0"/>
                </a:lnTo>
                <a:lnTo>
                  <a:pt x="0" y="24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60" name="Freeform 52">
            <a:extLst>
              <a:ext uri="{FF2B5EF4-FFF2-40B4-BE49-F238E27FC236}">
                <a16:creationId xmlns:a16="http://schemas.microsoft.com/office/drawing/2014/main" id="{328E961B-7068-7857-CB0F-7E33B96E5011}"/>
              </a:ext>
            </a:extLst>
          </p:cNvPr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7112675" y="3117104"/>
            <a:ext cx="30791" cy="23546"/>
          </a:xfrm>
          <a:custGeom>
            <a:avLst/>
            <a:gdLst>
              <a:gd name="T0" fmla="*/ 0 w 75"/>
              <a:gd name="T1" fmla="*/ 0 h 56"/>
              <a:gd name="T2" fmla="*/ 8 w 75"/>
              <a:gd name="T3" fmla="*/ 23 h 56"/>
              <a:gd name="T4" fmla="*/ 25 w 75"/>
              <a:gd name="T5" fmla="*/ 31 h 56"/>
              <a:gd name="T6" fmla="*/ 41 w 75"/>
              <a:gd name="T7" fmla="*/ 47 h 56"/>
              <a:gd name="T8" fmla="*/ 49 w 75"/>
              <a:gd name="T9" fmla="*/ 55 h 56"/>
              <a:gd name="T10" fmla="*/ 66 w 75"/>
              <a:gd name="T11" fmla="*/ 47 h 56"/>
              <a:gd name="T12" fmla="*/ 74 w 75"/>
              <a:gd name="T13" fmla="*/ 31 h 56"/>
              <a:gd name="T14" fmla="*/ 58 w 75"/>
              <a:gd name="T15" fmla="*/ 31 h 56"/>
              <a:gd name="T16" fmla="*/ 41 w 75"/>
              <a:gd name="T17" fmla="*/ 15 h 56"/>
              <a:gd name="T18" fmla="*/ 33 w 75"/>
              <a:gd name="T19" fmla="*/ 15 h 56"/>
              <a:gd name="T20" fmla="*/ 8 w 75"/>
              <a:gd name="T21" fmla="*/ 0 h 56"/>
              <a:gd name="T22" fmla="*/ 0 w 75"/>
              <a:gd name="T23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5" h="56">
                <a:moveTo>
                  <a:pt x="0" y="0"/>
                </a:moveTo>
                <a:lnTo>
                  <a:pt x="8" y="23"/>
                </a:lnTo>
                <a:cubicBezTo>
                  <a:pt x="17" y="23"/>
                  <a:pt x="25" y="31"/>
                  <a:pt x="25" y="31"/>
                </a:cubicBezTo>
                <a:lnTo>
                  <a:pt x="41" y="47"/>
                </a:lnTo>
                <a:cubicBezTo>
                  <a:pt x="41" y="47"/>
                  <a:pt x="41" y="55"/>
                  <a:pt x="49" y="55"/>
                </a:cubicBezTo>
                <a:lnTo>
                  <a:pt x="66" y="47"/>
                </a:lnTo>
                <a:lnTo>
                  <a:pt x="74" y="31"/>
                </a:lnTo>
                <a:lnTo>
                  <a:pt x="58" y="31"/>
                </a:lnTo>
                <a:cubicBezTo>
                  <a:pt x="49" y="31"/>
                  <a:pt x="41" y="15"/>
                  <a:pt x="41" y="15"/>
                </a:cubicBezTo>
                <a:lnTo>
                  <a:pt x="33" y="15"/>
                </a:lnTo>
                <a:cubicBezTo>
                  <a:pt x="25" y="15"/>
                  <a:pt x="8" y="0"/>
                  <a:pt x="8" y="0"/>
                </a:cubicBez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61" name="Freeform 53">
            <a:extLst>
              <a:ext uri="{FF2B5EF4-FFF2-40B4-BE49-F238E27FC236}">
                <a16:creationId xmlns:a16="http://schemas.microsoft.com/office/drawing/2014/main" id="{7BB179F1-DBDC-3875-12DD-C73F779FF57A}"/>
              </a:ext>
            </a:extLst>
          </p:cNvPr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7141654" y="3100804"/>
            <a:ext cx="23546" cy="23545"/>
          </a:xfrm>
          <a:custGeom>
            <a:avLst/>
            <a:gdLst>
              <a:gd name="T0" fmla="*/ 0 w 59"/>
              <a:gd name="T1" fmla="*/ 24 h 56"/>
              <a:gd name="T2" fmla="*/ 8 w 59"/>
              <a:gd name="T3" fmla="*/ 32 h 56"/>
              <a:gd name="T4" fmla="*/ 25 w 59"/>
              <a:gd name="T5" fmla="*/ 55 h 56"/>
              <a:gd name="T6" fmla="*/ 50 w 59"/>
              <a:gd name="T7" fmla="*/ 32 h 56"/>
              <a:gd name="T8" fmla="*/ 50 w 59"/>
              <a:gd name="T9" fmla="*/ 16 h 56"/>
              <a:gd name="T10" fmla="*/ 58 w 59"/>
              <a:gd name="T11" fmla="*/ 0 h 56"/>
              <a:gd name="T12" fmla="*/ 33 w 59"/>
              <a:gd name="T13" fmla="*/ 8 h 56"/>
              <a:gd name="T14" fmla="*/ 17 w 59"/>
              <a:gd name="T15" fmla="*/ 24 h 56"/>
              <a:gd name="T16" fmla="*/ 0 w 59"/>
              <a:gd name="T17" fmla="*/ 2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9" h="56">
                <a:moveTo>
                  <a:pt x="0" y="24"/>
                </a:moveTo>
                <a:lnTo>
                  <a:pt x="8" y="32"/>
                </a:lnTo>
                <a:cubicBezTo>
                  <a:pt x="8" y="32"/>
                  <a:pt x="17" y="55"/>
                  <a:pt x="25" y="55"/>
                </a:cubicBezTo>
                <a:lnTo>
                  <a:pt x="50" y="32"/>
                </a:lnTo>
                <a:lnTo>
                  <a:pt x="50" y="16"/>
                </a:lnTo>
                <a:lnTo>
                  <a:pt x="58" y="0"/>
                </a:lnTo>
                <a:lnTo>
                  <a:pt x="33" y="8"/>
                </a:lnTo>
                <a:lnTo>
                  <a:pt x="17" y="24"/>
                </a:lnTo>
                <a:lnTo>
                  <a:pt x="0" y="24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62" name="Freeform 54">
            <a:extLst>
              <a:ext uri="{FF2B5EF4-FFF2-40B4-BE49-F238E27FC236}">
                <a16:creationId xmlns:a16="http://schemas.microsoft.com/office/drawing/2014/main" id="{949015DD-D290-1103-9A33-A99BCB9F8D69}"/>
              </a:ext>
            </a:extLst>
          </p:cNvPr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7159766" y="3080880"/>
            <a:ext cx="30791" cy="77883"/>
          </a:xfrm>
          <a:custGeom>
            <a:avLst/>
            <a:gdLst>
              <a:gd name="T0" fmla="*/ 0 w 76"/>
              <a:gd name="T1" fmla="*/ 142 h 190"/>
              <a:gd name="T2" fmla="*/ 9 w 76"/>
              <a:gd name="T3" fmla="*/ 166 h 190"/>
              <a:gd name="T4" fmla="*/ 17 w 76"/>
              <a:gd name="T5" fmla="*/ 181 h 190"/>
              <a:gd name="T6" fmla="*/ 33 w 76"/>
              <a:gd name="T7" fmla="*/ 181 h 190"/>
              <a:gd name="T8" fmla="*/ 33 w 76"/>
              <a:gd name="T9" fmla="*/ 158 h 190"/>
              <a:gd name="T10" fmla="*/ 42 w 76"/>
              <a:gd name="T11" fmla="*/ 126 h 190"/>
              <a:gd name="T12" fmla="*/ 50 w 76"/>
              <a:gd name="T13" fmla="*/ 102 h 190"/>
              <a:gd name="T14" fmla="*/ 66 w 76"/>
              <a:gd name="T15" fmla="*/ 71 h 190"/>
              <a:gd name="T16" fmla="*/ 75 w 76"/>
              <a:gd name="T17" fmla="*/ 47 h 190"/>
              <a:gd name="T18" fmla="*/ 75 w 76"/>
              <a:gd name="T19" fmla="*/ 23 h 190"/>
              <a:gd name="T20" fmla="*/ 66 w 76"/>
              <a:gd name="T21" fmla="*/ 0 h 190"/>
              <a:gd name="T22" fmla="*/ 58 w 76"/>
              <a:gd name="T23" fmla="*/ 16 h 190"/>
              <a:gd name="T24" fmla="*/ 58 w 76"/>
              <a:gd name="T25" fmla="*/ 31 h 190"/>
              <a:gd name="T26" fmla="*/ 42 w 76"/>
              <a:gd name="T27" fmla="*/ 63 h 190"/>
              <a:gd name="T28" fmla="*/ 33 w 76"/>
              <a:gd name="T29" fmla="*/ 79 h 190"/>
              <a:gd name="T30" fmla="*/ 17 w 76"/>
              <a:gd name="T31" fmla="*/ 94 h 190"/>
              <a:gd name="T32" fmla="*/ 17 w 76"/>
              <a:gd name="T33" fmla="*/ 102 h 190"/>
              <a:gd name="T34" fmla="*/ 17 w 76"/>
              <a:gd name="T35" fmla="*/ 118 h 190"/>
              <a:gd name="T36" fmla="*/ 9 w 76"/>
              <a:gd name="T37" fmla="*/ 126 h 190"/>
              <a:gd name="T38" fmla="*/ 9 w 76"/>
              <a:gd name="T39" fmla="*/ 134 h 190"/>
              <a:gd name="T40" fmla="*/ 0 w 76"/>
              <a:gd name="T41" fmla="*/ 142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76" h="190">
                <a:moveTo>
                  <a:pt x="0" y="142"/>
                </a:moveTo>
                <a:lnTo>
                  <a:pt x="9" y="166"/>
                </a:lnTo>
                <a:lnTo>
                  <a:pt x="17" y="181"/>
                </a:lnTo>
                <a:cubicBezTo>
                  <a:pt x="17" y="181"/>
                  <a:pt x="33" y="189"/>
                  <a:pt x="33" y="181"/>
                </a:cubicBezTo>
                <a:cubicBezTo>
                  <a:pt x="33" y="173"/>
                  <a:pt x="25" y="166"/>
                  <a:pt x="33" y="158"/>
                </a:cubicBezTo>
                <a:cubicBezTo>
                  <a:pt x="33" y="150"/>
                  <a:pt x="42" y="134"/>
                  <a:pt x="42" y="126"/>
                </a:cubicBezTo>
                <a:cubicBezTo>
                  <a:pt x="42" y="118"/>
                  <a:pt x="50" y="110"/>
                  <a:pt x="50" y="102"/>
                </a:cubicBezTo>
                <a:cubicBezTo>
                  <a:pt x="58" y="94"/>
                  <a:pt x="66" y="79"/>
                  <a:pt x="66" y="71"/>
                </a:cubicBezTo>
                <a:cubicBezTo>
                  <a:pt x="66" y="71"/>
                  <a:pt x="75" y="55"/>
                  <a:pt x="75" y="47"/>
                </a:cubicBezTo>
                <a:lnTo>
                  <a:pt x="75" y="23"/>
                </a:lnTo>
                <a:lnTo>
                  <a:pt x="66" y="0"/>
                </a:lnTo>
                <a:lnTo>
                  <a:pt x="58" y="16"/>
                </a:lnTo>
                <a:lnTo>
                  <a:pt x="58" y="31"/>
                </a:lnTo>
                <a:lnTo>
                  <a:pt x="42" y="63"/>
                </a:lnTo>
                <a:lnTo>
                  <a:pt x="33" y="79"/>
                </a:lnTo>
                <a:lnTo>
                  <a:pt x="17" y="94"/>
                </a:lnTo>
                <a:lnTo>
                  <a:pt x="17" y="102"/>
                </a:lnTo>
                <a:lnTo>
                  <a:pt x="17" y="118"/>
                </a:lnTo>
                <a:lnTo>
                  <a:pt x="9" y="126"/>
                </a:lnTo>
                <a:lnTo>
                  <a:pt x="9" y="134"/>
                </a:lnTo>
                <a:lnTo>
                  <a:pt x="0" y="14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63" name="Freeform 55">
            <a:extLst>
              <a:ext uri="{FF2B5EF4-FFF2-40B4-BE49-F238E27FC236}">
                <a16:creationId xmlns:a16="http://schemas.microsoft.com/office/drawing/2014/main" id="{0389C703-9A24-C558-5A43-44F48AF0E92E}"/>
              </a:ext>
            </a:extLst>
          </p:cNvPr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7139843" y="2935982"/>
            <a:ext cx="18112" cy="43469"/>
          </a:xfrm>
          <a:custGeom>
            <a:avLst/>
            <a:gdLst>
              <a:gd name="T0" fmla="*/ 8 w 42"/>
              <a:gd name="T1" fmla="*/ 103 h 104"/>
              <a:gd name="T2" fmla="*/ 25 w 42"/>
              <a:gd name="T3" fmla="*/ 103 h 104"/>
              <a:gd name="T4" fmla="*/ 33 w 42"/>
              <a:gd name="T5" fmla="*/ 87 h 104"/>
              <a:gd name="T6" fmla="*/ 41 w 42"/>
              <a:gd name="T7" fmla="*/ 72 h 104"/>
              <a:gd name="T8" fmla="*/ 41 w 42"/>
              <a:gd name="T9" fmla="*/ 48 h 104"/>
              <a:gd name="T10" fmla="*/ 33 w 42"/>
              <a:gd name="T11" fmla="*/ 40 h 104"/>
              <a:gd name="T12" fmla="*/ 25 w 42"/>
              <a:gd name="T13" fmla="*/ 24 h 104"/>
              <a:gd name="T14" fmla="*/ 16 w 42"/>
              <a:gd name="T15" fmla="*/ 0 h 104"/>
              <a:gd name="T16" fmla="*/ 0 w 42"/>
              <a:gd name="T17" fmla="*/ 0 h 104"/>
              <a:gd name="T18" fmla="*/ 0 w 42"/>
              <a:gd name="T19" fmla="*/ 16 h 104"/>
              <a:gd name="T20" fmla="*/ 8 w 42"/>
              <a:gd name="T21" fmla="*/ 32 h 104"/>
              <a:gd name="T22" fmla="*/ 16 w 42"/>
              <a:gd name="T23" fmla="*/ 40 h 104"/>
              <a:gd name="T24" fmla="*/ 16 w 42"/>
              <a:gd name="T25" fmla="*/ 48 h 104"/>
              <a:gd name="T26" fmla="*/ 8 w 42"/>
              <a:gd name="T27" fmla="*/ 56 h 104"/>
              <a:gd name="T28" fmla="*/ 0 w 42"/>
              <a:gd name="T29" fmla="*/ 72 h 104"/>
              <a:gd name="T30" fmla="*/ 8 w 42"/>
              <a:gd name="T31" fmla="*/ 87 h 104"/>
              <a:gd name="T32" fmla="*/ 8 w 42"/>
              <a:gd name="T33" fmla="*/ 103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2" h="104">
                <a:moveTo>
                  <a:pt x="8" y="103"/>
                </a:moveTo>
                <a:lnTo>
                  <a:pt x="25" y="103"/>
                </a:lnTo>
                <a:lnTo>
                  <a:pt x="33" y="87"/>
                </a:lnTo>
                <a:cubicBezTo>
                  <a:pt x="33" y="87"/>
                  <a:pt x="41" y="79"/>
                  <a:pt x="41" y="72"/>
                </a:cubicBezTo>
                <a:lnTo>
                  <a:pt x="41" y="48"/>
                </a:lnTo>
                <a:lnTo>
                  <a:pt x="33" y="40"/>
                </a:lnTo>
                <a:lnTo>
                  <a:pt x="25" y="24"/>
                </a:lnTo>
                <a:lnTo>
                  <a:pt x="16" y="0"/>
                </a:lnTo>
                <a:lnTo>
                  <a:pt x="0" y="0"/>
                </a:lnTo>
                <a:lnTo>
                  <a:pt x="0" y="16"/>
                </a:lnTo>
                <a:cubicBezTo>
                  <a:pt x="0" y="24"/>
                  <a:pt x="8" y="32"/>
                  <a:pt x="8" y="32"/>
                </a:cubicBezTo>
                <a:lnTo>
                  <a:pt x="16" y="40"/>
                </a:lnTo>
                <a:lnTo>
                  <a:pt x="16" y="48"/>
                </a:lnTo>
                <a:lnTo>
                  <a:pt x="8" y="56"/>
                </a:lnTo>
                <a:lnTo>
                  <a:pt x="0" y="72"/>
                </a:lnTo>
                <a:lnTo>
                  <a:pt x="8" y="87"/>
                </a:lnTo>
                <a:lnTo>
                  <a:pt x="8" y="103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64" name="Freeform 56">
            <a:extLst>
              <a:ext uri="{FF2B5EF4-FFF2-40B4-BE49-F238E27FC236}">
                <a16:creationId xmlns:a16="http://schemas.microsoft.com/office/drawing/2014/main" id="{8B3CF6F1-2CCE-295D-0D25-843078CF1AD9}"/>
              </a:ext>
            </a:extLst>
          </p:cNvPr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7058338" y="2990319"/>
            <a:ext cx="128597" cy="117730"/>
          </a:xfrm>
          <a:custGeom>
            <a:avLst/>
            <a:gdLst>
              <a:gd name="T0" fmla="*/ 223 w 314"/>
              <a:gd name="T1" fmla="*/ 79 h 285"/>
              <a:gd name="T2" fmla="*/ 206 w 314"/>
              <a:gd name="T3" fmla="*/ 71 h 285"/>
              <a:gd name="T4" fmla="*/ 190 w 314"/>
              <a:gd name="T5" fmla="*/ 47 h 285"/>
              <a:gd name="T6" fmla="*/ 165 w 314"/>
              <a:gd name="T7" fmla="*/ 39 h 285"/>
              <a:gd name="T8" fmla="*/ 157 w 314"/>
              <a:gd name="T9" fmla="*/ 15 h 285"/>
              <a:gd name="T10" fmla="*/ 149 w 314"/>
              <a:gd name="T11" fmla="*/ 15 h 285"/>
              <a:gd name="T12" fmla="*/ 140 w 314"/>
              <a:gd name="T13" fmla="*/ 39 h 285"/>
              <a:gd name="T14" fmla="*/ 124 w 314"/>
              <a:gd name="T15" fmla="*/ 39 h 285"/>
              <a:gd name="T16" fmla="*/ 107 w 314"/>
              <a:gd name="T17" fmla="*/ 55 h 285"/>
              <a:gd name="T18" fmla="*/ 74 w 314"/>
              <a:gd name="T19" fmla="*/ 63 h 285"/>
              <a:gd name="T20" fmla="*/ 66 w 314"/>
              <a:gd name="T21" fmla="*/ 71 h 285"/>
              <a:gd name="T22" fmla="*/ 17 w 314"/>
              <a:gd name="T23" fmla="*/ 63 h 285"/>
              <a:gd name="T24" fmla="*/ 0 w 314"/>
              <a:gd name="T25" fmla="*/ 79 h 285"/>
              <a:gd name="T26" fmla="*/ 0 w 314"/>
              <a:gd name="T27" fmla="*/ 87 h 285"/>
              <a:gd name="T28" fmla="*/ 9 w 314"/>
              <a:gd name="T29" fmla="*/ 102 h 285"/>
              <a:gd name="T30" fmla="*/ 17 w 314"/>
              <a:gd name="T31" fmla="*/ 110 h 285"/>
              <a:gd name="T32" fmla="*/ 25 w 314"/>
              <a:gd name="T33" fmla="*/ 110 h 285"/>
              <a:gd name="T34" fmla="*/ 25 w 314"/>
              <a:gd name="T35" fmla="*/ 126 h 285"/>
              <a:gd name="T36" fmla="*/ 33 w 314"/>
              <a:gd name="T37" fmla="*/ 142 h 285"/>
              <a:gd name="T38" fmla="*/ 50 w 314"/>
              <a:gd name="T39" fmla="*/ 165 h 285"/>
              <a:gd name="T40" fmla="*/ 50 w 314"/>
              <a:gd name="T41" fmla="*/ 189 h 285"/>
              <a:gd name="T42" fmla="*/ 74 w 314"/>
              <a:gd name="T43" fmla="*/ 213 h 285"/>
              <a:gd name="T44" fmla="*/ 91 w 314"/>
              <a:gd name="T45" fmla="*/ 221 h 285"/>
              <a:gd name="T46" fmla="*/ 107 w 314"/>
              <a:gd name="T47" fmla="*/ 229 h 285"/>
              <a:gd name="T48" fmla="*/ 107 w 314"/>
              <a:gd name="T49" fmla="*/ 237 h 285"/>
              <a:gd name="T50" fmla="*/ 107 w 314"/>
              <a:gd name="T51" fmla="*/ 252 h 285"/>
              <a:gd name="T52" fmla="*/ 116 w 314"/>
              <a:gd name="T53" fmla="*/ 268 h 285"/>
              <a:gd name="T54" fmla="*/ 124 w 314"/>
              <a:gd name="T55" fmla="*/ 260 h 285"/>
              <a:gd name="T56" fmla="*/ 132 w 314"/>
              <a:gd name="T57" fmla="*/ 252 h 285"/>
              <a:gd name="T58" fmla="*/ 173 w 314"/>
              <a:gd name="T59" fmla="*/ 268 h 285"/>
              <a:gd name="T60" fmla="*/ 214 w 314"/>
              <a:gd name="T61" fmla="*/ 284 h 285"/>
              <a:gd name="T62" fmla="*/ 231 w 314"/>
              <a:gd name="T63" fmla="*/ 268 h 285"/>
              <a:gd name="T64" fmla="*/ 264 w 314"/>
              <a:gd name="T65" fmla="*/ 260 h 285"/>
              <a:gd name="T66" fmla="*/ 272 w 314"/>
              <a:gd name="T67" fmla="*/ 252 h 285"/>
              <a:gd name="T68" fmla="*/ 280 w 314"/>
              <a:gd name="T69" fmla="*/ 229 h 285"/>
              <a:gd name="T70" fmla="*/ 289 w 314"/>
              <a:gd name="T71" fmla="*/ 213 h 285"/>
              <a:gd name="T72" fmla="*/ 289 w 314"/>
              <a:gd name="T73" fmla="*/ 197 h 285"/>
              <a:gd name="T74" fmla="*/ 280 w 314"/>
              <a:gd name="T75" fmla="*/ 173 h 285"/>
              <a:gd name="T76" fmla="*/ 289 w 314"/>
              <a:gd name="T77" fmla="*/ 142 h 285"/>
              <a:gd name="T78" fmla="*/ 272 w 314"/>
              <a:gd name="T79" fmla="*/ 126 h 285"/>
              <a:gd name="T80" fmla="*/ 264 w 314"/>
              <a:gd name="T81" fmla="*/ 118 h 285"/>
              <a:gd name="T82" fmla="*/ 264 w 314"/>
              <a:gd name="T83" fmla="*/ 102 h 285"/>
              <a:gd name="T84" fmla="*/ 280 w 314"/>
              <a:gd name="T85" fmla="*/ 94 h 285"/>
              <a:gd name="T86" fmla="*/ 280 w 314"/>
              <a:gd name="T87" fmla="*/ 71 h 285"/>
              <a:gd name="T88" fmla="*/ 305 w 314"/>
              <a:gd name="T89" fmla="*/ 55 h 285"/>
              <a:gd name="T90" fmla="*/ 313 w 314"/>
              <a:gd name="T91" fmla="*/ 31 h 285"/>
              <a:gd name="T92" fmla="*/ 272 w 314"/>
              <a:gd name="T93" fmla="*/ 23 h 285"/>
              <a:gd name="T94" fmla="*/ 264 w 314"/>
              <a:gd name="T95" fmla="*/ 15 h 285"/>
              <a:gd name="T96" fmla="*/ 256 w 314"/>
              <a:gd name="T97" fmla="*/ 8 h 285"/>
              <a:gd name="T98" fmla="*/ 239 w 314"/>
              <a:gd name="T99" fmla="*/ 15 h 285"/>
              <a:gd name="T100" fmla="*/ 231 w 314"/>
              <a:gd name="T101" fmla="*/ 0 h 285"/>
              <a:gd name="T102" fmla="*/ 214 w 314"/>
              <a:gd name="T103" fmla="*/ 8 h 285"/>
              <a:gd name="T104" fmla="*/ 190 w 314"/>
              <a:gd name="T105" fmla="*/ 8 h 285"/>
              <a:gd name="T106" fmla="*/ 190 w 314"/>
              <a:gd name="T107" fmla="*/ 15 h 285"/>
              <a:gd name="T108" fmla="*/ 198 w 314"/>
              <a:gd name="T109" fmla="*/ 31 h 285"/>
              <a:gd name="T110" fmla="*/ 206 w 314"/>
              <a:gd name="T111" fmla="*/ 55 h 285"/>
              <a:gd name="T112" fmla="*/ 214 w 314"/>
              <a:gd name="T113" fmla="*/ 71 h 285"/>
              <a:gd name="T114" fmla="*/ 223 w 314"/>
              <a:gd name="T115" fmla="*/ 79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14" h="285">
                <a:moveTo>
                  <a:pt x="223" y="79"/>
                </a:moveTo>
                <a:lnTo>
                  <a:pt x="206" y="71"/>
                </a:lnTo>
                <a:lnTo>
                  <a:pt x="190" y="47"/>
                </a:lnTo>
                <a:lnTo>
                  <a:pt x="165" y="39"/>
                </a:lnTo>
                <a:lnTo>
                  <a:pt x="157" y="15"/>
                </a:lnTo>
                <a:cubicBezTo>
                  <a:pt x="149" y="8"/>
                  <a:pt x="149" y="15"/>
                  <a:pt x="149" y="15"/>
                </a:cubicBezTo>
                <a:cubicBezTo>
                  <a:pt x="149" y="15"/>
                  <a:pt x="149" y="31"/>
                  <a:pt x="140" y="39"/>
                </a:cubicBezTo>
                <a:lnTo>
                  <a:pt x="124" y="39"/>
                </a:lnTo>
                <a:lnTo>
                  <a:pt x="107" y="55"/>
                </a:lnTo>
                <a:cubicBezTo>
                  <a:pt x="107" y="55"/>
                  <a:pt x="83" y="63"/>
                  <a:pt x="74" y="63"/>
                </a:cubicBezTo>
                <a:lnTo>
                  <a:pt x="66" y="71"/>
                </a:lnTo>
                <a:lnTo>
                  <a:pt x="17" y="63"/>
                </a:lnTo>
                <a:lnTo>
                  <a:pt x="0" y="79"/>
                </a:lnTo>
                <a:lnTo>
                  <a:pt x="0" y="87"/>
                </a:lnTo>
                <a:lnTo>
                  <a:pt x="9" y="102"/>
                </a:lnTo>
                <a:lnTo>
                  <a:pt x="17" y="110"/>
                </a:lnTo>
                <a:lnTo>
                  <a:pt x="25" y="110"/>
                </a:lnTo>
                <a:lnTo>
                  <a:pt x="25" y="126"/>
                </a:lnTo>
                <a:lnTo>
                  <a:pt x="33" y="142"/>
                </a:lnTo>
                <a:cubicBezTo>
                  <a:pt x="33" y="142"/>
                  <a:pt x="41" y="150"/>
                  <a:pt x="50" y="165"/>
                </a:cubicBezTo>
                <a:cubicBezTo>
                  <a:pt x="58" y="181"/>
                  <a:pt x="50" y="189"/>
                  <a:pt x="50" y="189"/>
                </a:cubicBezTo>
                <a:lnTo>
                  <a:pt x="74" y="213"/>
                </a:lnTo>
                <a:lnTo>
                  <a:pt x="91" y="221"/>
                </a:lnTo>
                <a:cubicBezTo>
                  <a:pt x="91" y="221"/>
                  <a:pt x="99" y="229"/>
                  <a:pt x="107" y="229"/>
                </a:cubicBezTo>
                <a:lnTo>
                  <a:pt x="107" y="237"/>
                </a:lnTo>
                <a:lnTo>
                  <a:pt x="107" y="252"/>
                </a:lnTo>
                <a:lnTo>
                  <a:pt x="116" y="268"/>
                </a:lnTo>
                <a:lnTo>
                  <a:pt x="124" y="260"/>
                </a:lnTo>
                <a:lnTo>
                  <a:pt x="132" y="252"/>
                </a:lnTo>
                <a:lnTo>
                  <a:pt x="173" y="268"/>
                </a:lnTo>
                <a:cubicBezTo>
                  <a:pt x="173" y="268"/>
                  <a:pt x="206" y="284"/>
                  <a:pt x="214" y="284"/>
                </a:cubicBezTo>
                <a:lnTo>
                  <a:pt x="231" y="268"/>
                </a:lnTo>
                <a:cubicBezTo>
                  <a:pt x="239" y="260"/>
                  <a:pt x="264" y="260"/>
                  <a:pt x="264" y="260"/>
                </a:cubicBezTo>
                <a:cubicBezTo>
                  <a:pt x="272" y="260"/>
                  <a:pt x="272" y="252"/>
                  <a:pt x="272" y="252"/>
                </a:cubicBezTo>
                <a:cubicBezTo>
                  <a:pt x="272" y="244"/>
                  <a:pt x="280" y="237"/>
                  <a:pt x="280" y="229"/>
                </a:cubicBezTo>
                <a:cubicBezTo>
                  <a:pt x="280" y="221"/>
                  <a:pt x="289" y="213"/>
                  <a:pt x="289" y="213"/>
                </a:cubicBezTo>
                <a:lnTo>
                  <a:pt x="289" y="197"/>
                </a:lnTo>
                <a:lnTo>
                  <a:pt x="280" y="173"/>
                </a:lnTo>
                <a:lnTo>
                  <a:pt x="289" y="142"/>
                </a:lnTo>
                <a:lnTo>
                  <a:pt x="272" y="126"/>
                </a:lnTo>
                <a:lnTo>
                  <a:pt x="264" y="118"/>
                </a:lnTo>
                <a:lnTo>
                  <a:pt x="264" y="102"/>
                </a:lnTo>
                <a:lnTo>
                  <a:pt x="280" y="94"/>
                </a:lnTo>
                <a:lnTo>
                  <a:pt x="280" y="71"/>
                </a:lnTo>
                <a:lnTo>
                  <a:pt x="305" y="55"/>
                </a:lnTo>
                <a:lnTo>
                  <a:pt x="313" y="31"/>
                </a:lnTo>
                <a:cubicBezTo>
                  <a:pt x="313" y="31"/>
                  <a:pt x="280" y="23"/>
                  <a:pt x="272" y="23"/>
                </a:cubicBezTo>
                <a:cubicBezTo>
                  <a:pt x="256" y="23"/>
                  <a:pt x="264" y="23"/>
                  <a:pt x="264" y="15"/>
                </a:cubicBezTo>
                <a:lnTo>
                  <a:pt x="256" y="8"/>
                </a:lnTo>
                <a:lnTo>
                  <a:pt x="239" y="15"/>
                </a:lnTo>
                <a:cubicBezTo>
                  <a:pt x="231" y="15"/>
                  <a:pt x="231" y="0"/>
                  <a:pt x="231" y="0"/>
                </a:cubicBezTo>
                <a:lnTo>
                  <a:pt x="214" y="8"/>
                </a:lnTo>
                <a:lnTo>
                  <a:pt x="190" y="8"/>
                </a:lnTo>
                <a:lnTo>
                  <a:pt x="190" y="15"/>
                </a:lnTo>
                <a:cubicBezTo>
                  <a:pt x="181" y="23"/>
                  <a:pt x="190" y="31"/>
                  <a:pt x="198" y="31"/>
                </a:cubicBezTo>
                <a:cubicBezTo>
                  <a:pt x="198" y="39"/>
                  <a:pt x="206" y="55"/>
                  <a:pt x="206" y="55"/>
                </a:cubicBezTo>
                <a:lnTo>
                  <a:pt x="214" y="71"/>
                </a:lnTo>
                <a:lnTo>
                  <a:pt x="223" y="79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65" name="Freeform 57">
            <a:extLst>
              <a:ext uri="{FF2B5EF4-FFF2-40B4-BE49-F238E27FC236}">
                <a16:creationId xmlns:a16="http://schemas.microsoft.com/office/drawing/2014/main" id="{D0042DE5-AF2F-45E8-3ADC-F39EA4788539}"/>
              </a:ext>
            </a:extLst>
          </p:cNvPr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7195991" y="3113482"/>
            <a:ext cx="92373" cy="57959"/>
          </a:xfrm>
          <a:custGeom>
            <a:avLst/>
            <a:gdLst>
              <a:gd name="T0" fmla="*/ 206 w 223"/>
              <a:gd name="T1" fmla="*/ 102 h 143"/>
              <a:gd name="T2" fmla="*/ 214 w 223"/>
              <a:gd name="T3" fmla="*/ 102 h 143"/>
              <a:gd name="T4" fmla="*/ 222 w 223"/>
              <a:gd name="T5" fmla="*/ 94 h 143"/>
              <a:gd name="T6" fmla="*/ 214 w 223"/>
              <a:gd name="T7" fmla="*/ 79 h 143"/>
              <a:gd name="T8" fmla="*/ 206 w 223"/>
              <a:gd name="T9" fmla="*/ 71 h 143"/>
              <a:gd name="T10" fmla="*/ 198 w 223"/>
              <a:gd name="T11" fmla="*/ 47 h 143"/>
              <a:gd name="T12" fmla="*/ 181 w 223"/>
              <a:gd name="T13" fmla="*/ 31 h 143"/>
              <a:gd name="T14" fmla="*/ 173 w 223"/>
              <a:gd name="T15" fmla="*/ 23 h 143"/>
              <a:gd name="T16" fmla="*/ 165 w 223"/>
              <a:gd name="T17" fmla="*/ 39 h 143"/>
              <a:gd name="T18" fmla="*/ 157 w 223"/>
              <a:gd name="T19" fmla="*/ 47 h 143"/>
              <a:gd name="T20" fmla="*/ 148 w 223"/>
              <a:gd name="T21" fmla="*/ 55 h 143"/>
              <a:gd name="T22" fmla="*/ 115 w 223"/>
              <a:gd name="T23" fmla="*/ 39 h 143"/>
              <a:gd name="T24" fmla="*/ 99 w 223"/>
              <a:gd name="T25" fmla="*/ 31 h 143"/>
              <a:gd name="T26" fmla="*/ 82 w 223"/>
              <a:gd name="T27" fmla="*/ 23 h 143"/>
              <a:gd name="T28" fmla="*/ 74 w 223"/>
              <a:gd name="T29" fmla="*/ 15 h 143"/>
              <a:gd name="T30" fmla="*/ 66 w 223"/>
              <a:gd name="T31" fmla="*/ 8 h 143"/>
              <a:gd name="T32" fmla="*/ 50 w 223"/>
              <a:gd name="T33" fmla="*/ 8 h 143"/>
              <a:gd name="T34" fmla="*/ 25 w 223"/>
              <a:gd name="T35" fmla="*/ 8 h 143"/>
              <a:gd name="T36" fmla="*/ 17 w 223"/>
              <a:gd name="T37" fmla="*/ 15 h 143"/>
              <a:gd name="T38" fmla="*/ 17 w 223"/>
              <a:gd name="T39" fmla="*/ 39 h 143"/>
              <a:gd name="T40" fmla="*/ 17 w 223"/>
              <a:gd name="T41" fmla="*/ 47 h 143"/>
              <a:gd name="T42" fmla="*/ 25 w 223"/>
              <a:gd name="T43" fmla="*/ 63 h 143"/>
              <a:gd name="T44" fmla="*/ 8 w 223"/>
              <a:gd name="T45" fmla="*/ 63 h 143"/>
              <a:gd name="T46" fmla="*/ 0 w 223"/>
              <a:gd name="T47" fmla="*/ 63 h 143"/>
              <a:gd name="T48" fmla="*/ 8 w 223"/>
              <a:gd name="T49" fmla="*/ 79 h 143"/>
              <a:gd name="T50" fmla="*/ 17 w 223"/>
              <a:gd name="T51" fmla="*/ 94 h 143"/>
              <a:gd name="T52" fmla="*/ 25 w 223"/>
              <a:gd name="T53" fmla="*/ 102 h 143"/>
              <a:gd name="T54" fmla="*/ 66 w 223"/>
              <a:gd name="T55" fmla="*/ 110 h 143"/>
              <a:gd name="T56" fmla="*/ 74 w 223"/>
              <a:gd name="T57" fmla="*/ 110 h 143"/>
              <a:gd name="T58" fmla="*/ 107 w 223"/>
              <a:gd name="T59" fmla="*/ 126 h 143"/>
              <a:gd name="T60" fmla="*/ 124 w 223"/>
              <a:gd name="T61" fmla="*/ 142 h 143"/>
              <a:gd name="T62" fmla="*/ 140 w 223"/>
              <a:gd name="T63" fmla="*/ 142 h 143"/>
              <a:gd name="T64" fmla="*/ 148 w 223"/>
              <a:gd name="T65" fmla="*/ 134 h 143"/>
              <a:gd name="T66" fmla="*/ 173 w 223"/>
              <a:gd name="T67" fmla="*/ 126 h 143"/>
              <a:gd name="T68" fmla="*/ 190 w 223"/>
              <a:gd name="T69" fmla="*/ 126 h 143"/>
              <a:gd name="T70" fmla="*/ 214 w 223"/>
              <a:gd name="T71" fmla="*/ 134 h 143"/>
              <a:gd name="T72" fmla="*/ 222 w 223"/>
              <a:gd name="T73" fmla="*/ 134 h 143"/>
              <a:gd name="T74" fmla="*/ 222 w 223"/>
              <a:gd name="T75" fmla="*/ 110 h 143"/>
              <a:gd name="T76" fmla="*/ 206 w 223"/>
              <a:gd name="T77" fmla="*/ 10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3" h="143">
                <a:moveTo>
                  <a:pt x="206" y="102"/>
                </a:moveTo>
                <a:lnTo>
                  <a:pt x="214" y="102"/>
                </a:lnTo>
                <a:lnTo>
                  <a:pt x="222" y="94"/>
                </a:lnTo>
                <a:lnTo>
                  <a:pt x="214" y="79"/>
                </a:lnTo>
                <a:lnTo>
                  <a:pt x="206" y="71"/>
                </a:lnTo>
                <a:lnTo>
                  <a:pt x="198" y="47"/>
                </a:lnTo>
                <a:lnTo>
                  <a:pt x="181" y="31"/>
                </a:lnTo>
                <a:lnTo>
                  <a:pt x="173" y="23"/>
                </a:lnTo>
                <a:lnTo>
                  <a:pt x="165" y="39"/>
                </a:lnTo>
                <a:lnTo>
                  <a:pt x="157" y="47"/>
                </a:lnTo>
                <a:lnTo>
                  <a:pt x="148" y="55"/>
                </a:lnTo>
                <a:cubicBezTo>
                  <a:pt x="148" y="55"/>
                  <a:pt x="124" y="47"/>
                  <a:pt x="115" y="39"/>
                </a:cubicBezTo>
                <a:lnTo>
                  <a:pt x="99" y="31"/>
                </a:lnTo>
                <a:cubicBezTo>
                  <a:pt x="99" y="31"/>
                  <a:pt x="91" y="31"/>
                  <a:pt x="82" y="23"/>
                </a:cubicBezTo>
                <a:lnTo>
                  <a:pt x="74" y="15"/>
                </a:lnTo>
                <a:cubicBezTo>
                  <a:pt x="74" y="15"/>
                  <a:pt x="74" y="8"/>
                  <a:pt x="66" y="8"/>
                </a:cubicBezTo>
                <a:cubicBezTo>
                  <a:pt x="66" y="0"/>
                  <a:pt x="58" y="8"/>
                  <a:pt x="50" y="8"/>
                </a:cubicBezTo>
                <a:lnTo>
                  <a:pt x="25" y="8"/>
                </a:lnTo>
                <a:cubicBezTo>
                  <a:pt x="25" y="15"/>
                  <a:pt x="17" y="15"/>
                  <a:pt x="17" y="15"/>
                </a:cubicBezTo>
                <a:cubicBezTo>
                  <a:pt x="8" y="23"/>
                  <a:pt x="17" y="39"/>
                  <a:pt x="17" y="39"/>
                </a:cubicBezTo>
                <a:lnTo>
                  <a:pt x="17" y="47"/>
                </a:lnTo>
                <a:lnTo>
                  <a:pt x="25" y="63"/>
                </a:lnTo>
                <a:lnTo>
                  <a:pt x="8" y="63"/>
                </a:lnTo>
                <a:lnTo>
                  <a:pt x="0" y="63"/>
                </a:lnTo>
                <a:lnTo>
                  <a:pt x="8" y="79"/>
                </a:lnTo>
                <a:cubicBezTo>
                  <a:pt x="8" y="79"/>
                  <a:pt x="8" y="87"/>
                  <a:pt x="17" y="94"/>
                </a:cubicBezTo>
                <a:lnTo>
                  <a:pt x="25" y="102"/>
                </a:lnTo>
                <a:lnTo>
                  <a:pt x="66" y="110"/>
                </a:lnTo>
                <a:lnTo>
                  <a:pt x="74" y="110"/>
                </a:lnTo>
                <a:cubicBezTo>
                  <a:pt x="74" y="110"/>
                  <a:pt x="91" y="118"/>
                  <a:pt x="107" y="126"/>
                </a:cubicBezTo>
                <a:cubicBezTo>
                  <a:pt x="115" y="134"/>
                  <a:pt x="124" y="142"/>
                  <a:pt x="124" y="142"/>
                </a:cubicBezTo>
                <a:lnTo>
                  <a:pt x="140" y="142"/>
                </a:lnTo>
                <a:lnTo>
                  <a:pt x="148" y="134"/>
                </a:lnTo>
                <a:lnTo>
                  <a:pt x="173" y="126"/>
                </a:lnTo>
                <a:lnTo>
                  <a:pt x="190" y="126"/>
                </a:lnTo>
                <a:lnTo>
                  <a:pt x="214" y="134"/>
                </a:lnTo>
                <a:lnTo>
                  <a:pt x="222" y="134"/>
                </a:lnTo>
                <a:lnTo>
                  <a:pt x="222" y="110"/>
                </a:lnTo>
                <a:lnTo>
                  <a:pt x="206" y="10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66" name="Freeform 58">
            <a:extLst>
              <a:ext uri="{FF2B5EF4-FFF2-40B4-BE49-F238E27FC236}">
                <a16:creationId xmlns:a16="http://schemas.microsoft.com/office/drawing/2014/main" id="{CDF5F329-09DA-F706-2F2E-7C0483D67F05}"/>
              </a:ext>
            </a:extLst>
          </p:cNvPr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7315531" y="3097181"/>
            <a:ext cx="43469" cy="27168"/>
          </a:xfrm>
          <a:custGeom>
            <a:avLst/>
            <a:gdLst>
              <a:gd name="T0" fmla="*/ 9 w 108"/>
              <a:gd name="T1" fmla="*/ 48 h 64"/>
              <a:gd name="T2" fmla="*/ 0 w 108"/>
              <a:gd name="T3" fmla="*/ 55 h 64"/>
              <a:gd name="T4" fmla="*/ 9 w 108"/>
              <a:gd name="T5" fmla="*/ 55 h 64"/>
              <a:gd name="T6" fmla="*/ 25 w 108"/>
              <a:gd name="T7" fmla="*/ 63 h 64"/>
              <a:gd name="T8" fmla="*/ 33 w 108"/>
              <a:gd name="T9" fmla="*/ 63 h 64"/>
              <a:gd name="T10" fmla="*/ 42 w 108"/>
              <a:gd name="T11" fmla="*/ 55 h 64"/>
              <a:gd name="T12" fmla="*/ 50 w 108"/>
              <a:gd name="T13" fmla="*/ 40 h 64"/>
              <a:gd name="T14" fmla="*/ 74 w 108"/>
              <a:gd name="T15" fmla="*/ 32 h 64"/>
              <a:gd name="T16" fmla="*/ 99 w 108"/>
              <a:gd name="T17" fmla="*/ 32 h 64"/>
              <a:gd name="T18" fmla="*/ 107 w 108"/>
              <a:gd name="T19" fmla="*/ 24 h 64"/>
              <a:gd name="T20" fmla="*/ 107 w 108"/>
              <a:gd name="T21" fmla="*/ 16 h 64"/>
              <a:gd name="T22" fmla="*/ 91 w 108"/>
              <a:gd name="T23" fmla="*/ 0 h 64"/>
              <a:gd name="T24" fmla="*/ 74 w 108"/>
              <a:gd name="T25" fmla="*/ 0 h 64"/>
              <a:gd name="T26" fmla="*/ 50 w 108"/>
              <a:gd name="T27" fmla="*/ 0 h 64"/>
              <a:gd name="T28" fmla="*/ 41 w 108"/>
              <a:gd name="T29" fmla="*/ 0 h 64"/>
              <a:gd name="T30" fmla="*/ 41 w 108"/>
              <a:gd name="T31" fmla="*/ 16 h 64"/>
              <a:gd name="T32" fmla="*/ 25 w 108"/>
              <a:gd name="T33" fmla="*/ 24 h 64"/>
              <a:gd name="T34" fmla="*/ 17 w 108"/>
              <a:gd name="T35" fmla="*/ 24 h 64"/>
              <a:gd name="T36" fmla="*/ 9 w 108"/>
              <a:gd name="T37" fmla="*/ 48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08" h="64">
                <a:moveTo>
                  <a:pt x="9" y="48"/>
                </a:moveTo>
                <a:lnTo>
                  <a:pt x="0" y="55"/>
                </a:lnTo>
                <a:lnTo>
                  <a:pt x="9" y="55"/>
                </a:lnTo>
                <a:lnTo>
                  <a:pt x="25" y="63"/>
                </a:lnTo>
                <a:lnTo>
                  <a:pt x="33" y="63"/>
                </a:lnTo>
                <a:lnTo>
                  <a:pt x="42" y="55"/>
                </a:lnTo>
                <a:lnTo>
                  <a:pt x="50" y="40"/>
                </a:lnTo>
                <a:lnTo>
                  <a:pt x="74" y="32"/>
                </a:lnTo>
                <a:lnTo>
                  <a:pt x="99" y="32"/>
                </a:lnTo>
                <a:lnTo>
                  <a:pt x="107" y="24"/>
                </a:lnTo>
                <a:lnTo>
                  <a:pt x="107" y="16"/>
                </a:lnTo>
                <a:lnTo>
                  <a:pt x="91" y="0"/>
                </a:lnTo>
                <a:lnTo>
                  <a:pt x="74" y="0"/>
                </a:lnTo>
                <a:lnTo>
                  <a:pt x="50" y="0"/>
                </a:lnTo>
                <a:lnTo>
                  <a:pt x="41" y="0"/>
                </a:lnTo>
                <a:lnTo>
                  <a:pt x="41" y="16"/>
                </a:lnTo>
                <a:cubicBezTo>
                  <a:pt x="33" y="24"/>
                  <a:pt x="33" y="24"/>
                  <a:pt x="25" y="24"/>
                </a:cubicBezTo>
                <a:lnTo>
                  <a:pt x="17" y="24"/>
                </a:lnTo>
                <a:lnTo>
                  <a:pt x="9" y="4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67" name="Freeform 59">
            <a:extLst>
              <a:ext uri="{FF2B5EF4-FFF2-40B4-BE49-F238E27FC236}">
                <a16:creationId xmlns:a16="http://schemas.microsoft.com/office/drawing/2014/main" id="{E85231E7-A991-8349-98A6-4F2D2DF57F5E}"/>
              </a:ext>
            </a:extLst>
          </p:cNvPr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7186935" y="2907003"/>
            <a:ext cx="179310" cy="204668"/>
          </a:xfrm>
          <a:custGeom>
            <a:avLst/>
            <a:gdLst>
              <a:gd name="T0" fmla="*/ 322 w 438"/>
              <a:gd name="T1" fmla="*/ 450 h 499"/>
              <a:gd name="T2" fmla="*/ 322 w 438"/>
              <a:gd name="T3" fmla="*/ 435 h 499"/>
              <a:gd name="T4" fmla="*/ 305 w 438"/>
              <a:gd name="T5" fmla="*/ 419 h 499"/>
              <a:gd name="T6" fmla="*/ 289 w 438"/>
              <a:gd name="T7" fmla="*/ 419 h 499"/>
              <a:gd name="T8" fmla="*/ 305 w 438"/>
              <a:gd name="T9" fmla="*/ 411 h 499"/>
              <a:gd name="T10" fmla="*/ 346 w 438"/>
              <a:gd name="T11" fmla="*/ 379 h 499"/>
              <a:gd name="T12" fmla="*/ 387 w 438"/>
              <a:gd name="T13" fmla="*/ 364 h 499"/>
              <a:gd name="T14" fmla="*/ 387 w 438"/>
              <a:gd name="T15" fmla="*/ 340 h 499"/>
              <a:gd name="T16" fmla="*/ 363 w 438"/>
              <a:gd name="T17" fmla="*/ 308 h 499"/>
              <a:gd name="T18" fmla="*/ 322 w 438"/>
              <a:gd name="T19" fmla="*/ 277 h 499"/>
              <a:gd name="T20" fmla="*/ 363 w 438"/>
              <a:gd name="T21" fmla="*/ 229 h 499"/>
              <a:gd name="T22" fmla="*/ 404 w 438"/>
              <a:gd name="T23" fmla="*/ 237 h 499"/>
              <a:gd name="T24" fmla="*/ 437 w 438"/>
              <a:gd name="T25" fmla="*/ 214 h 499"/>
              <a:gd name="T26" fmla="*/ 420 w 438"/>
              <a:gd name="T27" fmla="*/ 198 h 499"/>
              <a:gd name="T28" fmla="*/ 412 w 438"/>
              <a:gd name="T29" fmla="*/ 127 h 499"/>
              <a:gd name="T30" fmla="*/ 396 w 438"/>
              <a:gd name="T31" fmla="*/ 95 h 499"/>
              <a:gd name="T32" fmla="*/ 404 w 438"/>
              <a:gd name="T33" fmla="*/ 56 h 499"/>
              <a:gd name="T34" fmla="*/ 404 w 438"/>
              <a:gd name="T35" fmla="*/ 24 h 499"/>
              <a:gd name="T36" fmla="*/ 363 w 438"/>
              <a:gd name="T37" fmla="*/ 8 h 499"/>
              <a:gd name="T38" fmla="*/ 322 w 438"/>
              <a:gd name="T39" fmla="*/ 8 h 499"/>
              <a:gd name="T40" fmla="*/ 272 w 438"/>
              <a:gd name="T41" fmla="*/ 32 h 499"/>
              <a:gd name="T42" fmla="*/ 231 w 438"/>
              <a:gd name="T43" fmla="*/ 71 h 499"/>
              <a:gd name="T44" fmla="*/ 239 w 438"/>
              <a:gd name="T45" fmla="*/ 87 h 499"/>
              <a:gd name="T46" fmla="*/ 256 w 438"/>
              <a:gd name="T47" fmla="*/ 95 h 499"/>
              <a:gd name="T48" fmla="*/ 247 w 438"/>
              <a:gd name="T49" fmla="*/ 111 h 499"/>
              <a:gd name="T50" fmla="*/ 239 w 438"/>
              <a:gd name="T51" fmla="*/ 135 h 499"/>
              <a:gd name="T52" fmla="*/ 214 w 438"/>
              <a:gd name="T53" fmla="*/ 158 h 499"/>
              <a:gd name="T54" fmla="*/ 223 w 438"/>
              <a:gd name="T55" fmla="*/ 182 h 499"/>
              <a:gd name="T56" fmla="*/ 214 w 438"/>
              <a:gd name="T57" fmla="*/ 182 h 499"/>
              <a:gd name="T58" fmla="*/ 182 w 438"/>
              <a:gd name="T59" fmla="*/ 182 h 499"/>
              <a:gd name="T60" fmla="*/ 206 w 438"/>
              <a:gd name="T61" fmla="*/ 158 h 499"/>
              <a:gd name="T62" fmla="*/ 182 w 438"/>
              <a:gd name="T63" fmla="*/ 150 h 499"/>
              <a:gd name="T64" fmla="*/ 182 w 438"/>
              <a:gd name="T65" fmla="*/ 143 h 499"/>
              <a:gd name="T66" fmla="*/ 190 w 438"/>
              <a:gd name="T67" fmla="*/ 111 h 499"/>
              <a:gd name="T68" fmla="*/ 206 w 438"/>
              <a:gd name="T69" fmla="*/ 79 h 499"/>
              <a:gd name="T70" fmla="*/ 190 w 438"/>
              <a:gd name="T71" fmla="*/ 71 h 499"/>
              <a:gd name="T72" fmla="*/ 140 w 438"/>
              <a:gd name="T73" fmla="*/ 87 h 499"/>
              <a:gd name="T74" fmla="*/ 124 w 438"/>
              <a:gd name="T75" fmla="*/ 79 h 499"/>
              <a:gd name="T76" fmla="*/ 99 w 438"/>
              <a:gd name="T77" fmla="*/ 87 h 499"/>
              <a:gd name="T78" fmla="*/ 140 w 438"/>
              <a:gd name="T79" fmla="*/ 103 h 499"/>
              <a:gd name="T80" fmla="*/ 124 w 438"/>
              <a:gd name="T81" fmla="*/ 127 h 499"/>
              <a:gd name="T82" fmla="*/ 99 w 438"/>
              <a:gd name="T83" fmla="*/ 143 h 499"/>
              <a:gd name="T84" fmla="*/ 107 w 438"/>
              <a:gd name="T85" fmla="*/ 174 h 499"/>
              <a:gd name="T86" fmla="*/ 66 w 438"/>
              <a:gd name="T87" fmla="*/ 182 h 499"/>
              <a:gd name="T88" fmla="*/ 50 w 438"/>
              <a:gd name="T89" fmla="*/ 174 h 499"/>
              <a:gd name="T90" fmla="*/ 0 w 438"/>
              <a:gd name="T91" fmla="*/ 182 h 499"/>
              <a:gd name="T92" fmla="*/ 17 w 438"/>
              <a:gd name="T93" fmla="*/ 206 h 499"/>
              <a:gd name="T94" fmla="*/ 33 w 438"/>
              <a:gd name="T95" fmla="*/ 229 h 499"/>
              <a:gd name="T96" fmla="*/ 50 w 438"/>
              <a:gd name="T97" fmla="*/ 261 h 499"/>
              <a:gd name="T98" fmla="*/ 58 w 438"/>
              <a:gd name="T99" fmla="*/ 285 h 499"/>
              <a:gd name="T100" fmla="*/ 66 w 438"/>
              <a:gd name="T101" fmla="*/ 316 h 499"/>
              <a:gd name="T102" fmla="*/ 66 w 438"/>
              <a:gd name="T103" fmla="*/ 340 h 499"/>
              <a:gd name="T104" fmla="*/ 58 w 438"/>
              <a:gd name="T105" fmla="*/ 356 h 499"/>
              <a:gd name="T106" fmla="*/ 83 w 438"/>
              <a:gd name="T107" fmla="*/ 387 h 499"/>
              <a:gd name="T108" fmla="*/ 91 w 438"/>
              <a:gd name="T109" fmla="*/ 411 h 499"/>
              <a:gd name="T110" fmla="*/ 198 w 438"/>
              <a:gd name="T111" fmla="*/ 403 h 499"/>
              <a:gd name="T112" fmla="*/ 223 w 438"/>
              <a:gd name="T113" fmla="*/ 435 h 499"/>
              <a:gd name="T114" fmla="*/ 223 w 438"/>
              <a:gd name="T115" fmla="*/ 466 h 499"/>
              <a:gd name="T116" fmla="*/ 247 w 438"/>
              <a:gd name="T117" fmla="*/ 482 h 499"/>
              <a:gd name="T118" fmla="*/ 264 w 438"/>
              <a:gd name="T119" fmla="*/ 490 h 499"/>
              <a:gd name="T120" fmla="*/ 297 w 438"/>
              <a:gd name="T121" fmla="*/ 498 h 499"/>
              <a:gd name="T122" fmla="*/ 322 w 438"/>
              <a:gd name="T123" fmla="*/ 490 h 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38" h="499">
                <a:moveTo>
                  <a:pt x="322" y="474"/>
                </a:moveTo>
                <a:lnTo>
                  <a:pt x="322" y="450"/>
                </a:lnTo>
                <a:lnTo>
                  <a:pt x="330" y="443"/>
                </a:lnTo>
                <a:lnTo>
                  <a:pt x="322" y="435"/>
                </a:lnTo>
                <a:lnTo>
                  <a:pt x="313" y="435"/>
                </a:lnTo>
                <a:lnTo>
                  <a:pt x="305" y="419"/>
                </a:lnTo>
                <a:lnTo>
                  <a:pt x="297" y="419"/>
                </a:lnTo>
                <a:lnTo>
                  <a:pt x="289" y="419"/>
                </a:lnTo>
                <a:lnTo>
                  <a:pt x="297" y="411"/>
                </a:lnTo>
                <a:lnTo>
                  <a:pt x="305" y="411"/>
                </a:lnTo>
                <a:lnTo>
                  <a:pt x="313" y="403"/>
                </a:lnTo>
                <a:cubicBezTo>
                  <a:pt x="313" y="403"/>
                  <a:pt x="330" y="379"/>
                  <a:pt x="346" y="379"/>
                </a:cubicBezTo>
                <a:lnTo>
                  <a:pt x="371" y="379"/>
                </a:lnTo>
                <a:lnTo>
                  <a:pt x="387" y="364"/>
                </a:lnTo>
                <a:lnTo>
                  <a:pt x="387" y="356"/>
                </a:lnTo>
                <a:cubicBezTo>
                  <a:pt x="396" y="356"/>
                  <a:pt x="387" y="340"/>
                  <a:pt x="387" y="340"/>
                </a:cubicBezTo>
                <a:lnTo>
                  <a:pt x="387" y="324"/>
                </a:lnTo>
                <a:lnTo>
                  <a:pt x="363" y="308"/>
                </a:lnTo>
                <a:lnTo>
                  <a:pt x="330" y="293"/>
                </a:lnTo>
                <a:cubicBezTo>
                  <a:pt x="330" y="293"/>
                  <a:pt x="330" y="277"/>
                  <a:pt x="322" y="277"/>
                </a:cubicBezTo>
                <a:lnTo>
                  <a:pt x="330" y="261"/>
                </a:lnTo>
                <a:cubicBezTo>
                  <a:pt x="330" y="261"/>
                  <a:pt x="346" y="237"/>
                  <a:pt x="363" y="229"/>
                </a:cubicBezTo>
                <a:cubicBezTo>
                  <a:pt x="371" y="221"/>
                  <a:pt x="379" y="221"/>
                  <a:pt x="379" y="221"/>
                </a:cubicBezTo>
                <a:cubicBezTo>
                  <a:pt x="387" y="221"/>
                  <a:pt x="396" y="229"/>
                  <a:pt x="404" y="237"/>
                </a:cubicBezTo>
                <a:lnTo>
                  <a:pt x="437" y="237"/>
                </a:lnTo>
                <a:lnTo>
                  <a:pt x="437" y="214"/>
                </a:lnTo>
                <a:cubicBezTo>
                  <a:pt x="437" y="206"/>
                  <a:pt x="437" y="214"/>
                  <a:pt x="429" y="206"/>
                </a:cubicBezTo>
                <a:lnTo>
                  <a:pt x="420" y="198"/>
                </a:lnTo>
                <a:lnTo>
                  <a:pt x="420" y="150"/>
                </a:lnTo>
                <a:cubicBezTo>
                  <a:pt x="420" y="143"/>
                  <a:pt x="412" y="127"/>
                  <a:pt x="412" y="127"/>
                </a:cubicBezTo>
                <a:cubicBezTo>
                  <a:pt x="412" y="119"/>
                  <a:pt x="404" y="111"/>
                  <a:pt x="404" y="111"/>
                </a:cubicBezTo>
                <a:lnTo>
                  <a:pt x="396" y="95"/>
                </a:lnTo>
                <a:lnTo>
                  <a:pt x="396" y="87"/>
                </a:lnTo>
                <a:cubicBezTo>
                  <a:pt x="396" y="71"/>
                  <a:pt x="404" y="56"/>
                  <a:pt x="404" y="56"/>
                </a:cubicBezTo>
                <a:cubicBezTo>
                  <a:pt x="412" y="48"/>
                  <a:pt x="412" y="32"/>
                  <a:pt x="412" y="32"/>
                </a:cubicBezTo>
                <a:lnTo>
                  <a:pt x="404" y="24"/>
                </a:lnTo>
                <a:lnTo>
                  <a:pt x="371" y="16"/>
                </a:lnTo>
                <a:lnTo>
                  <a:pt x="363" y="8"/>
                </a:lnTo>
                <a:cubicBezTo>
                  <a:pt x="363" y="0"/>
                  <a:pt x="355" y="0"/>
                  <a:pt x="355" y="0"/>
                </a:cubicBezTo>
                <a:lnTo>
                  <a:pt x="322" y="8"/>
                </a:lnTo>
                <a:cubicBezTo>
                  <a:pt x="322" y="8"/>
                  <a:pt x="305" y="16"/>
                  <a:pt x="297" y="24"/>
                </a:cubicBezTo>
                <a:cubicBezTo>
                  <a:pt x="280" y="24"/>
                  <a:pt x="280" y="24"/>
                  <a:pt x="272" y="32"/>
                </a:cubicBezTo>
                <a:cubicBezTo>
                  <a:pt x="256" y="40"/>
                  <a:pt x="256" y="48"/>
                  <a:pt x="247" y="56"/>
                </a:cubicBezTo>
                <a:cubicBezTo>
                  <a:pt x="239" y="56"/>
                  <a:pt x="231" y="71"/>
                  <a:pt x="231" y="71"/>
                </a:cubicBezTo>
                <a:cubicBezTo>
                  <a:pt x="223" y="79"/>
                  <a:pt x="223" y="79"/>
                  <a:pt x="231" y="87"/>
                </a:cubicBezTo>
                <a:cubicBezTo>
                  <a:pt x="231" y="95"/>
                  <a:pt x="239" y="87"/>
                  <a:pt x="239" y="87"/>
                </a:cubicBezTo>
                <a:lnTo>
                  <a:pt x="256" y="87"/>
                </a:lnTo>
                <a:cubicBezTo>
                  <a:pt x="264" y="87"/>
                  <a:pt x="264" y="95"/>
                  <a:pt x="256" y="95"/>
                </a:cubicBezTo>
                <a:lnTo>
                  <a:pt x="256" y="103"/>
                </a:lnTo>
                <a:lnTo>
                  <a:pt x="247" y="111"/>
                </a:lnTo>
                <a:lnTo>
                  <a:pt x="247" y="127"/>
                </a:lnTo>
                <a:cubicBezTo>
                  <a:pt x="247" y="135"/>
                  <a:pt x="239" y="135"/>
                  <a:pt x="239" y="135"/>
                </a:cubicBezTo>
                <a:cubicBezTo>
                  <a:pt x="231" y="143"/>
                  <a:pt x="231" y="143"/>
                  <a:pt x="223" y="150"/>
                </a:cubicBezTo>
                <a:cubicBezTo>
                  <a:pt x="214" y="150"/>
                  <a:pt x="214" y="158"/>
                  <a:pt x="214" y="158"/>
                </a:cubicBezTo>
                <a:cubicBezTo>
                  <a:pt x="214" y="166"/>
                  <a:pt x="214" y="166"/>
                  <a:pt x="223" y="174"/>
                </a:cubicBezTo>
                <a:lnTo>
                  <a:pt x="223" y="182"/>
                </a:lnTo>
                <a:cubicBezTo>
                  <a:pt x="223" y="190"/>
                  <a:pt x="214" y="198"/>
                  <a:pt x="214" y="190"/>
                </a:cubicBezTo>
                <a:lnTo>
                  <a:pt x="214" y="182"/>
                </a:lnTo>
                <a:lnTo>
                  <a:pt x="190" y="182"/>
                </a:lnTo>
                <a:lnTo>
                  <a:pt x="182" y="182"/>
                </a:lnTo>
                <a:lnTo>
                  <a:pt x="198" y="166"/>
                </a:lnTo>
                <a:lnTo>
                  <a:pt x="206" y="158"/>
                </a:lnTo>
                <a:lnTo>
                  <a:pt x="206" y="150"/>
                </a:lnTo>
                <a:lnTo>
                  <a:pt x="182" y="150"/>
                </a:lnTo>
                <a:lnTo>
                  <a:pt x="173" y="150"/>
                </a:lnTo>
                <a:lnTo>
                  <a:pt x="182" y="143"/>
                </a:lnTo>
                <a:lnTo>
                  <a:pt x="182" y="127"/>
                </a:lnTo>
                <a:lnTo>
                  <a:pt x="190" y="111"/>
                </a:lnTo>
                <a:cubicBezTo>
                  <a:pt x="190" y="111"/>
                  <a:pt x="190" y="95"/>
                  <a:pt x="198" y="95"/>
                </a:cubicBezTo>
                <a:cubicBezTo>
                  <a:pt x="198" y="95"/>
                  <a:pt x="206" y="87"/>
                  <a:pt x="206" y="79"/>
                </a:cubicBezTo>
                <a:cubicBezTo>
                  <a:pt x="214" y="79"/>
                  <a:pt x="206" y="71"/>
                  <a:pt x="206" y="71"/>
                </a:cubicBezTo>
                <a:lnTo>
                  <a:pt x="190" y="71"/>
                </a:lnTo>
                <a:lnTo>
                  <a:pt x="173" y="79"/>
                </a:lnTo>
                <a:cubicBezTo>
                  <a:pt x="173" y="79"/>
                  <a:pt x="149" y="87"/>
                  <a:pt x="140" y="87"/>
                </a:cubicBezTo>
                <a:lnTo>
                  <a:pt x="132" y="87"/>
                </a:lnTo>
                <a:cubicBezTo>
                  <a:pt x="132" y="79"/>
                  <a:pt x="124" y="79"/>
                  <a:pt x="124" y="79"/>
                </a:cubicBezTo>
                <a:lnTo>
                  <a:pt x="107" y="79"/>
                </a:lnTo>
                <a:cubicBezTo>
                  <a:pt x="99" y="79"/>
                  <a:pt x="99" y="87"/>
                  <a:pt x="99" y="87"/>
                </a:cubicBezTo>
                <a:cubicBezTo>
                  <a:pt x="99" y="87"/>
                  <a:pt x="124" y="95"/>
                  <a:pt x="132" y="103"/>
                </a:cubicBezTo>
                <a:lnTo>
                  <a:pt x="140" y="103"/>
                </a:lnTo>
                <a:lnTo>
                  <a:pt x="140" y="111"/>
                </a:lnTo>
                <a:cubicBezTo>
                  <a:pt x="140" y="111"/>
                  <a:pt x="132" y="127"/>
                  <a:pt x="124" y="127"/>
                </a:cubicBezTo>
                <a:cubicBezTo>
                  <a:pt x="124" y="135"/>
                  <a:pt x="116" y="135"/>
                  <a:pt x="116" y="135"/>
                </a:cubicBezTo>
                <a:lnTo>
                  <a:pt x="99" y="143"/>
                </a:lnTo>
                <a:lnTo>
                  <a:pt x="107" y="158"/>
                </a:lnTo>
                <a:lnTo>
                  <a:pt x="107" y="174"/>
                </a:lnTo>
                <a:lnTo>
                  <a:pt x="91" y="166"/>
                </a:lnTo>
                <a:lnTo>
                  <a:pt x="66" y="182"/>
                </a:lnTo>
                <a:lnTo>
                  <a:pt x="58" y="182"/>
                </a:lnTo>
                <a:cubicBezTo>
                  <a:pt x="50" y="182"/>
                  <a:pt x="50" y="174"/>
                  <a:pt x="50" y="174"/>
                </a:cubicBezTo>
                <a:lnTo>
                  <a:pt x="42" y="190"/>
                </a:lnTo>
                <a:cubicBezTo>
                  <a:pt x="42" y="190"/>
                  <a:pt x="9" y="182"/>
                  <a:pt x="0" y="182"/>
                </a:cubicBezTo>
                <a:lnTo>
                  <a:pt x="0" y="198"/>
                </a:lnTo>
                <a:lnTo>
                  <a:pt x="17" y="206"/>
                </a:lnTo>
                <a:lnTo>
                  <a:pt x="0" y="214"/>
                </a:lnTo>
                <a:lnTo>
                  <a:pt x="33" y="229"/>
                </a:lnTo>
                <a:lnTo>
                  <a:pt x="42" y="237"/>
                </a:lnTo>
                <a:lnTo>
                  <a:pt x="50" y="261"/>
                </a:lnTo>
                <a:lnTo>
                  <a:pt x="42" y="269"/>
                </a:lnTo>
                <a:lnTo>
                  <a:pt x="58" y="285"/>
                </a:lnTo>
                <a:cubicBezTo>
                  <a:pt x="58" y="285"/>
                  <a:pt x="58" y="293"/>
                  <a:pt x="66" y="300"/>
                </a:cubicBezTo>
                <a:lnTo>
                  <a:pt x="66" y="316"/>
                </a:lnTo>
                <a:lnTo>
                  <a:pt x="66" y="332"/>
                </a:lnTo>
                <a:lnTo>
                  <a:pt x="66" y="340"/>
                </a:lnTo>
                <a:cubicBezTo>
                  <a:pt x="66" y="340"/>
                  <a:pt x="50" y="348"/>
                  <a:pt x="50" y="356"/>
                </a:cubicBezTo>
                <a:lnTo>
                  <a:pt x="58" y="356"/>
                </a:lnTo>
                <a:lnTo>
                  <a:pt x="74" y="371"/>
                </a:lnTo>
                <a:lnTo>
                  <a:pt x="83" y="387"/>
                </a:lnTo>
                <a:cubicBezTo>
                  <a:pt x="83" y="387"/>
                  <a:pt x="74" y="395"/>
                  <a:pt x="74" y="403"/>
                </a:cubicBezTo>
                <a:lnTo>
                  <a:pt x="91" y="411"/>
                </a:lnTo>
                <a:lnTo>
                  <a:pt x="173" y="411"/>
                </a:lnTo>
                <a:lnTo>
                  <a:pt x="198" y="403"/>
                </a:lnTo>
                <a:cubicBezTo>
                  <a:pt x="198" y="403"/>
                  <a:pt x="215" y="419"/>
                  <a:pt x="223" y="419"/>
                </a:cubicBezTo>
                <a:cubicBezTo>
                  <a:pt x="231" y="427"/>
                  <a:pt x="223" y="435"/>
                  <a:pt x="223" y="435"/>
                </a:cubicBezTo>
                <a:cubicBezTo>
                  <a:pt x="223" y="443"/>
                  <a:pt x="215" y="443"/>
                  <a:pt x="215" y="443"/>
                </a:cubicBezTo>
                <a:lnTo>
                  <a:pt x="223" y="466"/>
                </a:lnTo>
                <a:cubicBezTo>
                  <a:pt x="231" y="474"/>
                  <a:pt x="231" y="466"/>
                  <a:pt x="231" y="466"/>
                </a:cubicBezTo>
                <a:cubicBezTo>
                  <a:pt x="231" y="466"/>
                  <a:pt x="239" y="474"/>
                  <a:pt x="247" y="482"/>
                </a:cubicBezTo>
                <a:cubicBezTo>
                  <a:pt x="247" y="490"/>
                  <a:pt x="256" y="490"/>
                  <a:pt x="256" y="490"/>
                </a:cubicBezTo>
                <a:lnTo>
                  <a:pt x="264" y="490"/>
                </a:lnTo>
                <a:cubicBezTo>
                  <a:pt x="264" y="490"/>
                  <a:pt x="272" y="490"/>
                  <a:pt x="272" y="498"/>
                </a:cubicBezTo>
                <a:lnTo>
                  <a:pt x="297" y="498"/>
                </a:lnTo>
                <a:cubicBezTo>
                  <a:pt x="297" y="498"/>
                  <a:pt x="305" y="498"/>
                  <a:pt x="305" y="490"/>
                </a:cubicBezTo>
                <a:lnTo>
                  <a:pt x="322" y="490"/>
                </a:lnTo>
                <a:lnTo>
                  <a:pt x="322" y="474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68" name="Freeform 60">
            <a:extLst>
              <a:ext uri="{FF2B5EF4-FFF2-40B4-BE49-F238E27FC236}">
                <a16:creationId xmlns:a16="http://schemas.microsoft.com/office/drawing/2014/main" id="{9914752F-38F2-4CA5-461A-65DD321A07FA}"/>
              </a:ext>
            </a:extLst>
          </p:cNvPr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7322776" y="3091747"/>
            <a:ext cx="10867" cy="7245"/>
          </a:xfrm>
          <a:custGeom>
            <a:avLst/>
            <a:gdLst>
              <a:gd name="T0" fmla="*/ 8 w 26"/>
              <a:gd name="T1" fmla="*/ 16 h 17"/>
              <a:gd name="T2" fmla="*/ 0 w 26"/>
              <a:gd name="T3" fmla="*/ 8 h 17"/>
              <a:gd name="T4" fmla="*/ 8 w 26"/>
              <a:gd name="T5" fmla="*/ 0 h 17"/>
              <a:gd name="T6" fmla="*/ 25 w 26"/>
              <a:gd name="T7" fmla="*/ 0 h 17"/>
              <a:gd name="T8" fmla="*/ 8 w 26"/>
              <a:gd name="T9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17">
                <a:moveTo>
                  <a:pt x="8" y="16"/>
                </a:moveTo>
                <a:lnTo>
                  <a:pt x="0" y="8"/>
                </a:lnTo>
                <a:lnTo>
                  <a:pt x="8" y="0"/>
                </a:lnTo>
                <a:lnTo>
                  <a:pt x="25" y="0"/>
                </a:lnTo>
                <a:lnTo>
                  <a:pt x="8" y="1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69" name="Freeform 61">
            <a:extLst>
              <a:ext uri="{FF2B5EF4-FFF2-40B4-BE49-F238E27FC236}">
                <a16:creationId xmlns:a16="http://schemas.microsoft.com/office/drawing/2014/main" id="{518E03B3-DA1C-3135-1153-7E68EE61142E}"/>
              </a:ext>
            </a:extLst>
          </p:cNvPr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7250327" y="3108048"/>
            <a:ext cx="7245" cy="10867"/>
          </a:xfrm>
          <a:custGeom>
            <a:avLst/>
            <a:gdLst>
              <a:gd name="T0" fmla="*/ 8 w 17"/>
              <a:gd name="T1" fmla="*/ 24 h 25"/>
              <a:gd name="T2" fmla="*/ 0 w 17"/>
              <a:gd name="T3" fmla="*/ 8 h 25"/>
              <a:gd name="T4" fmla="*/ 8 w 17"/>
              <a:gd name="T5" fmla="*/ 0 h 25"/>
              <a:gd name="T6" fmla="*/ 16 w 17"/>
              <a:gd name="T7" fmla="*/ 8 h 25"/>
              <a:gd name="T8" fmla="*/ 8 w 17"/>
              <a:gd name="T9" fmla="*/ 16 h 25"/>
              <a:gd name="T10" fmla="*/ 8 w 17"/>
              <a:gd name="T11" fmla="*/ 24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25">
                <a:moveTo>
                  <a:pt x="8" y="24"/>
                </a:moveTo>
                <a:lnTo>
                  <a:pt x="0" y="8"/>
                </a:lnTo>
                <a:lnTo>
                  <a:pt x="8" y="0"/>
                </a:lnTo>
                <a:lnTo>
                  <a:pt x="16" y="8"/>
                </a:lnTo>
                <a:lnTo>
                  <a:pt x="8" y="16"/>
                </a:lnTo>
                <a:lnTo>
                  <a:pt x="8" y="24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70" name="Freeform 62">
            <a:extLst>
              <a:ext uri="{FF2B5EF4-FFF2-40B4-BE49-F238E27FC236}">
                <a16:creationId xmlns:a16="http://schemas.microsoft.com/office/drawing/2014/main" id="{421A868B-FBAA-0F19-A4A2-E9C7AEDAEEC0}"/>
              </a:ext>
            </a:extLst>
          </p:cNvPr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7234027" y="3113482"/>
            <a:ext cx="14490" cy="7245"/>
          </a:xfrm>
          <a:custGeom>
            <a:avLst/>
            <a:gdLst>
              <a:gd name="T0" fmla="*/ 8 w 34"/>
              <a:gd name="T1" fmla="*/ 8 h 16"/>
              <a:gd name="T2" fmla="*/ 0 w 34"/>
              <a:gd name="T3" fmla="*/ 0 h 16"/>
              <a:gd name="T4" fmla="*/ 24 w 34"/>
              <a:gd name="T5" fmla="*/ 0 h 16"/>
              <a:gd name="T6" fmla="*/ 33 w 34"/>
              <a:gd name="T7" fmla="*/ 8 h 16"/>
              <a:gd name="T8" fmla="*/ 24 w 34"/>
              <a:gd name="T9" fmla="*/ 15 h 16"/>
              <a:gd name="T10" fmla="*/ 8 w 34"/>
              <a:gd name="T11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4" h="16">
                <a:moveTo>
                  <a:pt x="8" y="8"/>
                </a:moveTo>
                <a:lnTo>
                  <a:pt x="0" y="0"/>
                </a:lnTo>
                <a:lnTo>
                  <a:pt x="24" y="0"/>
                </a:lnTo>
                <a:lnTo>
                  <a:pt x="33" y="8"/>
                </a:lnTo>
                <a:cubicBezTo>
                  <a:pt x="24" y="8"/>
                  <a:pt x="24" y="15"/>
                  <a:pt x="24" y="15"/>
                </a:cubicBezTo>
                <a:cubicBezTo>
                  <a:pt x="16" y="15"/>
                  <a:pt x="8" y="8"/>
                  <a:pt x="8" y="8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71" name="Freeform 63">
            <a:extLst>
              <a:ext uri="{FF2B5EF4-FFF2-40B4-BE49-F238E27FC236}">
                <a16:creationId xmlns:a16="http://schemas.microsoft.com/office/drawing/2014/main" id="{A46D244E-53FD-FAB0-1B16-75B498272E55}"/>
              </a:ext>
            </a:extLst>
          </p:cNvPr>
          <p:cNvSpPr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7246705" y="3124349"/>
            <a:ext cx="3622" cy="7245"/>
          </a:xfrm>
          <a:custGeom>
            <a:avLst/>
            <a:gdLst>
              <a:gd name="T0" fmla="*/ 0 w 9"/>
              <a:gd name="T1" fmla="*/ 0 h 17"/>
              <a:gd name="T2" fmla="*/ 8 w 9"/>
              <a:gd name="T3" fmla="*/ 0 h 17"/>
              <a:gd name="T4" fmla="*/ 8 w 9"/>
              <a:gd name="T5" fmla="*/ 8 h 17"/>
              <a:gd name="T6" fmla="*/ 0 w 9"/>
              <a:gd name="T7" fmla="*/ 16 h 17"/>
              <a:gd name="T8" fmla="*/ 0 w 9"/>
              <a:gd name="T9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17">
                <a:moveTo>
                  <a:pt x="0" y="0"/>
                </a:moveTo>
                <a:lnTo>
                  <a:pt x="8" y="0"/>
                </a:lnTo>
                <a:lnTo>
                  <a:pt x="8" y="8"/>
                </a:lnTo>
                <a:lnTo>
                  <a:pt x="0" y="16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72" name="Freeform 64">
            <a:extLst>
              <a:ext uri="{FF2B5EF4-FFF2-40B4-BE49-F238E27FC236}">
                <a16:creationId xmlns:a16="http://schemas.microsoft.com/office/drawing/2014/main" id="{C97AB26B-1163-DDDA-9017-5CD03DDFA6DD}"/>
              </a:ext>
            </a:extLst>
          </p:cNvPr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7210480" y="3079069"/>
            <a:ext cx="7245" cy="7245"/>
          </a:xfrm>
          <a:custGeom>
            <a:avLst/>
            <a:gdLst>
              <a:gd name="T0" fmla="*/ 0 w 17"/>
              <a:gd name="T1" fmla="*/ 8 h 17"/>
              <a:gd name="T2" fmla="*/ 8 w 17"/>
              <a:gd name="T3" fmla="*/ 0 h 17"/>
              <a:gd name="T4" fmla="*/ 16 w 17"/>
              <a:gd name="T5" fmla="*/ 8 h 17"/>
              <a:gd name="T6" fmla="*/ 8 w 17"/>
              <a:gd name="T7" fmla="*/ 16 h 17"/>
              <a:gd name="T8" fmla="*/ 0 w 17"/>
              <a:gd name="T9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17">
                <a:moveTo>
                  <a:pt x="0" y="8"/>
                </a:moveTo>
                <a:lnTo>
                  <a:pt x="8" y="0"/>
                </a:lnTo>
                <a:lnTo>
                  <a:pt x="16" y="8"/>
                </a:lnTo>
                <a:lnTo>
                  <a:pt x="8" y="16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73" name="Freeform 65">
            <a:extLst>
              <a:ext uri="{FF2B5EF4-FFF2-40B4-BE49-F238E27FC236}">
                <a16:creationId xmlns:a16="http://schemas.microsoft.com/office/drawing/2014/main" id="{A39C4D55-02E2-EECD-2070-F00AE9CF021F}"/>
              </a:ext>
            </a:extLst>
          </p:cNvPr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7114486" y="2977641"/>
            <a:ext cx="7245" cy="16300"/>
          </a:xfrm>
          <a:custGeom>
            <a:avLst/>
            <a:gdLst>
              <a:gd name="T0" fmla="*/ 9 w 18"/>
              <a:gd name="T1" fmla="*/ 40 h 41"/>
              <a:gd name="T2" fmla="*/ 17 w 18"/>
              <a:gd name="T3" fmla="*/ 32 h 41"/>
              <a:gd name="T4" fmla="*/ 9 w 18"/>
              <a:gd name="T5" fmla="*/ 16 h 41"/>
              <a:gd name="T6" fmla="*/ 17 w 18"/>
              <a:gd name="T7" fmla="*/ 8 h 41"/>
              <a:gd name="T8" fmla="*/ 17 w 18"/>
              <a:gd name="T9" fmla="*/ 0 h 41"/>
              <a:gd name="T10" fmla="*/ 9 w 18"/>
              <a:gd name="T11" fmla="*/ 0 h 41"/>
              <a:gd name="T12" fmla="*/ 0 w 18"/>
              <a:gd name="T13" fmla="*/ 8 h 41"/>
              <a:gd name="T14" fmla="*/ 0 w 18"/>
              <a:gd name="T15" fmla="*/ 16 h 41"/>
              <a:gd name="T16" fmla="*/ 0 w 18"/>
              <a:gd name="T17" fmla="*/ 24 h 41"/>
              <a:gd name="T18" fmla="*/ 9 w 18"/>
              <a:gd name="T19" fmla="*/ 4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8" h="41">
                <a:moveTo>
                  <a:pt x="9" y="40"/>
                </a:moveTo>
                <a:lnTo>
                  <a:pt x="17" y="32"/>
                </a:lnTo>
                <a:cubicBezTo>
                  <a:pt x="17" y="24"/>
                  <a:pt x="9" y="16"/>
                  <a:pt x="9" y="16"/>
                </a:cubicBezTo>
                <a:cubicBezTo>
                  <a:pt x="9" y="8"/>
                  <a:pt x="17" y="8"/>
                  <a:pt x="17" y="8"/>
                </a:cubicBezTo>
                <a:lnTo>
                  <a:pt x="17" y="0"/>
                </a:lnTo>
                <a:lnTo>
                  <a:pt x="9" y="0"/>
                </a:lnTo>
                <a:cubicBezTo>
                  <a:pt x="0" y="0"/>
                  <a:pt x="0" y="8"/>
                  <a:pt x="0" y="8"/>
                </a:cubicBezTo>
                <a:lnTo>
                  <a:pt x="0" y="16"/>
                </a:lnTo>
                <a:lnTo>
                  <a:pt x="0" y="24"/>
                </a:lnTo>
                <a:lnTo>
                  <a:pt x="9" y="4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74" name="Freeform 66">
            <a:extLst>
              <a:ext uri="{FF2B5EF4-FFF2-40B4-BE49-F238E27FC236}">
                <a16:creationId xmlns:a16="http://schemas.microsoft.com/office/drawing/2014/main" id="{99558FA0-C274-FFB5-F0DC-55EB9B0AA9E1}"/>
              </a:ext>
            </a:extLst>
          </p:cNvPr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6915253" y="3079069"/>
            <a:ext cx="27168" cy="32602"/>
          </a:xfrm>
          <a:custGeom>
            <a:avLst/>
            <a:gdLst>
              <a:gd name="T0" fmla="*/ 66 w 67"/>
              <a:gd name="T1" fmla="*/ 8 h 80"/>
              <a:gd name="T2" fmla="*/ 50 w 67"/>
              <a:gd name="T3" fmla="*/ 0 h 80"/>
              <a:gd name="T4" fmla="*/ 41 w 67"/>
              <a:gd name="T5" fmla="*/ 16 h 80"/>
              <a:gd name="T6" fmla="*/ 33 w 67"/>
              <a:gd name="T7" fmla="*/ 39 h 80"/>
              <a:gd name="T8" fmla="*/ 25 w 67"/>
              <a:gd name="T9" fmla="*/ 47 h 80"/>
              <a:gd name="T10" fmla="*/ 25 w 67"/>
              <a:gd name="T11" fmla="*/ 63 h 80"/>
              <a:gd name="T12" fmla="*/ 0 w 67"/>
              <a:gd name="T13" fmla="*/ 71 h 80"/>
              <a:gd name="T14" fmla="*/ 9 w 67"/>
              <a:gd name="T15" fmla="*/ 79 h 80"/>
              <a:gd name="T16" fmla="*/ 25 w 67"/>
              <a:gd name="T17" fmla="*/ 79 h 80"/>
              <a:gd name="T18" fmla="*/ 33 w 67"/>
              <a:gd name="T19" fmla="*/ 63 h 80"/>
              <a:gd name="T20" fmla="*/ 41 w 67"/>
              <a:gd name="T21" fmla="*/ 55 h 80"/>
              <a:gd name="T22" fmla="*/ 66 w 67"/>
              <a:gd name="T23" fmla="*/ 47 h 80"/>
              <a:gd name="T24" fmla="*/ 66 w 67"/>
              <a:gd name="T25" fmla="*/ 8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7" h="80">
                <a:moveTo>
                  <a:pt x="66" y="8"/>
                </a:moveTo>
                <a:lnTo>
                  <a:pt x="50" y="0"/>
                </a:lnTo>
                <a:cubicBezTo>
                  <a:pt x="50" y="8"/>
                  <a:pt x="41" y="16"/>
                  <a:pt x="41" y="16"/>
                </a:cubicBezTo>
                <a:lnTo>
                  <a:pt x="33" y="39"/>
                </a:lnTo>
                <a:lnTo>
                  <a:pt x="25" y="47"/>
                </a:lnTo>
                <a:lnTo>
                  <a:pt x="25" y="63"/>
                </a:lnTo>
                <a:lnTo>
                  <a:pt x="0" y="71"/>
                </a:lnTo>
                <a:cubicBezTo>
                  <a:pt x="0" y="71"/>
                  <a:pt x="0" y="79"/>
                  <a:pt x="9" y="79"/>
                </a:cubicBezTo>
                <a:lnTo>
                  <a:pt x="25" y="79"/>
                </a:lnTo>
                <a:cubicBezTo>
                  <a:pt x="25" y="71"/>
                  <a:pt x="33" y="63"/>
                  <a:pt x="33" y="63"/>
                </a:cubicBezTo>
                <a:lnTo>
                  <a:pt x="41" y="55"/>
                </a:lnTo>
                <a:cubicBezTo>
                  <a:pt x="50" y="55"/>
                  <a:pt x="66" y="55"/>
                  <a:pt x="66" y="47"/>
                </a:cubicBezTo>
                <a:lnTo>
                  <a:pt x="66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75" name="Freeform 67">
            <a:extLst>
              <a:ext uri="{FF2B5EF4-FFF2-40B4-BE49-F238E27FC236}">
                <a16:creationId xmlns:a16="http://schemas.microsoft.com/office/drawing/2014/main" id="{5862DBD7-7922-82C5-F7E5-B886F378219C}"/>
              </a:ext>
            </a:extLst>
          </p:cNvPr>
          <p:cNvSpPr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6888084" y="2629887"/>
            <a:ext cx="295229" cy="512574"/>
          </a:xfrm>
          <a:custGeom>
            <a:avLst/>
            <a:gdLst>
              <a:gd name="T0" fmla="*/ 437 w 718"/>
              <a:gd name="T1" fmla="*/ 111 h 1249"/>
              <a:gd name="T2" fmla="*/ 610 w 718"/>
              <a:gd name="T3" fmla="*/ 0 h 1249"/>
              <a:gd name="T4" fmla="*/ 602 w 718"/>
              <a:gd name="T5" fmla="*/ 119 h 1249"/>
              <a:gd name="T6" fmla="*/ 577 w 718"/>
              <a:gd name="T7" fmla="*/ 285 h 1249"/>
              <a:gd name="T8" fmla="*/ 577 w 718"/>
              <a:gd name="T9" fmla="*/ 466 h 1249"/>
              <a:gd name="T10" fmla="*/ 668 w 718"/>
              <a:gd name="T11" fmla="*/ 514 h 1249"/>
              <a:gd name="T12" fmla="*/ 692 w 718"/>
              <a:gd name="T13" fmla="*/ 624 h 1249"/>
              <a:gd name="T14" fmla="*/ 635 w 718"/>
              <a:gd name="T15" fmla="*/ 648 h 1249"/>
              <a:gd name="T16" fmla="*/ 602 w 718"/>
              <a:gd name="T17" fmla="*/ 671 h 1249"/>
              <a:gd name="T18" fmla="*/ 552 w 718"/>
              <a:gd name="T19" fmla="*/ 671 h 1249"/>
              <a:gd name="T20" fmla="*/ 552 w 718"/>
              <a:gd name="T21" fmla="*/ 774 h 1249"/>
              <a:gd name="T22" fmla="*/ 495 w 718"/>
              <a:gd name="T23" fmla="*/ 806 h 1249"/>
              <a:gd name="T24" fmla="*/ 495 w 718"/>
              <a:gd name="T25" fmla="*/ 837 h 1249"/>
              <a:gd name="T26" fmla="*/ 437 w 718"/>
              <a:gd name="T27" fmla="*/ 885 h 1249"/>
              <a:gd name="T28" fmla="*/ 412 w 718"/>
              <a:gd name="T29" fmla="*/ 892 h 1249"/>
              <a:gd name="T30" fmla="*/ 404 w 718"/>
              <a:gd name="T31" fmla="*/ 948 h 1249"/>
              <a:gd name="T32" fmla="*/ 396 w 718"/>
              <a:gd name="T33" fmla="*/ 971 h 1249"/>
              <a:gd name="T34" fmla="*/ 412 w 718"/>
              <a:gd name="T35" fmla="*/ 1058 h 1249"/>
              <a:gd name="T36" fmla="*/ 355 w 718"/>
              <a:gd name="T37" fmla="*/ 1114 h 1249"/>
              <a:gd name="T38" fmla="*/ 404 w 718"/>
              <a:gd name="T39" fmla="*/ 1161 h 1249"/>
              <a:gd name="T40" fmla="*/ 388 w 718"/>
              <a:gd name="T41" fmla="*/ 1224 h 1249"/>
              <a:gd name="T42" fmla="*/ 264 w 718"/>
              <a:gd name="T43" fmla="*/ 1224 h 1249"/>
              <a:gd name="T44" fmla="*/ 132 w 718"/>
              <a:gd name="T45" fmla="*/ 1200 h 1249"/>
              <a:gd name="T46" fmla="*/ 140 w 718"/>
              <a:gd name="T47" fmla="*/ 1090 h 1249"/>
              <a:gd name="T48" fmla="*/ 99 w 718"/>
              <a:gd name="T49" fmla="*/ 979 h 1249"/>
              <a:gd name="T50" fmla="*/ 33 w 718"/>
              <a:gd name="T51" fmla="*/ 948 h 1249"/>
              <a:gd name="T52" fmla="*/ 33 w 718"/>
              <a:gd name="T53" fmla="*/ 829 h 1249"/>
              <a:gd name="T54" fmla="*/ 66 w 718"/>
              <a:gd name="T55" fmla="*/ 758 h 1249"/>
              <a:gd name="T56" fmla="*/ 25 w 718"/>
              <a:gd name="T57" fmla="*/ 632 h 1249"/>
              <a:gd name="T58" fmla="*/ 50 w 718"/>
              <a:gd name="T59" fmla="*/ 474 h 1249"/>
              <a:gd name="T60" fmla="*/ 124 w 718"/>
              <a:gd name="T61" fmla="*/ 529 h 1249"/>
              <a:gd name="T62" fmla="*/ 157 w 718"/>
              <a:gd name="T63" fmla="*/ 506 h 1249"/>
              <a:gd name="T64" fmla="*/ 149 w 718"/>
              <a:gd name="T65" fmla="*/ 450 h 1249"/>
              <a:gd name="T66" fmla="*/ 157 w 718"/>
              <a:gd name="T67" fmla="*/ 364 h 1249"/>
              <a:gd name="T68" fmla="*/ 190 w 718"/>
              <a:gd name="T69" fmla="*/ 387 h 1249"/>
              <a:gd name="T70" fmla="*/ 190 w 718"/>
              <a:gd name="T71" fmla="*/ 458 h 1249"/>
              <a:gd name="T72" fmla="*/ 239 w 718"/>
              <a:gd name="T73" fmla="*/ 403 h 1249"/>
              <a:gd name="T74" fmla="*/ 256 w 718"/>
              <a:gd name="T75" fmla="*/ 474 h 1249"/>
              <a:gd name="T76" fmla="*/ 297 w 718"/>
              <a:gd name="T77" fmla="*/ 474 h 1249"/>
              <a:gd name="T78" fmla="*/ 322 w 718"/>
              <a:gd name="T79" fmla="*/ 498 h 1249"/>
              <a:gd name="T80" fmla="*/ 272 w 718"/>
              <a:gd name="T81" fmla="*/ 371 h 1249"/>
              <a:gd name="T82" fmla="*/ 355 w 718"/>
              <a:gd name="T83" fmla="*/ 324 h 1249"/>
              <a:gd name="T84" fmla="*/ 412 w 718"/>
              <a:gd name="T85" fmla="*/ 300 h 1249"/>
              <a:gd name="T86" fmla="*/ 346 w 718"/>
              <a:gd name="T87" fmla="*/ 300 h 1249"/>
              <a:gd name="T88" fmla="*/ 272 w 718"/>
              <a:gd name="T89" fmla="*/ 308 h 1249"/>
              <a:gd name="T90" fmla="*/ 198 w 718"/>
              <a:gd name="T91" fmla="*/ 324 h 1249"/>
              <a:gd name="T92" fmla="*/ 149 w 718"/>
              <a:gd name="T93" fmla="*/ 364 h 1249"/>
              <a:gd name="T94" fmla="*/ 107 w 718"/>
              <a:gd name="T95" fmla="*/ 419 h 1249"/>
              <a:gd name="T96" fmla="*/ 132 w 718"/>
              <a:gd name="T97" fmla="*/ 450 h 1249"/>
              <a:gd name="T98" fmla="*/ 99 w 718"/>
              <a:gd name="T99" fmla="*/ 466 h 1249"/>
              <a:gd name="T100" fmla="*/ 58 w 718"/>
              <a:gd name="T101" fmla="*/ 427 h 1249"/>
              <a:gd name="T102" fmla="*/ 83 w 718"/>
              <a:gd name="T103" fmla="*/ 340 h 1249"/>
              <a:gd name="T104" fmla="*/ 165 w 718"/>
              <a:gd name="T105" fmla="*/ 269 h 1249"/>
              <a:gd name="T106" fmla="*/ 264 w 718"/>
              <a:gd name="T107" fmla="*/ 261 h 1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18" h="1249">
                <a:moveTo>
                  <a:pt x="313" y="261"/>
                </a:moveTo>
                <a:lnTo>
                  <a:pt x="363" y="237"/>
                </a:lnTo>
                <a:lnTo>
                  <a:pt x="388" y="190"/>
                </a:lnTo>
                <a:lnTo>
                  <a:pt x="421" y="135"/>
                </a:lnTo>
                <a:lnTo>
                  <a:pt x="437" y="111"/>
                </a:lnTo>
                <a:lnTo>
                  <a:pt x="453" y="71"/>
                </a:lnTo>
                <a:lnTo>
                  <a:pt x="503" y="56"/>
                </a:lnTo>
                <a:cubicBezTo>
                  <a:pt x="503" y="56"/>
                  <a:pt x="536" y="48"/>
                  <a:pt x="544" y="48"/>
                </a:cubicBezTo>
                <a:cubicBezTo>
                  <a:pt x="552" y="40"/>
                  <a:pt x="602" y="0"/>
                  <a:pt x="602" y="0"/>
                </a:cubicBezTo>
                <a:lnTo>
                  <a:pt x="610" y="0"/>
                </a:lnTo>
                <a:lnTo>
                  <a:pt x="585" y="40"/>
                </a:lnTo>
                <a:lnTo>
                  <a:pt x="585" y="64"/>
                </a:lnTo>
                <a:lnTo>
                  <a:pt x="585" y="79"/>
                </a:lnTo>
                <a:lnTo>
                  <a:pt x="593" y="111"/>
                </a:lnTo>
                <a:lnTo>
                  <a:pt x="602" y="119"/>
                </a:lnTo>
                <a:lnTo>
                  <a:pt x="602" y="150"/>
                </a:lnTo>
                <a:lnTo>
                  <a:pt x="602" y="182"/>
                </a:lnTo>
                <a:cubicBezTo>
                  <a:pt x="602" y="182"/>
                  <a:pt x="626" y="198"/>
                  <a:pt x="618" y="206"/>
                </a:cubicBezTo>
                <a:cubicBezTo>
                  <a:pt x="602" y="213"/>
                  <a:pt x="585" y="237"/>
                  <a:pt x="585" y="237"/>
                </a:cubicBezTo>
                <a:lnTo>
                  <a:pt x="577" y="285"/>
                </a:lnTo>
                <a:lnTo>
                  <a:pt x="544" y="324"/>
                </a:lnTo>
                <a:lnTo>
                  <a:pt x="552" y="371"/>
                </a:lnTo>
                <a:lnTo>
                  <a:pt x="561" y="411"/>
                </a:lnTo>
                <a:lnTo>
                  <a:pt x="552" y="442"/>
                </a:lnTo>
                <a:lnTo>
                  <a:pt x="577" y="466"/>
                </a:lnTo>
                <a:lnTo>
                  <a:pt x="569" y="482"/>
                </a:lnTo>
                <a:lnTo>
                  <a:pt x="577" y="506"/>
                </a:lnTo>
                <a:lnTo>
                  <a:pt x="602" y="521"/>
                </a:lnTo>
                <a:lnTo>
                  <a:pt x="626" y="521"/>
                </a:lnTo>
                <a:cubicBezTo>
                  <a:pt x="635" y="521"/>
                  <a:pt x="659" y="514"/>
                  <a:pt x="668" y="514"/>
                </a:cubicBezTo>
                <a:cubicBezTo>
                  <a:pt x="676" y="514"/>
                  <a:pt x="692" y="521"/>
                  <a:pt x="692" y="521"/>
                </a:cubicBezTo>
                <a:lnTo>
                  <a:pt x="717" y="553"/>
                </a:lnTo>
                <a:lnTo>
                  <a:pt x="717" y="577"/>
                </a:lnTo>
                <a:cubicBezTo>
                  <a:pt x="717" y="577"/>
                  <a:pt x="709" y="592"/>
                  <a:pt x="709" y="600"/>
                </a:cubicBezTo>
                <a:cubicBezTo>
                  <a:pt x="701" y="608"/>
                  <a:pt x="692" y="624"/>
                  <a:pt x="692" y="624"/>
                </a:cubicBezTo>
                <a:lnTo>
                  <a:pt x="676" y="640"/>
                </a:lnTo>
                <a:lnTo>
                  <a:pt x="668" y="664"/>
                </a:lnTo>
                <a:lnTo>
                  <a:pt x="659" y="679"/>
                </a:lnTo>
                <a:lnTo>
                  <a:pt x="643" y="664"/>
                </a:lnTo>
                <a:cubicBezTo>
                  <a:pt x="643" y="664"/>
                  <a:pt x="643" y="640"/>
                  <a:pt x="635" y="648"/>
                </a:cubicBezTo>
                <a:cubicBezTo>
                  <a:pt x="626" y="648"/>
                  <a:pt x="618" y="664"/>
                  <a:pt x="618" y="664"/>
                </a:cubicBezTo>
                <a:lnTo>
                  <a:pt x="626" y="679"/>
                </a:lnTo>
                <a:cubicBezTo>
                  <a:pt x="626" y="679"/>
                  <a:pt x="635" y="703"/>
                  <a:pt x="626" y="703"/>
                </a:cubicBezTo>
                <a:lnTo>
                  <a:pt x="610" y="703"/>
                </a:lnTo>
                <a:lnTo>
                  <a:pt x="602" y="671"/>
                </a:lnTo>
                <a:lnTo>
                  <a:pt x="577" y="664"/>
                </a:lnTo>
                <a:lnTo>
                  <a:pt x="593" y="632"/>
                </a:lnTo>
                <a:lnTo>
                  <a:pt x="577" y="624"/>
                </a:lnTo>
                <a:cubicBezTo>
                  <a:pt x="577" y="624"/>
                  <a:pt x="569" y="624"/>
                  <a:pt x="561" y="632"/>
                </a:cubicBezTo>
                <a:cubicBezTo>
                  <a:pt x="561" y="640"/>
                  <a:pt x="552" y="671"/>
                  <a:pt x="552" y="671"/>
                </a:cubicBezTo>
                <a:lnTo>
                  <a:pt x="544" y="703"/>
                </a:lnTo>
                <a:cubicBezTo>
                  <a:pt x="544" y="703"/>
                  <a:pt x="552" y="711"/>
                  <a:pt x="552" y="719"/>
                </a:cubicBezTo>
                <a:cubicBezTo>
                  <a:pt x="552" y="727"/>
                  <a:pt x="544" y="735"/>
                  <a:pt x="544" y="735"/>
                </a:cubicBezTo>
                <a:lnTo>
                  <a:pt x="544" y="750"/>
                </a:lnTo>
                <a:cubicBezTo>
                  <a:pt x="544" y="750"/>
                  <a:pt x="552" y="766"/>
                  <a:pt x="552" y="774"/>
                </a:cubicBezTo>
                <a:cubicBezTo>
                  <a:pt x="552" y="774"/>
                  <a:pt x="552" y="782"/>
                  <a:pt x="544" y="782"/>
                </a:cubicBezTo>
                <a:lnTo>
                  <a:pt x="544" y="798"/>
                </a:lnTo>
                <a:cubicBezTo>
                  <a:pt x="536" y="798"/>
                  <a:pt x="528" y="806"/>
                  <a:pt x="528" y="806"/>
                </a:cubicBezTo>
                <a:lnTo>
                  <a:pt x="511" y="814"/>
                </a:lnTo>
                <a:cubicBezTo>
                  <a:pt x="511" y="814"/>
                  <a:pt x="503" y="806"/>
                  <a:pt x="495" y="806"/>
                </a:cubicBezTo>
                <a:cubicBezTo>
                  <a:pt x="486" y="806"/>
                  <a:pt x="486" y="798"/>
                  <a:pt x="478" y="806"/>
                </a:cubicBezTo>
                <a:lnTo>
                  <a:pt x="470" y="814"/>
                </a:lnTo>
                <a:lnTo>
                  <a:pt x="478" y="821"/>
                </a:lnTo>
                <a:lnTo>
                  <a:pt x="495" y="821"/>
                </a:lnTo>
                <a:lnTo>
                  <a:pt x="495" y="837"/>
                </a:lnTo>
                <a:cubicBezTo>
                  <a:pt x="495" y="837"/>
                  <a:pt x="503" y="837"/>
                  <a:pt x="503" y="845"/>
                </a:cubicBezTo>
                <a:cubicBezTo>
                  <a:pt x="495" y="853"/>
                  <a:pt x="486" y="861"/>
                  <a:pt x="486" y="861"/>
                </a:cubicBezTo>
                <a:lnTo>
                  <a:pt x="470" y="877"/>
                </a:lnTo>
                <a:lnTo>
                  <a:pt x="453" y="885"/>
                </a:lnTo>
                <a:cubicBezTo>
                  <a:pt x="453" y="885"/>
                  <a:pt x="437" y="877"/>
                  <a:pt x="437" y="885"/>
                </a:cubicBezTo>
                <a:lnTo>
                  <a:pt x="421" y="885"/>
                </a:lnTo>
                <a:cubicBezTo>
                  <a:pt x="421" y="892"/>
                  <a:pt x="437" y="908"/>
                  <a:pt x="437" y="908"/>
                </a:cubicBezTo>
                <a:lnTo>
                  <a:pt x="404" y="877"/>
                </a:lnTo>
                <a:lnTo>
                  <a:pt x="388" y="877"/>
                </a:lnTo>
                <a:lnTo>
                  <a:pt x="412" y="892"/>
                </a:lnTo>
                <a:lnTo>
                  <a:pt x="421" y="908"/>
                </a:lnTo>
                <a:lnTo>
                  <a:pt x="437" y="916"/>
                </a:lnTo>
                <a:lnTo>
                  <a:pt x="429" y="924"/>
                </a:lnTo>
                <a:lnTo>
                  <a:pt x="421" y="932"/>
                </a:lnTo>
                <a:lnTo>
                  <a:pt x="404" y="948"/>
                </a:lnTo>
                <a:cubicBezTo>
                  <a:pt x="404" y="948"/>
                  <a:pt x="396" y="956"/>
                  <a:pt x="388" y="956"/>
                </a:cubicBezTo>
                <a:lnTo>
                  <a:pt x="363" y="956"/>
                </a:lnTo>
                <a:lnTo>
                  <a:pt x="371" y="964"/>
                </a:lnTo>
                <a:lnTo>
                  <a:pt x="388" y="971"/>
                </a:lnTo>
                <a:cubicBezTo>
                  <a:pt x="388" y="971"/>
                  <a:pt x="396" y="964"/>
                  <a:pt x="396" y="971"/>
                </a:cubicBezTo>
                <a:cubicBezTo>
                  <a:pt x="388" y="971"/>
                  <a:pt x="388" y="971"/>
                  <a:pt x="388" y="979"/>
                </a:cubicBezTo>
                <a:lnTo>
                  <a:pt x="388" y="1019"/>
                </a:lnTo>
                <a:lnTo>
                  <a:pt x="404" y="1042"/>
                </a:lnTo>
                <a:lnTo>
                  <a:pt x="412" y="1050"/>
                </a:lnTo>
                <a:lnTo>
                  <a:pt x="412" y="1058"/>
                </a:lnTo>
                <a:lnTo>
                  <a:pt x="412" y="1066"/>
                </a:lnTo>
                <a:lnTo>
                  <a:pt x="412" y="1082"/>
                </a:lnTo>
                <a:cubicBezTo>
                  <a:pt x="412" y="1082"/>
                  <a:pt x="404" y="1090"/>
                  <a:pt x="396" y="1090"/>
                </a:cubicBezTo>
                <a:lnTo>
                  <a:pt x="363" y="1098"/>
                </a:lnTo>
                <a:lnTo>
                  <a:pt x="355" y="1114"/>
                </a:lnTo>
                <a:lnTo>
                  <a:pt x="371" y="1121"/>
                </a:lnTo>
                <a:lnTo>
                  <a:pt x="371" y="1137"/>
                </a:lnTo>
                <a:cubicBezTo>
                  <a:pt x="371" y="1145"/>
                  <a:pt x="363" y="1153"/>
                  <a:pt x="363" y="1153"/>
                </a:cubicBezTo>
                <a:lnTo>
                  <a:pt x="379" y="1153"/>
                </a:lnTo>
                <a:lnTo>
                  <a:pt x="404" y="1161"/>
                </a:lnTo>
                <a:lnTo>
                  <a:pt x="437" y="1200"/>
                </a:lnTo>
                <a:lnTo>
                  <a:pt x="429" y="1232"/>
                </a:lnTo>
                <a:lnTo>
                  <a:pt x="412" y="1248"/>
                </a:lnTo>
                <a:lnTo>
                  <a:pt x="396" y="1216"/>
                </a:lnTo>
                <a:cubicBezTo>
                  <a:pt x="396" y="1216"/>
                  <a:pt x="388" y="1216"/>
                  <a:pt x="388" y="1224"/>
                </a:cubicBezTo>
                <a:cubicBezTo>
                  <a:pt x="379" y="1224"/>
                  <a:pt x="355" y="1240"/>
                  <a:pt x="355" y="1240"/>
                </a:cubicBezTo>
                <a:cubicBezTo>
                  <a:pt x="355" y="1240"/>
                  <a:pt x="338" y="1248"/>
                  <a:pt x="330" y="1248"/>
                </a:cubicBezTo>
                <a:lnTo>
                  <a:pt x="322" y="1248"/>
                </a:lnTo>
                <a:lnTo>
                  <a:pt x="297" y="1240"/>
                </a:lnTo>
                <a:lnTo>
                  <a:pt x="264" y="1224"/>
                </a:lnTo>
                <a:cubicBezTo>
                  <a:pt x="264" y="1224"/>
                  <a:pt x="248" y="1216"/>
                  <a:pt x="239" y="1216"/>
                </a:cubicBezTo>
                <a:cubicBezTo>
                  <a:pt x="231" y="1216"/>
                  <a:pt x="190" y="1200"/>
                  <a:pt x="190" y="1200"/>
                </a:cubicBezTo>
                <a:lnTo>
                  <a:pt x="173" y="1208"/>
                </a:lnTo>
                <a:lnTo>
                  <a:pt x="149" y="1208"/>
                </a:lnTo>
                <a:lnTo>
                  <a:pt x="132" y="1200"/>
                </a:lnTo>
                <a:lnTo>
                  <a:pt x="116" y="1177"/>
                </a:lnTo>
                <a:lnTo>
                  <a:pt x="108" y="1161"/>
                </a:lnTo>
                <a:lnTo>
                  <a:pt x="132" y="1145"/>
                </a:lnTo>
                <a:cubicBezTo>
                  <a:pt x="140" y="1145"/>
                  <a:pt x="140" y="1137"/>
                  <a:pt x="140" y="1137"/>
                </a:cubicBezTo>
                <a:lnTo>
                  <a:pt x="140" y="1090"/>
                </a:lnTo>
                <a:cubicBezTo>
                  <a:pt x="140" y="1082"/>
                  <a:pt x="149" y="1074"/>
                  <a:pt x="149" y="1074"/>
                </a:cubicBezTo>
                <a:cubicBezTo>
                  <a:pt x="149" y="1074"/>
                  <a:pt x="149" y="1050"/>
                  <a:pt x="140" y="1042"/>
                </a:cubicBezTo>
                <a:lnTo>
                  <a:pt x="140" y="1011"/>
                </a:lnTo>
                <a:lnTo>
                  <a:pt x="124" y="987"/>
                </a:lnTo>
                <a:cubicBezTo>
                  <a:pt x="124" y="987"/>
                  <a:pt x="116" y="987"/>
                  <a:pt x="99" y="979"/>
                </a:cubicBezTo>
                <a:cubicBezTo>
                  <a:pt x="83" y="971"/>
                  <a:pt x="58" y="964"/>
                  <a:pt x="58" y="964"/>
                </a:cubicBezTo>
                <a:lnTo>
                  <a:pt x="58" y="940"/>
                </a:lnTo>
                <a:lnTo>
                  <a:pt x="50" y="932"/>
                </a:lnTo>
                <a:cubicBezTo>
                  <a:pt x="50" y="932"/>
                  <a:pt x="33" y="932"/>
                  <a:pt x="33" y="940"/>
                </a:cubicBezTo>
                <a:lnTo>
                  <a:pt x="33" y="948"/>
                </a:lnTo>
                <a:lnTo>
                  <a:pt x="17" y="940"/>
                </a:lnTo>
                <a:cubicBezTo>
                  <a:pt x="17" y="940"/>
                  <a:pt x="0" y="916"/>
                  <a:pt x="0" y="908"/>
                </a:cubicBezTo>
                <a:cubicBezTo>
                  <a:pt x="9" y="908"/>
                  <a:pt x="17" y="900"/>
                  <a:pt x="17" y="892"/>
                </a:cubicBezTo>
                <a:cubicBezTo>
                  <a:pt x="25" y="885"/>
                  <a:pt x="33" y="869"/>
                  <a:pt x="33" y="861"/>
                </a:cubicBezTo>
                <a:lnTo>
                  <a:pt x="33" y="829"/>
                </a:lnTo>
                <a:cubicBezTo>
                  <a:pt x="33" y="829"/>
                  <a:pt x="25" y="821"/>
                  <a:pt x="33" y="821"/>
                </a:cubicBezTo>
                <a:lnTo>
                  <a:pt x="42" y="821"/>
                </a:lnTo>
                <a:cubicBezTo>
                  <a:pt x="50" y="814"/>
                  <a:pt x="75" y="798"/>
                  <a:pt x="75" y="798"/>
                </a:cubicBezTo>
                <a:lnTo>
                  <a:pt x="75" y="782"/>
                </a:lnTo>
                <a:cubicBezTo>
                  <a:pt x="75" y="782"/>
                  <a:pt x="66" y="766"/>
                  <a:pt x="66" y="758"/>
                </a:cubicBezTo>
                <a:lnTo>
                  <a:pt x="66" y="750"/>
                </a:lnTo>
                <a:cubicBezTo>
                  <a:pt x="66" y="735"/>
                  <a:pt x="33" y="703"/>
                  <a:pt x="33" y="703"/>
                </a:cubicBezTo>
                <a:lnTo>
                  <a:pt x="17" y="703"/>
                </a:lnTo>
                <a:lnTo>
                  <a:pt x="17" y="664"/>
                </a:lnTo>
                <a:lnTo>
                  <a:pt x="25" y="632"/>
                </a:lnTo>
                <a:lnTo>
                  <a:pt x="17" y="577"/>
                </a:lnTo>
                <a:lnTo>
                  <a:pt x="17" y="498"/>
                </a:lnTo>
                <a:lnTo>
                  <a:pt x="33" y="466"/>
                </a:lnTo>
                <a:lnTo>
                  <a:pt x="42" y="450"/>
                </a:lnTo>
                <a:lnTo>
                  <a:pt x="50" y="474"/>
                </a:lnTo>
                <a:cubicBezTo>
                  <a:pt x="50" y="474"/>
                  <a:pt x="42" y="482"/>
                  <a:pt x="50" y="490"/>
                </a:cubicBezTo>
                <a:lnTo>
                  <a:pt x="75" y="490"/>
                </a:lnTo>
                <a:lnTo>
                  <a:pt x="83" y="498"/>
                </a:lnTo>
                <a:lnTo>
                  <a:pt x="107" y="514"/>
                </a:lnTo>
                <a:lnTo>
                  <a:pt x="124" y="529"/>
                </a:lnTo>
                <a:lnTo>
                  <a:pt x="140" y="537"/>
                </a:lnTo>
                <a:lnTo>
                  <a:pt x="157" y="537"/>
                </a:lnTo>
                <a:lnTo>
                  <a:pt x="165" y="529"/>
                </a:lnTo>
                <a:lnTo>
                  <a:pt x="165" y="521"/>
                </a:lnTo>
                <a:lnTo>
                  <a:pt x="157" y="506"/>
                </a:lnTo>
                <a:cubicBezTo>
                  <a:pt x="157" y="498"/>
                  <a:pt x="149" y="490"/>
                  <a:pt x="149" y="490"/>
                </a:cubicBezTo>
                <a:lnTo>
                  <a:pt x="173" y="474"/>
                </a:lnTo>
                <a:lnTo>
                  <a:pt x="182" y="458"/>
                </a:lnTo>
                <a:cubicBezTo>
                  <a:pt x="182" y="458"/>
                  <a:pt x="182" y="450"/>
                  <a:pt x="173" y="450"/>
                </a:cubicBezTo>
                <a:lnTo>
                  <a:pt x="149" y="450"/>
                </a:lnTo>
                <a:lnTo>
                  <a:pt x="140" y="442"/>
                </a:lnTo>
                <a:lnTo>
                  <a:pt x="132" y="427"/>
                </a:lnTo>
                <a:cubicBezTo>
                  <a:pt x="132" y="427"/>
                  <a:pt x="132" y="411"/>
                  <a:pt x="140" y="411"/>
                </a:cubicBezTo>
                <a:cubicBezTo>
                  <a:pt x="140" y="403"/>
                  <a:pt x="149" y="379"/>
                  <a:pt x="149" y="379"/>
                </a:cubicBezTo>
                <a:cubicBezTo>
                  <a:pt x="149" y="379"/>
                  <a:pt x="140" y="364"/>
                  <a:pt x="157" y="364"/>
                </a:cubicBezTo>
                <a:lnTo>
                  <a:pt x="182" y="364"/>
                </a:lnTo>
                <a:cubicBezTo>
                  <a:pt x="182" y="364"/>
                  <a:pt x="190" y="348"/>
                  <a:pt x="198" y="348"/>
                </a:cubicBezTo>
                <a:cubicBezTo>
                  <a:pt x="198" y="348"/>
                  <a:pt x="206" y="340"/>
                  <a:pt x="206" y="348"/>
                </a:cubicBezTo>
                <a:cubicBezTo>
                  <a:pt x="215" y="348"/>
                  <a:pt x="206" y="371"/>
                  <a:pt x="206" y="371"/>
                </a:cubicBezTo>
                <a:lnTo>
                  <a:pt x="190" y="387"/>
                </a:lnTo>
                <a:cubicBezTo>
                  <a:pt x="190" y="387"/>
                  <a:pt x="198" y="395"/>
                  <a:pt x="198" y="403"/>
                </a:cubicBezTo>
                <a:lnTo>
                  <a:pt x="198" y="419"/>
                </a:lnTo>
                <a:lnTo>
                  <a:pt x="182" y="442"/>
                </a:lnTo>
                <a:lnTo>
                  <a:pt x="190" y="442"/>
                </a:lnTo>
                <a:lnTo>
                  <a:pt x="190" y="458"/>
                </a:lnTo>
                <a:lnTo>
                  <a:pt x="215" y="450"/>
                </a:lnTo>
                <a:lnTo>
                  <a:pt x="206" y="442"/>
                </a:lnTo>
                <a:cubicBezTo>
                  <a:pt x="206" y="442"/>
                  <a:pt x="198" y="435"/>
                  <a:pt x="206" y="427"/>
                </a:cubicBezTo>
                <a:cubicBezTo>
                  <a:pt x="215" y="419"/>
                  <a:pt x="215" y="411"/>
                  <a:pt x="223" y="411"/>
                </a:cubicBezTo>
                <a:cubicBezTo>
                  <a:pt x="223" y="403"/>
                  <a:pt x="223" y="403"/>
                  <a:pt x="239" y="403"/>
                </a:cubicBezTo>
                <a:cubicBezTo>
                  <a:pt x="247" y="403"/>
                  <a:pt x="264" y="419"/>
                  <a:pt x="264" y="419"/>
                </a:cubicBezTo>
                <a:cubicBezTo>
                  <a:pt x="264" y="419"/>
                  <a:pt x="272" y="427"/>
                  <a:pt x="264" y="427"/>
                </a:cubicBezTo>
                <a:cubicBezTo>
                  <a:pt x="264" y="435"/>
                  <a:pt x="256" y="442"/>
                  <a:pt x="256" y="442"/>
                </a:cubicBezTo>
                <a:lnTo>
                  <a:pt x="272" y="466"/>
                </a:lnTo>
                <a:cubicBezTo>
                  <a:pt x="272" y="466"/>
                  <a:pt x="264" y="466"/>
                  <a:pt x="256" y="474"/>
                </a:cubicBezTo>
                <a:lnTo>
                  <a:pt x="256" y="482"/>
                </a:lnTo>
                <a:cubicBezTo>
                  <a:pt x="256" y="490"/>
                  <a:pt x="231" y="498"/>
                  <a:pt x="256" y="498"/>
                </a:cubicBezTo>
                <a:cubicBezTo>
                  <a:pt x="272" y="498"/>
                  <a:pt x="272" y="498"/>
                  <a:pt x="272" y="490"/>
                </a:cubicBezTo>
                <a:lnTo>
                  <a:pt x="272" y="474"/>
                </a:lnTo>
                <a:lnTo>
                  <a:pt x="297" y="474"/>
                </a:lnTo>
                <a:lnTo>
                  <a:pt x="305" y="482"/>
                </a:lnTo>
                <a:lnTo>
                  <a:pt x="305" y="498"/>
                </a:lnTo>
                <a:lnTo>
                  <a:pt x="305" y="506"/>
                </a:lnTo>
                <a:cubicBezTo>
                  <a:pt x="305" y="506"/>
                  <a:pt x="322" y="521"/>
                  <a:pt x="322" y="514"/>
                </a:cubicBezTo>
                <a:cubicBezTo>
                  <a:pt x="322" y="506"/>
                  <a:pt x="330" y="514"/>
                  <a:pt x="322" y="498"/>
                </a:cubicBezTo>
                <a:cubicBezTo>
                  <a:pt x="313" y="490"/>
                  <a:pt x="313" y="474"/>
                  <a:pt x="313" y="474"/>
                </a:cubicBezTo>
                <a:lnTo>
                  <a:pt x="313" y="458"/>
                </a:lnTo>
                <a:cubicBezTo>
                  <a:pt x="305" y="450"/>
                  <a:pt x="297" y="450"/>
                  <a:pt x="297" y="442"/>
                </a:cubicBezTo>
                <a:lnTo>
                  <a:pt x="272" y="419"/>
                </a:lnTo>
                <a:lnTo>
                  <a:pt x="272" y="371"/>
                </a:lnTo>
                <a:lnTo>
                  <a:pt x="280" y="356"/>
                </a:lnTo>
                <a:cubicBezTo>
                  <a:pt x="280" y="356"/>
                  <a:pt x="280" y="340"/>
                  <a:pt x="289" y="332"/>
                </a:cubicBezTo>
                <a:cubicBezTo>
                  <a:pt x="297" y="332"/>
                  <a:pt x="289" y="324"/>
                  <a:pt x="297" y="324"/>
                </a:cubicBezTo>
                <a:cubicBezTo>
                  <a:pt x="313" y="316"/>
                  <a:pt x="305" y="316"/>
                  <a:pt x="322" y="316"/>
                </a:cubicBezTo>
                <a:cubicBezTo>
                  <a:pt x="330" y="316"/>
                  <a:pt x="346" y="324"/>
                  <a:pt x="355" y="324"/>
                </a:cubicBezTo>
                <a:lnTo>
                  <a:pt x="379" y="332"/>
                </a:lnTo>
                <a:lnTo>
                  <a:pt x="379" y="324"/>
                </a:lnTo>
                <a:cubicBezTo>
                  <a:pt x="387" y="324"/>
                  <a:pt x="387" y="308"/>
                  <a:pt x="387" y="316"/>
                </a:cubicBezTo>
                <a:cubicBezTo>
                  <a:pt x="396" y="316"/>
                  <a:pt x="396" y="324"/>
                  <a:pt x="404" y="316"/>
                </a:cubicBezTo>
                <a:cubicBezTo>
                  <a:pt x="412" y="308"/>
                  <a:pt x="412" y="300"/>
                  <a:pt x="412" y="300"/>
                </a:cubicBezTo>
                <a:cubicBezTo>
                  <a:pt x="412" y="300"/>
                  <a:pt x="420" y="300"/>
                  <a:pt x="429" y="292"/>
                </a:cubicBezTo>
                <a:cubicBezTo>
                  <a:pt x="429" y="292"/>
                  <a:pt x="420" y="285"/>
                  <a:pt x="412" y="285"/>
                </a:cubicBezTo>
                <a:cubicBezTo>
                  <a:pt x="412" y="285"/>
                  <a:pt x="396" y="285"/>
                  <a:pt x="387" y="292"/>
                </a:cubicBezTo>
                <a:lnTo>
                  <a:pt x="371" y="292"/>
                </a:lnTo>
                <a:cubicBezTo>
                  <a:pt x="363" y="300"/>
                  <a:pt x="363" y="300"/>
                  <a:pt x="346" y="300"/>
                </a:cubicBezTo>
                <a:cubicBezTo>
                  <a:pt x="330" y="300"/>
                  <a:pt x="330" y="300"/>
                  <a:pt x="322" y="308"/>
                </a:cubicBezTo>
                <a:cubicBezTo>
                  <a:pt x="313" y="316"/>
                  <a:pt x="305" y="316"/>
                  <a:pt x="305" y="316"/>
                </a:cubicBezTo>
                <a:lnTo>
                  <a:pt x="297" y="316"/>
                </a:lnTo>
                <a:lnTo>
                  <a:pt x="280" y="316"/>
                </a:lnTo>
                <a:lnTo>
                  <a:pt x="272" y="308"/>
                </a:lnTo>
                <a:lnTo>
                  <a:pt x="264" y="308"/>
                </a:lnTo>
                <a:cubicBezTo>
                  <a:pt x="256" y="308"/>
                  <a:pt x="247" y="316"/>
                  <a:pt x="247" y="316"/>
                </a:cubicBezTo>
                <a:lnTo>
                  <a:pt x="231" y="316"/>
                </a:lnTo>
                <a:lnTo>
                  <a:pt x="215" y="316"/>
                </a:lnTo>
                <a:cubicBezTo>
                  <a:pt x="215" y="324"/>
                  <a:pt x="198" y="324"/>
                  <a:pt x="198" y="324"/>
                </a:cubicBezTo>
                <a:lnTo>
                  <a:pt x="190" y="324"/>
                </a:lnTo>
                <a:cubicBezTo>
                  <a:pt x="190" y="332"/>
                  <a:pt x="198" y="332"/>
                  <a:pt x="190" y="340"/>
                </a:cubicBezTo>
                <a:lnTo>
                  <a:pt x="165" y="340"/>
                </a:lnTo>
                <a:lnTo>
                  <a:pt x="157" y="348"/>
                </a:lnTo>
                <a:lnTo>
                  <a:pt x="149" y="364"/>
                </a:lnTo>
                <a:lnTo>
                  <a:pt x="140" y="364"/>
                </a:lnTo>
                <a:lnTo>
                  <a:pt x="132" y="387"/>
                </a:lnTo>
                <a:lnTo>
                  <a:pt x="132" y="395"/>
                </a:lnTo>
                <a:lnTo>
                  <a:pt x="116" y="411"/>
                </a:lnTo>
                <a:lnTo>
                  <a:pt x="107" y="419"/>
                </a:lnTo>
                <a:lnTo>
                  <a:pt x="116" y="427"/>
                </a:lnTo>
                <a:lnTo>
                  <a:pt x="116" y="435"/>
                </a:lnTo>
                <a:lnTo>
                  <a:pt x="107" y="442"/>
                </a:lnTo>
                <a:lnTo>
                  <a:pt x="116" y="458"/>
                </a:lnTo>
                <a:lnTo>
                  <a:pt x="132" y="450"/>
                </a:lnTo>
                <a:lnTo>
                  <a:pt x="140" y="466"/>
                </a:lnTo>
                <a:lnTo>
                  <a:pt x="132" y="482"/>
                </a:lnTo>
                <a:cubicBezTo>
                  <a:pt x="132" y="482"/>
                  <a:pt x="124" y="490"/>
                  <a:pt x="116" y="490"/>
                </a:cubicBezTo>
                <a:lnTo>
                  <a:pt x="107" y="482"/>
                </a:lnTo>
                <a:lnTo>
                  <a:pt x="99" y="466"/>
                </a:lnTo>
                <a:lnTo>
                  <a:pt x="99" y="450"/>
                </a:lnTo>
                <a:lnTo>
                  <a:pt x="75" y="458"/>
                </a:lnTo>
                <a:lnTo>
                  <a:pt x="75" y="450"/>
                </a:lnTo>
                <a:lnTo>
                  <a:pt x="66" y="442"/>
                </a:lnTo>
                <a:cubicBezTo>
                  <a:pt x="66" y="435"/>
                  <a:pt x="58" y="427"/>
                  <a:pt x="58" y="427"/>
                </a:cubicBezTo>
                <a:lnTo>
                  <a:pt x="42" y="403"/>
                </a:lnTo>
                <a:lnTo>
                  <a:pt x="50" y="403"/>
                </a:lnTo>
                <a:cubicBezTo>
                  <a:pt x="50" y="395"/>
                  <a:pt x="50" y="395"/>
                  <a:pt x="58" y="387"/>
                </a:cubicBezTo>
                <a:cubicBezTo>
                  <a:pt x="58" y="379"/>
                  <a:pt x="75" y="364"/>
                  <a:pt x="75" y="364"/>
                </a:cubicBezTo>
                <a:lnTo>
                  <a:pt x="83" y="340"/>
                </a:lnTo>
                <a:lnTo>
                  <a:pt x="99" y="324"/>
                </a:lnTo>
                <a:lnTo>
                  <a:pt x="107" y="308"/>
                </a:lnTo>
                <a:lnTo>
                  <a:pt x="124" y="285"/>
                </a:lnTo>
                <a:lnTo>
                  <a:pt x="140" y="269"/>
                </a:lnTo>
                <a:lnTo>
                  <a:pt x="165" y="269"/>
                </a:lnTo>
                <a:lnTo>
                  <a:pt x="182" y="277"/>
                </a:lnTo>
                <a:cubicBezTo>
                  <a:pt x="190" y="269"/>
                  <a:pt x="198" y="261"/>
                  <a:pt x="198" y="261"/>
                </a:cubicBezTo>
                <a:lnTo>
                  <a:pt x="231" y="253"/>
                </a:lnTo>
                <a:lnTo>
                  <a:pt x="239" y="253"/>
                </a:lnTo>
                <a:lnTo>
                  <a:pt x="264" y="261"/>
                </a:lnTo>
                <a:lnTo>
                  <a:pt x="313" y="261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76" name="Freeform 68">
            <a:extLst>
              <a:ext uri="{FF2B5EF4-FFF2-40B4-BE49-F238E27FC236}">
                <a16:creationId xmlns:a16="http://schemas.microsoft.com/office/drawing/2014/main" id="{12BBEE61-53C7-3BCB-CB9A-19D49B44919D}"/>
              </a:ext>
            </a:extLst>
          </p:cNvPr>
          <p:cNvSpPr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6359208" y="3339884"/>
            <a:ext cx="463672" cy="516196"/>
          </a:xfrm>
          <a:custGeom>
            <a:avLst/>
            <a:gdLst>
              <a:gd name="T0" fmla="*/ 648 w 1131"/>
              <a:gd name="T1" fmla="*/ 576 h 1257"/>
              <a:gd name="T2" fmla="*/ 607 w 1131"/>
              <a:gd name="T3" fmla="*/ 584 h 1257"/>
              <a:gd name="T4" fmla="*/ 208 w 1131"/>
              <a:gd name="T5" fmla="*/ 766 h 1257"/>
              <a:gd name="T6" fmla="*/ 283 w 1131"/>
              <a:gd name="T7" fmla="*/ 805 h 1257"/>
              <a:gd name="T8" fmla="*/ 225 w 1131"/>
              <a:gd name="T9" fmla="*/ 742 h 1257"/>
              <a:gd name="T10" fmla="*/ 175 w 1131"/>
              <a:gd name="T11" fmla="*/ 742 h 1257"/>
              <a:gd name="T12" fmla="*/ 416 w 1131"/>
              <a:gd name="T13" fmla="*/ 253 h 1257"/>
              <a:gd name="T14" fmla="*/ 507 w 1131"/>
              <a:gd name="T15" fmla="*/ 158 h 1257"/>
              <a:gd name="T16" fmla="*/ 590 w 1131"/>
              <a:gd name="T17" fmla="*/ 118 h 1257"/>
              <a:gd name="T18" fmla="*/ 574 w 1131"/>
              <a:gd name="T19" fmla="*/ 110 h 1257"/>
              <a:gd name="T20" fmla="*/ 698 w 1131"/>
              <a:gd name="T21" fmla="*/ 103 h 1257"/>
              <a:gd name="T22" fmla="*/ 707 w 1131"/>
              <a:gd name="T23" fmla="*/ 110 h 1257"/>
              <a:gd name="T24" fmla="*/ 773 w 1131"/>
              <a:gd name="T25" fmla="*/ 103 h 1257"/>
              <a:gd name="T26" fmla="*/ 831 w 1131"/>
              <a:gd name="T27" fmla="*/ 103 h 1257"/>
              <a:gd name="T28" fmla="*/ 889 w 1131"/>
              <a:gd name="T29" fmla="*/ 71 h 1257"/>
              <a:gd name="T30" fmla="*/ 956 w 1131"/>
              <a:gd name="T31" fmla="*/ 47 h 1257"/>
              <a:gd name="T32" fmla="*/ 997 w 1131"/>
              <a:gd name="T33" fmla="*/ 39 h 1257"/>
              <a:gd name="T34" fmla="*/ 1106 w 1131"/>
              <a:gd name="T35" fmla="*/ 8 h 1257"/>
              <a:gd name="T36" fmla="*/ 574 w 1131"/>
              <a:gd name="T37" fmla="*/ 261 h 1257"/>
              <a:gd name="T38" fmla="*/ 690 w 1131"/>
              <a:gd name="T39" fmla="*/ 158 h 1257"/>
              <a:gd name="T40" fmla="*/ 997 w 1131"/>
              <a:gd name="T41" fmla="*/ 166 h 1257"/>
              <a:gd name="T42" fmla="*/ 1039 w 1131"/>
              <a:gd name="T43" fmla="*/ 387 h 1257"/>
              <a:gd name="T44" fmla="*/ 931 w 1131"/>
              <a:gd name="T45" fmla="*/ 513 h 1257"/>
              <a:gd name="T46" fmla="*/ 1022 w 1131"/>
              <a:gd name="T47" fmla="*/ 640 h 1257"/>
              <a:gd name="T48" fmla="*/ 914 w 1131"/>
              <a:gd name="T49" fmla="*/ 719 h 1257"/>
              <a:gd name="T50" fmla="*/ 864 w 1131"/>
              <a:gd name="T51" fmla="*/ 798 h 1257"/>
              <a:gd name="T52" fmla="*/ 765 w 1131"/>
              <a:gd name="T53" fmla="*/ 798 h 1257"/>
              <a:gd name="T54" fmla="*/ 756 w 1131"/>
              <a:gd name="T55" fmla="*/ 892 h 1257"/>
              <a:gd name="T56" fmla="*/ 740 w 1131"/>
              <a:gd name="T57" fmla="*/ 1050 h 1257"/>
              <a:gd name="T58" fmla="*/ 707 w 1131"/>
              <a:gd name="T59" fmla="*/ 1129 h 1257"/>
              <a:gd name="T60" fmla="*/ 732 w 1131"/>
              <a:gd name="T61" fmla="*/ 1177 h 1257"/>
              <a:gd name="T62" fmla="*/ 707 w 1131"/>
              <a:gd name="T63" fmla="*/ 1256 h 1257"/>
              <a:gd name="T64" fmla="*/ 615 w 1131"/>
              <a:gd name="T65" fmla="*/ 1184 h 1257"/>
              <a:gd name="T66" fmla="*/ 590 w 1131"/>
              <a:gd name="T67" fmla="*/ 1050 h 1257"/>
              <a:gd name="T68" fmla="*/ 482 w 1131"/>
              <a:gd name="T69" fmla="*/ 987 h 1257"/>
              <a:gd name="T70" fmla="*/ 391 w 1131"/>
              <a:gd name="T71" fmla="*/ 940 h 1257"/>
              <a:gd name="T72" fmla="*/ 291 w 1131"/>
              <a:gd name="T73" fmla="*/ 916 h 1257"/>
              <a:gd name="T74" fmla="*/ 166 w 1131"/>
              <a:gd name="T75" fmla="*/ 979 h 1257"/>
              <a:gd name="T76" fmla="*/ 50 w 1131"/>
              <a:gd name="T77" fmla="*/ 940 h 1257"/>
              <a:gd name="T78" fmla="*/ 92 w 1131"/>
              <a:gd name="T79" fmla="*/ 908 h 1257"/>
              <a:gd name="T80" fmla="*/ 200 w 1131"/>
              <a:gd name="T81" fmla="*/ 924 h 1257"/>
              <a:gd name="T82" fmla="*/ 200 w 1131"/>
              <a:gd name="T83" fmla="*/ 908 h 1257"/>
              <a:gd name="T84" fmla="*/ 75 w 1131"/>
              <a:gd name="T85" fmla="*/ 877 h 1257"/>
              <a:gd name="T86" fmla="*/ 100 w 1131"/>
              <a:gd name="T87" fmla="*/ 813 h 1257"/>
              <a:gd name="T88" fmla="*/ 200 w 1131"/>
              <a:gd name="T89" fmla="*/ 869 h 1257"/>
              <a:gd name="T90" fmla="*/ 241 w 1131"/>
              <a:gd name="T91" fmla="*/ 861 h 1257"/>
              <a:gd name="T92" fmla="*/ 216 w 1131"/>
              <a:gd name="T93" fmla="*/ 813 h 1257"/>
              <a:gd name="T94" fmla="*/ 108 w 1131"/>
              <a:gd name="T95" fmla="*/ 782 h 1257"/>
              <a:gd name="T96" fmla="*/ 216 w 1131"/>
              <a:gd name="T97" fmla="*/ 805 h 1257"/>
              <a:gd name="T98" fmla="*/ 349 w 1131"/>
              <a:gd name="T99" fmla="*/ 821 h 1257"/>
              <a:gd name="T100" fmla="*/ 341 w 1131"/>
              <a:gd name="T101" fmla="*/ 805 h 1257"/>
              <a:gd name="T102" fmla="*/ 208 w 1131"/>
              <a:gd name="T103" fmla="*/ 695 h 1257"/>
              <a:gd name="T104" fmla="*/ 407 w 1131"/>
              <a:gd name="T105" fmla="*/ 324 h 1257"/>
              <a:gd name="T106" fmla="*/ 515 w 1131"/>
              <a:gd name="T107" fmla="*/ 332 h 1257"/>
              <a:gd name="T108" fmla="*/ 540 w 1131"/>
              <a:gd name="T109" fmla="*/ 418 h 1257"/>
              <a:gd name="T110" fmla="*/ 507 w 1131"/>
              <a:gd name="T111" fmla="*/ 505 h 1257"/>
              <a:gd name="T112" fmla="*/ 540 w 1131"/>
              <a:gd name="T113" fmla="*/ 576 h 1257"/>
              <a:gd name="T114" fmla="*/ 507 w 1131"/>
              <a:gd name="T115" fmla="*/ 537 h 1257"/>
              <a:gd name="T116" fmla="*/ 673 w 1131"/>
              <a:gd name="T117" fmla="*/ 474 h 1257"/>
              <a:gd name="T118" fmla="*/ 673 w 1131"/>
              <a:gd name="T119" fmla="*/ 466 h 1257"/>
              <a:gd name="T120" fmla="*/ 640 w 1131"/>
              <a:gd name="T121" fmla="*/ 363 h 1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31" h="1257">
                <a:moveTo>
                  <a:pt x="590" y="592"/>
                </a:moveTo>
                <a:lnTo>
                  <a:pt x="590" y="600"/>
                </a:lnTo>
                <a:lnTo>
                  <a:pt x="599" y="600"/>
                </a:lnTo>
                <a:cubicBezTo>
                  <a:pt x="599" y="592"/>
                  <a:pt x="599" y="600"/>
                  <a:pt x="607" y="600"/>
                </a:cubicBezTo>
                <a:cubicBezTo>
                  <a:pt x="615" y="600"/>
                  <a:pt x="624" y="584"/>
                  <a:pt x="624" y="584"/>
                </a:cubicBezTo>
                <a:lnTo>
                  <a:pt x="632" y="584"/>
                </a:lnTo>
                <a:cubicBezTo>
                  <a:pt x="632" y="584"/>
                  <a:pt x="640" y="584"/>
                  <a:pt x="640" y="576"/>
                </a:cubicBezTo>
                <a:lnTo>
                  <a:pt x="648" y="576"/>
                </a:lnTo>
                <a:lnTo>
                  <a:pt x="648" y="568"/>
                </a:lnTo>
                <a:cubicBezTo>
                  <a:pt x="657" y="561"/>
                  <a:pt x="665" y="561"/>
                  <a:pt x="665" y="561"/>
                </a:cubicBezTo>
                <a:cubicBezTo>
                  <a:pt x="673" y="553"/>
                  <a:pt x="673" y="553"/>
                  <a:pt x="673" y="545"/>
                </a:cubicBezTo>
                <a:cubicBezTo>
                  <a:pt x="673" y="545"/>
                  <a:pt x="665" y="545"/>
                  <a:pt x="665" y="553"/>
                </a:cubicBezTo>
                <a:lnTo>
                  <a:pt x="648" y="553"/>
                </a:lnTo>
                <a:cubicBezTo>
                  <a:pt x="648" y="561"/>
                  <a:pt x="640" y="561"/>
                  <a:pt x="640" y="561"/>
                </a:cubicBezTo>
                <a:cubicBezTo>
                  <a:pt x="632" y="561"/>
                  <a:pt x="624" y="568"/>
                  <a:pt x="615" y="568"/>
                </a:cubicBezTo>
                <a:cubicBezTo>
                  <a:pt x="615" y="568"/>
                  <a:pt x="615" y="576"/>
                  <a:pt x="607" y="584"/>
                </a:cubicBezTo>
                <a:lnTo>
                  <a:pt x="607" y="592"/>
                </a:lnTo>
                <a:lnTo>
                  <a:pt x="590" y="592"/>
                </a:lnTo>
                <a:close/>
                <a:moveTo>
                  <a:pt x="175" y="742"/>
                </a:moveTo>
                <a:lnTo>
                  <a:pt x="183" y="742"/>
                </a:lnTo>
                <a:lnTo>
                  <a:pt x="183" y="734"/>
                </a:lnTo>
                <a:cubicBezTo>
                  <a:pt x="191" y="734"/>
                  <a:pt x="191" y="742"/>
                  <a:pt x="191" y="742"/>
                </a:cubicBezTo>
                <a:cubicBezTo>
                  <a:pt x="200" y="742"/>
                  <a:pt x="200" y="750"/>
                  <a:pt x="200" y="750"/>
                </a:cubicBezTo>
                <a:lnTo>
                  <a:pt x="208" y="766"/>
                </a:lnTo>
                <a:lnTo>
                  <a:pt x="208" y="774"/>
                </a:lnTo>
                <a:lnTo>
                  <a:pt x="208" y="782"/>
                </a:lnTo>
                <a:lnTo>
                  <a:pt x="225" y="782"/>
                </a:lnTo>
                <a:cubicBezTo>
                  <a:pt x="225" y="782"/>
                  <a:pt x="225" y="790"/>
                  <a:pt x="233" y="790"/>
                </a:cubicBezTo>
                <a:lnTo>
                  <a:pt x="241" y="798"/>
                </a:lnTo>
                <a:cubicBezTo>
                  <a:pt x="250" y="805"/>
                  <a:pt x="250" y="805"/>
                  <a:pt x="258" y="813"/>
                </a:cubicBezTo>
                <a:lnTo>
                  <a:pt x="275" y="813"/>
                </a:lnTo>
                <a:cubicBezTo>
                  <a:pt x="275" y="805"/>
                  <a:pt x="275" y="805"/>
                  <a:pt x="283" y="805"/>
                </a:cubicBezTo>
                <a:lnTo>
                  <a:pt x="291" y="805"/>
                </a:lnTo>
                <a:cubicBezTo>
                  <a:pt x="291" y="798"/>
                  <a:pt x="283" y="798"/>
                  <a:pt x="283" y="798"/>
                </a:cubicBezTo>
                <a:cubicBezTo>
                  <a:pt x="283" y="798"/>
                  <a:pt x="275" y="790"/>
                  <a:pt x="266" y="782"/>
                </a:cubicBezTo>
                <a:lnTo>
                  <a:pt x="266" y="774"/>
                </a:lnTo>
                <a:lnTo>
                  <a:pt x="258" y="766"/>
                </a:lnTo>
                <a:lnTo>
                  <a:pt x="250" y="766"/>
                </a:lnTo>
                <a:cubicBezTo>
                  <a:pt x="241" y="758"/>
                  <a:pt x="241" y="750"/>
                  <a:pt x="241" y="750"/>
                </a:cubicBezTo>
                <a:cubicBezTo>
                  <a:pt x="241" y="750"/>
                  <a:pt x="225" y="750"/>
                  <a:pt x="225" y="742"/>
                </a:cubicBezTo>
                <a:lnTo>
                  <a:pt x="216" y="742"/>
                </a:lnTo>
                <a:cubicBezTo>
                  <a:pt x="216" y="742"/>
                  <a:pt x="200" y="734"/>
                  <a:pt x="200" y="726"/>
                </a:cubicBezTo>
                <a:lnTo>
                  <a:pt x="200" y="719"/>
                </a:lnTo>
                <a:lnTo>
                  <a:pt x="183" y="719"/>
                </a:lnTo>
                <a:cubicBezTo>
                  <a:pt x="175" y="726"/>
                  <a:pt x="166" y="726"/>
                  <a:pt x="166" y="726"/>
                </a:cubicBezTo>
                <a:cubicBezTo>
                  <a:pt x="158" y="726"/>
                  <a:pt x="158" y="734"/>
                  <a:pt x="158" y="734"/>
                </a:cubicBezTo>
                <a:cubicBezTo>
                  <a:pt x="158" y="734"/>
                  <a:pt x="158" y="742"/>
                  <a:pt x="166" y="742"/>
                </a:cubicBezTo>
                <a:cubicBezTo>
                  <a:pt x="166" y="750"/>
                  <a:pt x="175" y="742"/>
                  <a:pt x="175" y="742"/>
                </a:cubicBezTo>
                <a:close/>
                <a:moveTo>
                  <a:pt x="457" y="253"/>
                </a:moveTo>
                <a:cubicBezTo>
                  <a:pt x="457" y="253"/>
                  <a:pt x="474" y="237"/>
                  <a:pt x="474" y="229"/>
                </a:cubicBezTo>
                <a:lnTo>
                  <a:pt x="474" y="197"/>
                </a:lnTo>
                <a:lnTo>
                  <a:pt x="457" y="182"/>
                </a:lnTo>
                <a:lnTo>
                  <a:pt x="449" y="197"/>
                </a:lnTo>
                <a:cubicBezTo>
                  <a:pt x="449" y="205"/>
                  <a:pt x="441" y="205"/>
                  <a:pt x="432" y="213"/>
                </a:cubicBezTo>
                <a:cubicBezTo>
                  <a:pt x="424" y="221"/>
                  <a:pt x="424" y="229"/>
                  <a:pt x="424" y="237"/>
                </a:cubicBezTo>
                <a:cubicBezTo>
                  <a:pt x="424" y="237"/>
                  <a:pt x="416" y="245"/>
                  <a:pt x="416" y="253"/>
                </a:cubicBezTo>
                <a:cubicBezTo>
                  <a:pt x="416" y="261"/>
                  <a:pt x="424" y="261"/>
                  <a:pt x="432" y="261"/>
                </a:cubicBezTo>
                <a:cubicBezTo>
                  <a:pt x="441" y="261"/>
                  <a:pt x="432" y="261"/>
                  <a:pt x="432" y="261"/>
                </a:cubicBezTo>
                <a:lnTo>
                  <a:pt x="457" y="253"/>
                </a:lnTo>
                <a:close/>
                <a:moveTo>
                  <a:pt x="466" y="174"/>
                </a:moveTo>
                <a:lnTo>
                  <a:pt x="474" y="182"/>
                </a:lnTo>
                <a:lnTo>
                  <a:pt x="482" y="174"/>
                </a:lnTo>
                <a:cubicBezTo>
                  <a:pt x="482" y="166"/>
                  <a:pt x="491" y="166"/>
                  <a:pt x="491" y="166"/>
                </a:cubicBezTo>
                <a:cubicBezTo>
                  <a:pt x="491" y="166"/>
                  <a:pt x="499" y="158"/>
                  <a:pt x="507" y="158"/>
                </a:cubicBezTo>
                <a:lnTo>
                  <a:pt x="524" y="150"/>
                </a:lnTo>
                <a:lnTo>
                  <a:pt x="524" y="142"/>
                </a:lnTo>
                <a:lnTo>
                  <a:pt x="499" y="142"/>
                </a:lnTo>
                <a:lnTo>
                  <a:pt x="482" y="158"/>
                </a:lnTo>
                <a:lnTo>
                  <a:pt x="466" y="174"/>
                </a:lnTo>
                <a:close/>
                <a:moveTo>
                  <a:pt x="565" y="126"/>
                </a:moveTo>
                <a:lnTo>
                  <a:pt x="574" y="126"/>
                </a:lnTo>
                <a:cubicBezTo>
                  <a:pt x="574" y="126"/>
                  <a:pt x="590" y="126"/>
                  <a:pt x="590" y="118"/>
                </a:cubicBezTo>
                <a:lnTo>
                  <a:pt x="599" y="118"/>
                </a:lnTo>
                <a:lnTo>
                  <a:pt x="615" y="110"/>
                </a:lnTo>
                <a:cubicBezTo>
                  <a:pt x="624" y="110"/>
                  <a:pt x="632" y="103"/>
                  <a:pt x="632" y="103"/>
                </a:cubicBezTo>
                <a:lnTo>
                  <a:pt x="648" y="110"/>
                </a:lnTo>
                <a:cubicBezTo>
                  <a:pt x="657" y="110"/>
                  <a:pt x="657" y="103"/>
                  <a:pt x="657" y="103"/>
                </a:cubicBezTo>
                <a:lnTo>
                  <a:pt x="640" y="95"/>
                </a:lnTo>
                <a:lnTo>
                  <a:pt x="607" y="103"/>
                </a:lnTo>
                <a:cubicBezTo>
                  <a:pt x="607" y="103"/>
                  <a:pt x="582" y="110"/>
                  <a:pt x="574" y="110"/>
                </a:cubicBezTo>
                <a:cubicBezTo>
                  <a:pt x="565" y="103"/>
                  <a:pt x="557" y="110"/>
                  <a:pt x="557" y="110"/>
                </a:cubicBezTo>
                <a:lnTo>
                  <a:pt x="549" y="118"/>
                </a:lnTo>
                <a:lnTo>
                  <a:pt x="557" y="126"/>
                </a:lnTo>
                <a:cubicBezTo>
                  <a:pt x="557" y="134"/>
                  <a:pt x="565" y="126"/>
                  <a:pt x="565" y="126"/>
                </a:cubicBezTo>
                <a:close/>
                <a:moveTo>
                  <a:pt x="673" y="103"/>
                </a:moveTo>
                <a:cubicBezTo>
                  <a:pt x="673" y="103"/>
                  <a:pt x="673" y="95"/>
                  <a:pt x="682" y="95"/>
                </a:cubicBezTo>
                <a:lnTo>
                  <a:pt x="690" y="95"/>
                </a:lnTo>
                <a:cubicBezTo>
                  <a:pt x="690" y="103"/>
                  <a:pt x="698" y="103"/>
                  <a:pt x="698" y="103"/>
                </a:cubicBezTo>
                <a:lnTo>
                  <a:pt x="707" y="103"/>
                </a:lnTo>
                <a:cubicBezTo>
                  <a:pt x="715" y="103"/>
                  <a:pt x="715" y="95"/>
                  <a:pt x="723" y="103"/>
                </a:cubicBezTo>
                <a:lnTo>
                  <a:pt x="756" y="103"/>
                </a:lnTo>
                <a:lnTo>
                  <a:pt x="756" y="110"/>
                </a:lnTo>
                <a:lnTo>
                  <a:pt x="740" y="110"/>
                </a:lnTo>
                <a:cubicBezTo>
                  <a:pt x="740" y="110"/>
                  <a:pt x="748" y="110"/>
                  <a:pt x="732" y="110"/>
                </a:cubicBezTo>
                <a:lnTo>
                  <a:pt x="715" y="110"/>
                </a:lnTo>
                <a:lnTo>
                  <a:pt x="707" y="110"/>
                </a:lnTo>
                <a:cubicBezTo>
                  <a:pt x="698" y="110"/>
                  <a:pt x="723" y="103"/>
                  <a:pt x="698" y="110"/>
                </a:cubicBezTo>
                <a:lnTo>
                  <a:pt x="673" y="118"/>
                </a:lnTo>
                <a:lnTo>
                  <a:pt x="673" y="103"/>
                </a:lnTo>
                <a:close/>
                <a:moveTo>
                  <a:pt x="773" y="103"/>
                </a:moveTo>
                <a:cubicBezTo>
                  <a:pt x="773" y="103"/>
                  <a:pt x="773" y="95"/>
                  <a:pt x="781" y="103"/>
                </a:cubicBezTo>
                <a:cubicBezTo>
                  <a:pt x="781" y="103"/>
                  <a:pt x="781" y="95"/>
                  <a:pt x="781" y="103"/>
                </a:cubicBezTo>
                <a:cubicBezTo>
                  <a:pt x="790" y="110"/>
                  <a:pt x="790" y="118"/>
                  <a:pt x="781" y="118"/>
                </a:cubicBezTo>
                <a:cubicBezTo>
                  <a:pt x="773" y="110"/>
                  <a:pt x="773" y="103"/>
                  <a:pt x="773" y="103"/>
                </a:cubicBezTo>
                <a:close/>
                <a:moveTo>
                  <a:pt x="798" y="95"/>
                </a:moveTo>
                <a:lnTo>
                  <a:pt x="806" y="95"/>
                </a:lnTo>
                <a:cubicBezTo>
                  <a:pt x="815" y="87"/>
                  <a:pt x="815" y="79"/>
                  <a:pt x="823" y="87"/>
                </a:cubicBezTo>
                <a:cubicBezTo>
                  <a:pt x="831" y="87"/>
                  <a:pt x="848" y="95"/>
                  <a:pt x="848" y="95"/>
                </a:cubicBezTo>
                <a:lnTo>
                  <a:pt x="848" y="87"/>
                </a:lnTo>
                <a:cubicBezTo>
                  <a:pt x="856" y="87"/>
                  <a:pt x="856" y="95"/>
                  <a:pt x="856" y="95"/>
                </a:cubicBezTo>
                <a:lnTo>
                  <a:pt x="848" y="95"/>
                </a:lnTo>
                <a:cubicBezTo>
                  <a:pt x="840" y="103"/>
                  <a:pt x="840" y="103"/>
                  <a:pt x="831" y="103"/>
                </a:cubicBezTo>
                <a:cubicBezTo>
                  <a:pt x="823" y="103"/>
                  <a:pt x="823" y="95"/>
                  <a:pt x="815" y="103"/>
                </a:cubicBezTo>
                <a:cubicBezTo>
                  <a:pt x="815" y="103"/>
                  <a:pt x="815" y="110"/>
                  <a:pt x="806" y="110"/>
                </a:cubicBezTo>
                <a:lnTo>
                  <a:pt x="798" y="110"/>
                </a:lnTo>
                <a:lnTo>
                  <a:pt x="798" y="95"/>
                </a:lnTo>
                <a:close/>
                <a:moveTo>
                  <a:pt x="898" y="95"/>
                </a:moveTo>
                <a:cubicBezTo>
                  <a:pt x="898" y="87"/>
                  <a:pt x="889" y="87"/>
                  <a:pt x="889" y="87"/>
                </a:cubicBezTo>
                <a:lnTo>
                  <a:pt x="881" y="79"/>
                </a:lnTo>
                <a:cubicBezTo>
                  <a:pt x="881" y="79"/>
                  <a:pt x="881" y="71"/>
                  <a:pt x="889" y="71"/>
                </a:cubicBezTo>
                <a:lnTo>
                  <a:pt x="889" y="79"/>
                </a:lnTo>
                <a:cubicBezTo>
                  <a:pt x="898" y="79"/>
                  <a:pt x="898" y="87"/>
                  <a:pt x="898" y="87"/>
                </a:cubicBezTo>
                <a:lnTo>
                  <a:pt x="898" y="95"/>
                </a:lnTo>
                <a:close/>
                <a:moveTo>
                  <a:pt x="931" y="71"/>
                </a:moveTo>
                <a:lnTo>
                  <a:pt x="923" y="63"/>
                </a:lnTo>
                <a:cubicBezTo>
                  <a:pt x="923" y="63"/>
                  <a:pt x="923" y="55"/>
                  <a:pt x="931" y="55"/>
                </a:cubicBezTo>
                <a:lnTo>
                  <a:pt x="948" y="55"/>
                </a:lnTo>
                <a:lnTo>
                  <a:pt x="956" y="47"/>
                </a:lnTo>
                <a:lnTo>
                  <a:pt x="964" y="63"/>
                </a:lnTo>
                <a:lnTo>
                  <a:pt x="956" y="63"/>
                </a:lnTo>
                <a:lnTo>
                  <a:pt x="948" y="71"/>
                </a:lnTo>
                <a:lnTo>
                  <a:pt x="939" y="79"/>
                </a:lnTo>
                <a:lnTo>
                  <a:pt x="931" y="71"/>
                </a:lnTo>
                <a:close/>
                <a:moveTo>
                  <a:pt x="981" y="47"/>
                </a:moveTo>
                <a:cubicBezTo>
                  <a:pt x="981" y="47"/>
                  <a:pt x="981" y="39"/>
                  <a:pt x="989" y="39"/>
                </a:cubicBezTo>
                <a:cubicBezTo>
                  <a:pt x="989" y="39"/>
                  <a:pt x="989" y="31"/>
                  <a:pt x="997" y="39"/>
                </a:cubicBezTo>
                <a:lnTo>
                  <a:pt x="997" y="55"/>
                </a:lnTo>
                <a:lnTo>
                  <a:pt x="981" y="55"/>
                </a:lnTo>
                <a:lnTo>
                  <a:pt x="981" y="47"/>
                </a:lnTo>
                <a:close/>
                <a:moveTo>
                  <a:pt x="1056" y="8"/>
                </a:moveTo>
                <a:cubicBezTo>
                  <a:pt x="1056" y="8"/>
                  <a:pt x="1056" y="0"/>
                  <a:pt x="1064" y="0"/>
                </a:cubicBezTo>
                <a:lnTo>
                  <a:pt x="1122" y="0"/>
                </a:lnTo>
                <a:cubicBezTo>
                  <a:pt x="1130" y="0"/>
                  <a:pt x="1122" y="8"/>
                  <a:pt x="1122" y="8"/>
                </a:cubicBezTo>
                <a:lnTo>
                  <a:pt x="1106" y="8"/>
                </a:lnTo>
                <a:lnTo>
                  <a:pt x="1089" y="8"/>
                </a:lnTo>
                <a:cubicBezTo>
                  <a:pt x="1089" y="16"/>
                  <a:pt x="1081" y="16"/>
                  <a:pt x="1081" y="16"/>
                </a:cubicBezTo>
                <a:lnTo>
                  <a:pt x="1072" y="16"/>
                </a:lnTo>
                <a:cubicBezTo>
                  <a:pt x="1064" y="16"/>
                  <a:pt x="1064" y="8"/>
                  <a:pt x="1064" y="16"/>
                </a:cubicBezTo>
                <a:cubicBezTo>
                  <a:pt x="1056" y="16"/>
                  <a:pt x="1056" y="8"/>
                  <a:pt x="1056" y="8"/>
                </a:cubicBezTo>
                <a:close/>
                <a:moveTo>
                  <a:pt x="599" y="276"/>
                </a:moveTo>
                <a:lnTo>
                  <a:pt x="590" y="261"/>
                </a:lnTo>
                <a:lnTo>
                  <a:pt x="574" y="261"/>
                </a:lnTo>
                <a:lnTo>
                  <a:pt x="549" y="276"/>
                </a:lnTo>
                <a:lnTo>
                  <a:pt x="549" y="261"/>
                </a:lnTo>
                <a:lnTo>
                  <a:pt x="582" y="245"/>
                </a:lnTo>
                <a:lnTo>
                  <a:pt x="599" y="237"/>
                </a:lnTo>
                <a:lnTo>
                  <a:pt x="607" y="221"/>
                </a:lnTo>
                <a:lnTo>
                  <a:pt x="624" y="197"/>
                </a:lnTo>
                <a:cubicBezTo>
                  <a:pt x="624" y="197"/>
                  <a:pt x="640" y="182"/>
                  <a:pt x="648" y="174"/>
                </a:cubicBezTo>
                <a:cubicBezTo>
                  <a:pt x="657" y="174"/>
                  <a:pt x="690" y="158"/>
                  <a:pt x="690" y="158"/>
                </a:cubicBezTo>
                <a:cubicBezTo>
                  <a:pt x="690" y="158"/>
                  <a:pt x="723" y="142"/>
                  <a:pt x="732" y="142"/>
                </a:cubicBezTo>
                <a:cubicBezTo>
                  <a:pt x="740" y="142"/>
                  <a:pt x="798" y="134"/>
                  <a:pt x="798" y="134"/>
                </a:cubicBezTo>
                <a:lnTo>
                  <a:pt x="856" y="150"/>
                </a:lnTo>
                <a:cubicBezTo>
                  <a:pt x="856" y="150"/>
                  <a:pt x="873" y="134"/>
                  <a:pt x="889" y="134"/>
                </a:cubicBezTo>
                <a:cubicBezTo>
                  <a:pt x="889" y="134"/>
                  <a:pt x="906" y="142"/>
                  <a:pt x="914" y="142"/>
                </a:cubicBezTo>
                <a:cubicBezTo>
                  <a:pt x="923" y="142"/>
                  <a:pt x="939" y="134"/>
                  <a:pt x="939" y="134"/>
                </a:cubicBezTo>
                <a:lnTo>
                  <a:pt x="973" y="134"/>
                </a:lnTo>
                <a:lnTo>
                  <a:pt x="997" y="166"/>
                </a:lnTo>
                <a:lnTo>
                  <a:pt x="1006" y="197"/>
                </a:lnTo>
                <a:lnTo>
                  <a:pt x="1047" y="205"/>
                </a:lnTo>
                <a:cubicBezTo>
                  <a:pt x="1047" y="205"/>
                  <a:pt x="1039" y="221"/>
                  <a:pt x="1039" y="229"/>
                </a:cubicBezTo>
                <a:cubicBezTo>
                  <a:pt x="1047" y="229"/>
                  <a:pt x="1072" y="237"/>
                  <a:pt x="1072" y="237"/>
                </a:cubicBezTo>
                <a:lnTo>
                  <a:pt x="1072" y="245"/>
                </a:lnTo>
                <a:lnTo>
                  <a:pt x="1072" y="284"/>
                </a:lnTo>
                <a:lnTo>
                  <a:pt x="1072" y="339"/>
                </a:lnTo>
                <a:cubicBezTo>
                  <a:pt x="1072" y="339"/>
                  <a:pt x="1047" y="387"/>
                  <a:pt x="1039" y="387"/>
                </a:cubicBezTo>
                <a:cubicBezTo>
                  <a:pt x="1031" y="395"/>
                  <a:pt x="1039" y="426"/>
                  <a:pt x="1039" y="426"/>
                </a:cubicBezTo>
                <a:lnTo>
                  <a:pt x="1031" y="466"/>
                </a:lnTo>
                <a:cubicBezTo>
                  <a:pt x="1031" y="466"/>
                  <a:pt x="1031" y="497"/>
                  <a:pt x="1022" y="490"/>
                </a:cubicBezTo>
                <a:cubicBezTo>
                  <a:pt x="1014" y="490"/>
                  <a:pt x="973" y="474"/>
                  <a:pt x="973" y="474"/>
                </a:cubicBezTo>
                <a:lnTo>
                  <a:pt x="939" y="482"/>
                </a:lnTo>
                <a:lnTo>
                  <a:pt x="939" y="505"/>
                </a:lnTo>
                <a:lnTo>
                  <a:pt x="956" y="513"/>
                </a:lnTo>
                <a:lnTo>
                  <a:pt x="931" y="513"/>
                </a:lnTo>
                <a:lnTo>
                  <a:pt x="931" y="529"/>
                </a:lnTo>
                <a:cubicBezTo>
                  <a:pt x="931" y="529"/>
                  <a:pt x="939" y="545"/>
                  <a:pt x="948" y="553"/>
                </a:cubicBezTo>
                <a:cubicBezTo>
                  <a:pt x="948" y="561"/>
                  <a:pt x="973" y="561"/>
                  <a:pt x="973" y="561"/>
                </a:cubicBezTo>
                <a:lnTo>
                  <a:pt x="989" y="576"/>
                </a:lnTo>
                <a:lnTo>
                  <a:pt x="1014" y="568"/>
                </a:lnTo>
                <a:lnTo>
                  <a:pt x="1031" y="600"/>
                </a:lnTo>
                <a:lnTo>
                  <a:pt x="1022" y="616"/>
                </a:lnTo>
                <a:lnTo>
                  <a:pt x="1022" y="640"/>
                </a:lnTo>
                <a:cubicBezTo>
                  <a:pt x="1022" y="647"/>
                  <a:pt x="1031" y="655"/>
                  <a:pt x="1022" y="655"/>
                </a:cubicBezTo>
                <a:lnTo>
                  <a:pt x="1006" y="663"/>
                </a:lnTo>
                <a:lnTo>
                  <a:pt x="997" y="679"/>
                </a:lnTo>
                <a:cubicBezTo>
                  <a:pt x="997" y="679"/>
                  <a:pt x="981" y="687"/>
                  <a:pt x="973" y="687"/>
                </a:cubicBezTo>
                <a:cubicBezTo>
                  <a:pt x="964" y="695"/>
                  <a:pt x="964" y="695"/>
                  <a:pt x="964" y="703"/>
                </a:cubicBezTo>
                <a:lnTo>
                  <a:pt x="931" y="695"/>
                </a:lnTo>
                <a:lnTo>
                  <a:pt x="931" y="719"/>
                </a:lnTo>
                <a:lnTo>
                  <a:pt x="914" y="719"/>
                </a:lnTo>
                <a:lnTo>
                  <a:pt x="931" y="742"/>
                </a:lnTo>
                <a:lnTo>
                  <a:pt x="956" y="758"/>
                </a:lnTo>
                <a:lnTo>
                  <a:pt x="948" y="766"/>
                </a:lnTo>
                <a:lnTo>
                  <a:pt x="931" y="774"/>
                </a:lnTo>
                <a:lnTo>
                  <a:pt x="923" y="790"/>
                </a:lnTo>
                <a:lnTo>
                  <a:pt x="898" y="790"/>
                </a:lnTo>
                <a:lnTo>
                  <a:pt x="873" y="798"/>
                </a:lnTo>
                <a:lnTo>
                  <a:pt x="864" y="798"/>
                </a:lnTo>
                <a:lnTo>
                  <a:pt x="840" y="798"/>
                </a:lnTo>
                <a:lnTo>
                  <a:pt x="831" y="813"/>
                </a:lnTo>
                <a:lnTo>
                  <a:pt x="823" y="798"/>
                </a:lnTo>
                <a:lnTo>
                  <a:pt x="798" y="790"/>
                </a:lnTo>
                <a:lnTo>
                  <a:pt x="781" y="774"/>
                </a:lnTo>
                <a:lnTo>
                  <a:pt x="756" y="782"/>
                </a:lnTo>
                <a:lnTo>
                  <a:pt x="781" y="798"/>
                </a:lnTo>
                <a:lnTo>
                  <a:pt x="765" y="798"/>
                </a:lnTo>
                <a:lnTo>
                  <a:pt x="723" y="790"/>
                </a:lnTo>
                <a:lnTo>
                  <a:pt x="723" y="813"/>
                </a:lnTo>
                <a:lnTo>
                  <a:pt x="723" y="829"/>
                </a:lnTo>
                <a:cubicBezTo>
                  <a:pt x="723" y="829"/>
                  <a:pt x="715" y="837"/>
                  <a:pt x="723" y="837"/>
                </a:cubicBezTo>
                <a:cubicBezTo>
                  <a:pt x="732" y="837"/>
                  <a:pt x="748" y="853"/>
                  <a:pt x="748" y="853"/>
                </a:cubicBezTo>
                <a:lnTo>
                  <a:pt x="748" y="869"/>
                </a:lnTo>
                <a:lnTo>
                  <a:pt x="756" y="884"/>
                </a:lnTo>
                <a:lnTo>
                  <a:pt x="756" y="892"/>
                </a:lnTo>
                <a:lnTo>
                  <a:pt x="773" y="916"/>
                </a:lnTo>
                <a:lnTo>
                  <a:pt x="773" y="940"/>
                </a:lnTo>
                <a:lnTo>
                  <a:pt x="790" y="963"/>
                </a:lnTo>
                <a:lnTo>
                  <a:pt x="781" y="987"/>
                </a:lnTo>
                <a:cubicBezTo>
                  <a:pt x="781" y="987"/>
                  <a:pt x="790" y="1003"/>
                  <a:pt x="781" y="1011"/>
                </a:cubicBezTo>
                <a:lnTo>
                  <a:pt x="765" y="1027"/>
                </a:lnTo>
                <a:lnTo>
                  <a:pt x="756" y="1042"/>
                </a:lnTo>
                <a:lnTo>
                  <a:pt x="740" y="1050"/>
                </a:lnTo>
                <a:lnTo>
                  <a:pt x="740" y="1066"/>
                </a:lnTo>
                <a:cubicBezTo>
                  <a:pt x="740" y="1066"/>
                  <a:pt x="740" y="1090"/>
                  <a:pt x="748" y="1090"/>
                </a:cubicBezTo>
                <a:lnTo>
                  <a:pt x="765" y="1074"/>
                </a:lnTo>
                <a:cubicBezTo>
                  <a:pt x="765" y="1074"/>
                  <a:pt x="781" y="1090"/>
                  <a:pt x="773" y="1098"/>
                </a:cubicBezTo>
                <a:lnTo>
                  <a:pt x="740" y="1098"/>
                </a:lnTo>
                <a:lnTo>
                  <a:pt x="723" y="1098"/>
                </a:lnTo>
                <a:cubicBezTo>
                  <a:pt x="723" y="1098"/>
                  <a:pt x="715" y="1113"/>
                  <a:pt x="707" y="1113"/>
                </a:cubicBezTo>
                <a:lnTo>
                  <a:pt x="707" y="1129"/>
                </a:lnTo>
                <a:lnTo>
                  <a:pt x="690" y="1113"/>
                </a:lnTo>
                <a:lnTo>
                  <a:pt x="682" y="1121"/>
                </a:lnTo>
                <a:lnTo>
                  <a:pt x="690" y="1137"/>
                </a:lnTo>
                <a:lnTo>
                  <a:pt x="690" y="1153"/>
                </a:lnTo>
                <a:lnTo>
                  <a:pt x="707" y="1153"/>
                </a:lnTo>
                <a:lnTo>
                  <a:pt x="723" y="1161"/>
                </a:lnTo>
                <a:cubicBezTo>
                  <a:pt x="723" y="1161"/>
                  <a:pt x="715" y="1169"/>
                  <a:pt x="723" y="1169"/>
                </a:cubicBezTo>
                <a:cubicBezTo>
                  <a:pt x="723" y="1177"/>
                  <a:pt x="723" y="1177"/>
                  <a:pt x="732" y="1177"/>
                </a:cubicBezTo>
                <a:lnTo>
                  <a:pt x="740" y="1184"/>
                </a:lnTo>
                <a:lnTo>
                  <a:pt x="740" y="1208"/>
                </a:lnTo>
                <a:cubicBezTo>
                  <a:pt x="732" y="1208"/>
                  <a:pt x="732" y="1216"/>
                  <a:pt x="732" y="1216"/>
                </a:cubicBezTo>
                <a:lnTo>
                  <a:pt x="723" y="1216"/>
                </a:lnTo>
                <a:cubicBezTo>
                  <a:pt x="715" y="1224"/>
                  <a:pt x="715" y="1232"/>
                  <a:pt x="715" y="1232"/>
                </a:cubicBezTo>
                <a:lnTo>
                  <a:pt x="707" y="1232"/>
                </a:lnTo>
                <a:cubicBezTo>
                  <a:pt x="707" y="1240"/>
                  <a:pt x="715" y="1248"/>
                  <a:pt x="715" y="1256"/>
                </a:cubicBezTo>
                <a:lnTo>
                  <a:pt x="707" y="1256"/>
                </a:lnTo>
                <a:lnTo>
                  <a:pt x="690" y="1240"/>
                </a:lnTo>
                <a:cubicBezTo>
                  <a:pt x="682" y="1240"/>
                  <a:pt x="673" y="1248"/>
                  <a:pt x="657" y="1248"/>
                </a:cubicBezTo>
                <a:lnTo>
                  <a:pt x="648" y="1240"/>
                </a:lnTo>
                <a:lnTo>
                  <a:pt x="615" y="1248"/>
                </a:lnTo>
                <a:lnTo>
                  <a:pt x="615" y="1232"/>
                </a:lnTo>
                <a:lnTo>
                  <a:pt x="607" y="1216"/>
                </a:lnTo>
                <a:lnTo>
                  <a:pt x="607" y="1192"/>
                </a:lnTo>
                <a:lnTo>
                  <a:pt x="615" y="1184"/>
                </a:lnTo>
                <a:cubicBezTo>
                  <a:pt x="624" y="1184"/>
                  <a:pt x="632" y="1169"/>
                  <a:pt x="632" y="1169"/>
                </a:cubicBezTo>
                <a:cubicBezTo>
                  <a:pt x="632" y="1169"/>
                  <a:pt x="640" y="1153"/>
                  <a:pt x="648" y="1145"/>
                </a:cubicBezTo>
                <a:lnTo>
                  <a:pt x="657" y="1121"/>
                </a:lnTo>
                <a:cubicBezTo>
                  <a:pt x="657" y="1113"/>
                  <a:pt x="665" y="1106"/>
                  <a:pt x="665" y="1106"/>
                </a:cubicBezTo>
                <a:cubicBezTo>
                  <a:pt x="665" y="1106"/>
                  <a:pt x="682" y="1090"/>
                  <a:pt x="682" y="1082"/>
                </a:cubicBezTo>
                <a:cubicBezTo>
                  <a:pt x="682" y="1074"/>
                  <a:pt x="673" y="1074"/>
                  <a:pt x="665" y="1074"/>
                </a:cubicBezTo>
                <a:cubicBezTo>
                  <a:pt x="665" y="1074"/>
                  <a:pt x="640" y="1066"/>
                  <a:pt x="632" y="1058"/>
                </a:cubicBezTo>
                <a:cubicBezTo>
                  <a:pt x="624" y="1058"/>
                  <a:pt x="607" y="1050"/>
                  <a:pt x="590" y="1050"/>
                </a:cubicBezTo>
                <a:cubicBezTo>
                  <a:pt x="574" y="1042"/>
                  <a:pt x="582" y="1042"/>
                  <a:pt x="590" y="1027"/>
                </a:cubicBezTo>
                <a:cubicBezTo>
                  <a:pt x="590" y="1019"/>
                  <a:pt x="574" y="1019"/>
                  <a:pt x="574" y="1011"/>
                </a:cubicBezTo>
                <a:cubicBezTo>
                  <a:pt x="574" y="1011"/>
                  <a:pt x="565" y="1019"/>
                  <a:pt x="557" y="1027"/>
                </a:cubicBezTo>
                <a:cubicBezTo>
                  <a:pt x="549" y="1027"/>
                  <a:pt x="540" y="1019"/>
                  <a:pt x="532" y="1019"/>
                </a:cubicBezTo>
                <a:lnTo>
                  <a:pt x="507" y="1019"/>
                </a:lnTo>
                <a:lnTo>
                  <a:pt x="507" y="1003"/>
                </a:lnTo>
                <a:cubicBezTo>
                  <a:pt x="507" y="995"/>
                  <a:pt x="499" y="995"/>
                  <a:pt x="499" y="995"/>
                </a:cubicBezTo>
                <a:cubicBezTo>
                  <a:pt x="499" y="995"/>
                  <a:pt x="482" y="995"/>
                  <a:pt x="482" y="987"/>
                </a:cubicBezTo>
                <a:cubicBezTo>
                  <a:pt x="474" y="987"/>
                  <a:pt x="482" y="987"/>
                  <a:pt x="482" y="979"/>
                </a:cubicBezTo>
                <a:cubicBezTo>
                  <a:pt x="482" y="971"/>
                  <a:pt x="482" y="979"/>
                  <a:pt x="474" y="979"/>
                </a:cubicBezTo>
                <a:cubicBezTo>
                  <a:pt x="466" y="979"/>
                  <a:pt x="466" y="955"/>
                  <a:pt x="466" y="955"/>
                </a:cubicBezTo>
                <a:cubicBezTo>
                  <a:pt x="466" y="955"/>
                  <a:pt x="457" y="940"/>
                  <a:pt x="457" y="932"/>
                </a:cubicBezTo>
                <a:cubicBezTo>
                  <a:pt x="449" y="916"/>
                  <a:pt x="449" y="932"/>
                  <a:pt x="449" y="932"/>
                </a:cubicBezTo>
                <a:lnTo>
                  <a:pt x="432" y="955"/>
                </a:lnTo>
                <a:cubicBezTo>
                  <a:pt x="432" y="955"/>
                  <a:pt x="424" y="955"/>
                  <a:pt x="399" y="948"/>
                </a:cubicBezTo>
                <a:cubicBezTo>
                  <a:pt x="383" y="940"/>
                  <a:pt x="391" y="940"/>
                  <a:pt x="391" y="940"/>
                </a:cubicBezTo>
                <a:lnTo>
                  <a:pt x="407" y="924"/>
                </a:lnTo>
                <a:cubicBezTo>
                  <a:pt x="407" y="924"/>
                  <a:pt x="391" y="916"/>
                  <a:pt x="383" y="916"/>
                </a:cubicBezTo>
                <a:cubicBezTo>
                  <a:pt x="374" y="908"/>
                  <a:pt x="374" y="908"/>
                  <a:pt x="366" y="924"/>
                </a:cubicBezTo>
                <a:cubicBezTo>
                  <a:pt x="358" y="932"/>
                  <a:pt x="358" y="932"/>
                  <a:pt x="349" y="940"/>
                </a:cubicBezTo>
                <a:cubicBezTo>
                  <a:pt x="341" y="948"/>
                  <a:pt x="341" y="948"/>
                  <a:pt x="324" y="948"/>
                </a:cubicBezTo>
                <a:cubicBezTo>
                  <a:pt x="316" y="948"/>
                  <a:pt x="316" y="940"/>
                  <a:pt x="308" y="940"/>
                </a:cubicBezTo>
                <a:cubicBezTo>
                  <a:pt x="308" y="932"/>
                  <a:pt x="308" y="932"/>
                  <a:pt x="299" y="924"/>
                </a:cubicBezTo>
                <a:cubicBezTo>
                  <a:pt x="299" y="916"/>
                  <a:pt x="291" y="916"/>
                  <a:pt x="291" y="916"/>
                </a:cubicBezTo>
                <a:cubicBezTo>
                  <a:pt x="291" y="916"/>
                  <a:pt x="275" y="924"/>
                  <a:pt x="275" y="932"/>
                </a:cubicBezTo>
                <a:cubicBezTo>
                  <a:pt x="266" y="932"/>
                  <a:pt x="275" y="940"/>
                  <a:pt x="275" y="948"/>
                </a:cubicBezTo>
                <a:cubicBezTo>
                  <a:pt x="283" y="955"/>
                  <a:pt x="275" y="963"/>
                  <a:pt x="275" y="963"/>
                </a:cubicBezTo>
                <a:lnTo>
                  <a:pt x="250" y="963"/>
                </a:lnTo>
                <a:cubicBezTo>
                  <a:pt x="241" y="963"/>
                  <a:pt x="233" y="963"/>
                  <a:pt x="225" y="955"/>
                </a:cubicBezTo>
                <a:cubicBezTo>
                  <a:pt x="208" y="948"/>
                  <a:pt x="216" y="963"/>
                  <a:pt x="216" y="971"/>
                </a:cubicBezTo>
                <a:lnTo>
                  <a:pt x="200" y="987"/>
                </a:lnTo>
                <a:cubicBezTo>
                  <a:pt x="183" y="987"/>
                  <a:pt x="166" y="979"/>
                  <a:pt x="166" y="979"/>
                </a:cubicBezTo>
                <a:lnTo>
                  <a:pt x="158" y="987"/>
                </a:lnTo>
                <a:lnTo>
                  <a:pt x="133" y="979"/>
                </a:lnTo>
                <a:lnTo>
                  <a:pt x="125" y="979"/>
                </a:lnTo>
                <a:lnTo>
                  <a:pt x="117" y="955"/>
                </a:lnTo>
                <a:lnTo>
                  <a:pt x="108" y="955"/>
                </a:lnTo>
                <a:lnTo>
                  <a:pt x="75" y="940"/>
                </a:lnTo>
                <a:lnTo>
                  <a:pt x="67" y="932"/>
                </a:lnTo>
                <a:lnTo>
                  <a:pt x="50" y="940"/>
                </a:lnTo>
                <a:lnTo>
                  <a:pt x="42" y="948"/>
                </a:lnTo>
                <a:cubicBezTo>
                  <a:pt x="42" y="948"/>
                  <a:pt x="25" y="955"/>
                  <a:pt x="17" y="955"/>
                </a:cubicBezTo>
                <a:cubicBezTo>
                  <a:pt x="17" y="948"/>
                  <a:pt x="0" y="916"/>
                  <a:pt x="0" y="916"/>
                </a:cubicBezTo>
                <a:lnTo>
                  <a:pt x="9" y="892"/>
                </a:lnTo>
                <a:lnTo>
                  <a:pt x="34" y="884"/>
                </a:lnTo>
                <a:lnTo>
                  <a:pt x="50" y="884"/>
                </a:lnTo>
                <a:cubicBezTo>
                  <a:pt x="50" y="884"/>
                  <a:pt x="58" y="884"/>
                  <a:pt x="58" y="892"/>
                </a:cubicBezTo>
                <a:cubicBezTo>
                  <a:pt x="67" y="892"/>
                  <a:pt x="83" y="908"/>
                  <a:pt x="92" y="908"/>
                </a:cubicBezTo>
                <a:lnTo>
                  <a:pt x="108" y="916"/>
                </a:lnTo>
                <a:cubicBezTo>
                  <a:pt x="117" y="916"/>
                  <a:pt x="133" y="924"/>
                  <a:pt x="133" y="924"/>
                </a:cubicBezTo>
                <a:lnTo>
                  <a:pt x="150" y="924"/>
                </a:lnTo>
                <a:lnTo>
                  <a:pt x="166" y="916"/>
                </a:lnTo>
                <a:cubicBezTo>
                  <a:pt x="175" y="908"/>
                  <a:pt x="175" y="900"/>
                  <a:pt x="175" y="900"/>
                </a:cubicBezTo>
                <a:lnTo>
                  <a:pt x="183" y="900"/>
                </a:lnTo>
                <a:cubicBezTo>
                  <a:pt x="183" y="908"/>
                  <a:pt x="191" y="916"/>
                  <a:pt x="191" y="916"/>
                </a:cubicBezTo>
                <a:lnTo>
                  <a:pt x="200" y="924"/>
                </a:lnTo>
                <a:cubicBezTo>
                  <a:pt x="208" y="932"/>
                  <a:pt x="216" y="932"/>
                  <a:pt x="216" y="932"/>
                </a:cubicBezTo>
                <a:lnTo>
                  <a:pt x="225" y="924"/>
                </a:lnTo>
                <a:cubicBezTo>
                  <a:pt x="225" y="924"/>
                  <a:pt x="233" y="932"/>
                  <a:pt x="233" y="924"/>
                </a:cubicBezTo>
                <a:lnTo>
                  <a:pt x="241" y="924"/>
                </a:lnTo>
                <a:cubicBezTo>
                  <a:pt x="241" y="924"/>
                  <a:pt x="250" y="916"/>
                  <a:pt x="241" y="916"/>
                </a:cubicBezTo>
                <a:cubicBezTo>
                  <a:pt x="241" y="916"/>
                  <a:pt x="241" y="908"/>
                  <a:pt x="241" y="916"/>
                </a:cubicBezTo>
                <a:lnTo>
                  <a:pt x="225" y="916"/>
                </a:lnTo>
                <a:cubicBezTo>
                  <a:pt x="216" y="916"/>
                  <a:pt x="200" y="908"/>
                  <a:pt x="200" y="908"/>
                </a:cubicBezTo>
                <a:cubicBezTo>
                  <a:pt x="200" y="900"/>
                  <a:pt x="191" y="900"/>
                  <a:pt x="191" y="892"/>
                </a:cubicBezTo>
                <a:cubicBezTo>
                  <a:pt x="183" y="892"/>
                  <a:pt x="183" y="884"/>
                  <a:pt x="175" y="884"/>
                </a:cubicBezTo>
                <a:lnTo>
                  <a:pt x="166" y="884"/>
                </a:lnTo>
                <a:cubicBezTo>
                  <a:pt x="166" y="884"/>
                  <a:pt x="158" y="892"/>
                  <a:pt x="158" y="900"/>
                </a:cubicBezTo>
                <a:cubicBezTo>
                  <a:pt x="158" y="900"/>
                  <a:pt x="166" y="908"/>
                  <a:pt x="150" y="900"/>
                </a:cubicBezTo>
                <a:lnTo>
                  <a:pt x="117" y="900"/>
                </a:lnTo>
                <a:lnTo>
                  <a:pt x="92" y="877"/>
                </a:lnTo>
                <a:lnTo>
                  <a:pt x="75" y="877"/>
                </a:lnTo>
                <a:cubicBezTo>
                  <a:pt x="75" y="877"/>
                  <a:pt x="58" y="869"/>
                  <a:pt x="58" y="861"/>
                </a:cubicBezTo>
                <a:cubicBezTo>
                  <a:pt x="58" y="861"/>
                  <a:pt x="50" y="853"/>
                  <a:pt x="50" y="845"/>
                </a:cubicBezTo>
                <a:cubicBezTo>
                  <a:pt x="50" y="845"/>
                  <a:pt x="42" y="845"/>
                  <a:pt x="42" y="837"/>
                </a:cubicBezTo>
                <a:lnTo>
                  <a:pt x="34" y="829"/>
                </a:lnTo>
                <a:cubicBezTo>
                  <a:pt x="34" y="829"/>
                  <a:pt x="34" y="821"/>
                  <a:pt x="42" y="813"/>
                </a:cubicBezTo>
                <a:lnTo>
                  <a:pt x="67" y="813"/>
                </a:lnTo>
                <a:lnTo>
                  <a:pt x="83" y="813"/>
                </a:lnTo>
                <a:lnTo>
                  <a:pt x="100" y="813"/>
                </a:lnTo>
                <a:lnTo>
                  <a:pt x="125" y="813"/>
                </a:lnTo>
                <a:cubicBezTo>
                  <a:pt x="125" y="813"/>
                  <a:pt x="108" y="805"/>
                  <a:pt x="133" y="813"/>
                </a:cubicBezTo>
                <a:cubicBezTo>
                  <a:pt x="133" y="813"/>
                  <a:pt x="166" y="821"/>
                  <a:pt x="158" y="837"/>
                </a:cubicBezTo>
                <a:lnTo>
                  <a:pt x="150" y="845"/>
                </a:lnTo>
                <a:lnTo>
                  <a:pt x="166" y="853"/>
                </a:lnTo>
                <a:lnTo>
                  <a:pt x="175" y="845"/>
                </a:lnTo>
                <a:lnTo>
                  <a:pt x="183" y="853"/>
                </a:lnTo>
                <a:lnTo>
                  <a:pt x="200" y="869"/>
                </a:lnTo>
                <a:lnTo>
                  <a:pt x="216" y="869"/>
                </a:lnTo>
                <a:cubicBezTo>
                  <a:pt x="208" y="877"/>
                  <a:pt x="200" y="861"/>
                  <a:pt x="208" y="877"/>
                </a:cubicBezTo>
                <a:cubicBezTo>
                  <a:pt x="216" y="892"/>
                  <a:pt x="225" y="900"/>
                  <a:pt x="225" y="900"/>
                </a:cubicBezTo>
                <a:lnTo>
                  <a:pt x="233" y="900"/>
                </a:lnTo>
                <a:cubicBezTo>
                  <a:pt x="233" y="900"/>
                  <a:pt x="233" y="892"/>
                  <a:pt x="241" y="892"/>
                </a:cubicBezTo>
                <a:cubicBezTo>
                  <a:pt x="241" y="900"/>
                  <a:pt x="258" y="900"/>
                  <a:pt x="266" y="900"/>
                </a:cubicBezTo>
                <a:cubicBezTo>
                  <a:pt x="266" y="900"/>
                  <a:pt x="266" y="892"/>
                  <a:pt x="258" y="877"/>
                </a:cubicBezTo>
                <a:cubicBezTo>
                  <a:pt x="250" y="869"/>
                  <a:pt x="241" y="861"/>
                  <a:pt x="241" y="861"/>
                </a:cubicBezTo>
                <a:cubicBezTo>
                  <a:pt x="233" y="861"/>
                  <a:pt x="241" y="869"/>
                  <a:pt x="225" y="861"/>
                </a:cubicBezTo>
                <a:cubicBezTo>
                  <a:pt x="208" y="853"/>
                  <a:pt x="208" y="861"/>
                  <a:pt x="200" y="853"/>
                </a:cubicBezTo>
                <a:cubicBezTo>
                  <a:pt x="191" y="837"/>
                  <a:pt x="183" y="837"/>
                  <a:pt x="183" y="829"/>
                </a:cubicBezTo>
                <a:cubicBezTo>
                  <a:pt x="183" y="829"/>
                  <a:pt x="191" y="829"/>
                  <a:pt x="200" y="821"/>
                </a:cubicBezTo>
                <a:cubicBezTo>
                  <a:pt x="208" y="821"/>
                  <a:pt x="191" y="813"/>
                  <a:pt x="208" y="821"/>
                </a:cubicBezTo>
                <a:cubicBezTo>
                  <a:pt x="233" y="829"/>
                  <a:pt x="233" y="829"/>
                  <a:pt x="241" y="829"/>
                </a:cubicBezTo>
                <a:cubicBezTo>
                  <a:pt x="241" y="829"/>
                  <a:pt x="258" y="829"/>
                  <a:pt x="241" y="821"/>
                </a:cubicBezTo>
                <a:cubicBezTo>
                  <a:pt x="225" y="821"/>
                  <a:pt x="216" y="813"/>
                  <a:pt x="216" y="813"/>
                </a:cubicBezTo>
                <a:lnTo>
                  <a:pt x="200" y="813"/>
                </a:lnTo>
                <a:lnTo>
                  <a:pt x="191" y="813"/>
                </a:lnTo>
                <a:cubicBezTo>
                  <a:pt x="183" y="813"/>
                  <a:pt x="183" y="821"/>
                  <a:pt x="183" y="813"/>
                </a:cubicBezTo>
                <a:cubicBezTo>
                  <a:pt x="175" y="813"/>
                  <a:pt x="166" y="813"/>
                  <a:pt x="166" y="805"/>
                </a:cubicBezTo>
                <a:cubicBezTo>
                  <a:pt x="158" y="805"/>
                  <a:pt x="150" y="798"/>
                  <a:pt x="150" y="798"/>
                </a:cubicBezTo>
                <a:cubicBezTo>
                  <a:pt x="150" y="790"/>
                  <a:pt x="142" y="782"/>
                  <a:pt x="142" y="782"/>
                </a:cubicBezTo>
                <a:lnTo>
                  <a:pt x="117" y="782"/>
                </a:lnTo>
                <a:lnTo>
                  <a:pt x="108" y="782"/>
                </a:lnTo>
                <a:lnTo>
                  <a:pt x="108" y="766"/>
                </a:lnTo>
                <a:cubicBezTo>
                  <a:pt x="108" y="766"/>
                  <a:pt x="108" y="758"/>
                  <a:pt x="117" y="758"/>
                </a:cubicBezTo>
                <a:lnTo>
                  <a:pt x="166" y="758"/>
                </a:lnTo>
                <a:lnTo>
                  <a:pt x="175" y="766"/>
                </a:lnTo>
                <a:cubicBezTo>
                  <a:pt x="183" y="774"/>
                  <a:pt x="191" y="774"/>
                  <a:pt x="191" y="774"/>
                </a:cubicBezTo>
                <a:cubicBezTo>
                  <a:pt x="191" y="782"/>
                  <a:pt x="191" y="782"/>
                  <a:pt x="200" y="782"/>
                </a:cubicBezTo>
                <a:cubicBezTo>
                  <a:pt x="200" y="790"/>
                  <a:pt x="208" y="790"/>
                  <a:pt x="208" y="790"/>
                </a:cubicBezTo>
                <a:lnTo>
                  <a:pt x="216" y="805"/>
                </a:lnTo>
                <a:lnTo>
                  <a:pt x="233" y="813"/>
                </a:lnTo>
                <a:lnTo>
                  <a:pt x="258" y="821"/>
                </a:lnTo>
                <a:lnTo>
                  <a:pt x="266" y="821"/>
                </a:lnTo>
                <a:cubicBezTo>
                  <a:pt x="274" y="821"/>
                  <a:pt x="274" y="813"/>
                  <a:pt x="274" y="813"/>
                </a:cubicBezTo>
                <a:lnTo>
                  <a:pt x="283" y="813"/>
                </a:lnTo>
                <a:lnTo>
                  <a:pt x="308" y="798"/>
                </a:lnTo>
                <a:cubicBezTo>
                  <a:pt x="308" y="805"/>
                  <a:pt x="316" y="805"/>
                  <a:pt x="324" y="805"/>
                </a:cubicBezTo>
                <a:lnTo>
                  <a:pt x="349" y="821"/>
                </a:lnTo>
                <a:lnTo>
                  <a:pt x="349" y="805"/>
                </a:lnTo>
                <a:lnTo>
                  <a:pt x="358" y="798"/>
                </a:lnTo>
                <a:lnTo>
                  <a:pt x="391" y="798"/>
                </a:lnTo>
                <a:lnTo>
                  <a:pt x="399" y="790"/>
                </a:lnTo>
                <a:lnTo>
                  <a:pt x="383" y="790"/>
                </a:lnTo>
                <a:lnTo>
                  <a:pt x="366" y="798"/>
                </a:lnTo>
                <a:lnTo>
                  <a:pt x="349" y="798"/>
                </a:lnTo>
                <a:lnTo>
                  <a:pt x="341" y="805"/>
                </a:lnTo>
                <a:cubicBezTo>
                  <a:pt x="333" y="805"/>
                  <a:pt x="324" y="798"/>
                  <a:pt x="324" y="798"/>
                </a:cubicBezTo>
                <a:cubicBezTo>
                  <a:pt x="316" y="790"/>
                  <a:pt x="299" y="782"/>
                  <a:pt x="299" y="782"/>
                </a:cubicBezTo>
                <a:cubicBezTo>
                  <a:pt x="291" y="782"/>
                  <a:pt x="299" y="782"/>
                  <a:pt x="283" y="774"/>
                </a:cubicBezTo>
                <a:cubicBezTo>
                  <a:pt x="266" y="766"/>
                  <a:pt x="258" y="758"/>
                  <a:pt x="258" y="758"/>
                </a:cubicBezTo>
                <a:lnTo>
                  <a:pt x="250" y="750"/>
                </a:lnTo>
                <a:cubicBezTo>
                  <a:pt x="250" y="750"/>
                  <a:pt x="250" y="742"/>
                  <a:pt x="241" y="742"/>
                </a:cubicBezTo>
                <a:cubicBezTo>
                  <a:pt x="233" y="734"/>
                  <a:pt x="208" y="726"/>
                  <a:pt x="208" y="726"/>
                </a:cubicBezTo>
                <a:lnTo>
                  <a:pt x="208" y="695"/>
                </a:lnTo>
                <a:cubicBezTo>
                  <a:pt x="208" y="687"/>
                  <a:pt x="200" y="671"/>
                  <a:pt x="200" y="671"/>
                </a:cubicBezTo>
                <a:lnTo>
                  <a:pt x="216" y="663"/>
                </a:lnTo>
                <a:cubicBezTo>
                  <a:pt x="225" y="663"/>
                  <a:pt x="233" y="671"/>
                  <a:pt x="233" y="671"/>
                </a:cubicBezTo>
                <a:lnTo>
                  <a:pt x="241" y="663"/>
                </a:lnTo>
                <a:lnTo>
                  <a:pt x="308" y="576"/>
                </a:lnTo>
                <a:lnTo>
                  <a:pt x="366" y="497"/>
                </a:lnTo>
                <a:lnTo>
                  <a:pt x="391" y="379"/>
                </a:lnTo>
                <a:lnTo>
                  <a:pt x="407" y="324"/>
                </a:lnTo>
                <a:lnTo>
                  <a:pt x="424" y="276"/>
                </a:lnTo>
                <a:cubicBezTo>
                  <a:pt x="424" y="276"/>
                  <a:pt x="424" y="268"/>
                  <a:pt x="432" y="276"/>
                </a:cubicBezTo>
                <a:lnTo>
                  <a:pt x="441" y="292"/>
                </a:lnTo>
                <a:lnTo>
                  <a:pt x="449" y="300"/>
                </a:lnTo>
                <a:lnTo>
                  <a:pt x="457" y="300"/>
                </a:lnTo>
                <a:cubicBezTo>
                  <a:pt x="457" y="300"/>
                  <a:pt x="474" y="292"/>
                  <a:pt x="482" y="292"/>
                </a:cubicBezTo>
                <a:lnTo>
                  <a:pt x="515" y="308"/>
                </a:lnTo>
                <a:lnTo>
                  <a:pt x="515" y="332"/>
                </a:lnTo>
                <a:cubicBezTo>
                  <a:pt x="515" y="332"/>
                  <a:pt x="532" y="347"/>
                  <a:pt x="524" y="355"/>
                </a:cubicBezTo>
                <a:lnTo>
                  <a:pt x="515" y="371"/>
                </a:lnTo>
                <a:lnTo>
                  <a:pt x="524" y="379"/>
                </a:lnTo>
                <a:lnTo>
                  <a:pt x="540" y="379"/>
                </a:lnTo>
                <a:cubicBezTo>
                  <a:pt x="549" y="379"/>
                  <a:pt x="557" y="387"/>
                  <a:pt x="557" y="387"/>
                </a:cubicBezTo>
                <a:lnTo>
                  <a:pt x="557" y="395"/>
                </a:lnTo>
                <a:lnTo>
                  <a:pt x="557" y="411"/>
                </a:lnTo>
                <a:cubicBezTo>
                  <a:pt x="557" y="418"/>
                  <a:pt x="540" y="418"/>
                  <a:pt x="540" y="418"/>
                </a:cubicBezTo>
                <a:lnTo>
                  <a:pt x="540" y="426"/>
                </a:lnTo>
                <a:cubicBezTo>
                  <a:pt x="532" y="434"/>
                  <a:pt x="524" y="442"/>
                  <a:pt x="515" y="442"/>
                </a:cubicBezTo>
                <a:lnTo>
                  <a:pt x="499" y="426"/>
                </a:lnTo>
                <a:lnTo>
                  <a:pt x="491" y="434"/>
                </a:lnTo>
                <a:lnTo>
                  <a:pt x="499" y="450"/>
                </a:lnTo>
                <a:lnTo>
                  <a:pt x="507" y="474"/>
                </a:lnTo>
                <a:lnTo>
                  <a:pt x="499" y="482"/>
                </a:lnTo>
                <a:lnTo>
                  <a:pt x="507" y="505"/>
                </a:lnTo>
                <a:lnTo>
                  <a:pt x="507" y="521"/>
                </a:lnTo>
                <a:lnTo>
                  <a:pt x="491" y="529"/>
                </a:lnTo>
                <a:cubicBezTo>
                  <a:pt x="491" y="529"/>
                  <a:pt x="482" y="537"/>
                  <a:pt x="474" y="537"/>
                </a:cubicBezTo>
                <a:cubicBezTo>
                  <a:pt x="474" y="537"/>
                  <a:pt x="466" y="529"/>
                  <a:pt x="466" y="537"/>
                </a:cubicBezTo>
                <a:cubicBezTo>
                  <a:pt x="474" y="545"/>
                  <a:pt x="474" y="553"/>
                  <a:pt x="482" y="553"/>
                </a:cubicBezTo>
                <a:lnTo>
                  <a:pt x="507" y="553"/>
                </a:lnTo>
                <a:lnTo>
                  <a:pt x="524" y="576"/>
                </a:lnTo>
                <a:lnTo>
                  <a:pt x="540" y="576"/>
                </a:lnTo>
                <a:lnTo>
                  <a:pt x="557" y="584"/>
                </a:lnTo>
                <a:lnTo>
                  <a:pt x="565" y="592"/>
                </a:lnTo>
                <a:cubicBezTo>
                  <a:pt x="574" y="592"/>
                  <a:pt x="590" y="600"/>
                  <a:pt x="590" y="600"/>
                </a:cubicBezTo>
                <a:cubicBezTo>
                  <a:pt x="590" y="600"/>
                  <a:pt x="590" y="592"/>
                  <a:pt x="582" y="592"/>
                </a:cubicBezTo>
                <a:cubicBezTo>
                  <a:pt x="582" y="592"/>
                  <a:pt x="574" y="568"/>
                  <a:pt x="557" y="568"/>
                </a:cubicBezTo>
                <a:cubicBezTo>
                  <a:pt x="549" y="561"/>
                  <a:pt x="540" y="561"/>
                  <a:pt x="532" y="561"/>
                </a:cubicBezTo>
                <a:cubicBezTo>
                  <a:pt x="524" y="561"/>
                  <a:pt x="507" y="553"/>
                  <a:pt x="507" y="553"/>
                </a:cubicBezTo>
                <a:cubicBezTo>
                  <a:pt x="507" y="545"/>
                  <a:pt x="499" y="537"/>
                  <a:pt x="507" y="537"/>
                </a:cubicBezTo>
                <a:cubicBezTo>
                  <a:pt x="507" y="529"/>
                  <a:pt x="507" y="521"/>
                  <a:pt x="524" y="521"/>
                </a:cubicBezTo>
                <a:cubicBezTo>
                  <a:pt x="532" y="521"/>
                  <a:pt x="540" y="529"/>
                  <a:pt x="549" y="521"/>
                </a:cubicBezTo>
                <a:cubicBezTo>
                  <a:pt x="557" y="521"/>
                  <a:pt x="574" y="497"/>
                  <a:pt x="574" y="497"/>
                </a:cubicBezTo>
                <a:lnTo>
                  <a:pt x="590" y="482"/>
                </a:lnTo>
                <a:lnTo>
                  <a:pt x="615" y="474"/>
                </a:lnTo>
                <a:lnTo>
                  <a:pt x="648" y="458"/>
                </a:lnTo>
                <a:cubicBezTo>
                  <a:pt x="648" y="458"/>
                  <a:pt x="657" y="458"/>
                  <a:pt x="665" y="466"/>
                </a:cubicBezTo>
                <a:lnTo>
                  <a:pt x="673" y="474"/>
                </a:lnTo>
                <a:cubicBezTo>
                  <a:pt x="682" y="474"/>
                  <a:pt x="698" y="482"/>
                  <a:pt x="698" y="482"/>
                </a:cubicBezTo>
                <a:lnTo>
                  <a:pt x="707" y="490"/>
                </a:lnTo>
                <a:cubicBezTo>
                  <a:pt x="707" y="490"/>
                  <a:pt x="715" y="497"/>
                  <a:pt x="707" y="513"/>
                </a:cubicBezTo>
                <a:lnTo>
                  <a:pt x="707" y="529"/>
                </a:lnTo>
                <a:cubicBezTo>
                  <a:pt x="707" y="529"/>
                  <a:pt x="715" y="521"/>
                  <a:pt x="715" y="513"/>
                </a:cubicBezTo>
                <a:lnTo>
                  <a:pt x="715" y="482"/>
                </a:lnTo>
                <a:cubicBezTo>
                  <a:pt x="715" y="474"/>
                  <a:pt x="707" y="466"/>
                  <a:pt x="707" y="466"/>
                </a:cubicBezTo>
                <a:cubicBezTo>
                  <a:pt x="707" y="466"/>
                  <a:pt x="690" y="474"/>
                  <a:pt x="673" y="466"/>
                </a:cubicBezTo>
                <a:cubicBezTo>
                  <a:pt x="665" y="458"/>
                  <a:pt x="665" y="450"/>
                  <a:pt x="657" y="450"/>
                </a:cubicBezTo>
                <a:cubicBezTo>
                  <a:pt x="657" y="450"/>
                  <a:pt x="648" y="442"/>
                  <a:pt x="640" y="442"/>
                </a:cubicBezTo>
                <a:lnTo>
                  <a:pt x="640" y="403"/>
                </a:lnTo>
                <a:cubicBezTo>
                  <a:pt x="640" y="403"/>
                  <a:pt x="632" y="395"/>
                  <a:pt x="640" y="387"/>
                </a:cubicBezTo>
                <a:cubicBezTo>
                  <a:pt x="648" y="379"/>
                  <a:pt x="648" y="379"/>
                  <a:pt x="657" y="379"/>
                </a:cubicBezTo>
                <a:cubicBezTo>
                  <a:pt x="657" y="371"/>
                  <a:pt x="673" y="363"/>
                  <a:pt x="665" y="363"/>
                </a:cubicBezTo>
                <a:cubicBezTo>
                  <a:pt x="665" y="355"/>
                  <a:pt x="657" y="355"/>
                  <a:pt x="648" y="355"/>
                </a:cubicBezTo>
                <a:cubicBezTo>
                  <a:pt x="640" y="355"/>
                  <a:pt x="648" y="363"/>
                  <a:pt x="640" y="363"/>
                </a:cubicBezTo>
                <a:cubicBezTo>
                  <a:pt x="624" y="363"/>
                  <a:pt x="624" y="355"/>
                  <a:pt x="615" y="347"/>
                </a:cubicBezTo>
                <a:cubicBezTo>
                  <a:pt x="615" y="339"/>
                  <a:pt x="615" y="339"/>
                  <a:pt x="607" y="347"/>
                </a:cubicBezTo>
                <a:cubicBezTo>
                  <a:pt x="599" y="347"/>
                  <a:pt x="590" y="339"/>
                  <a:pt x="590" y="339"/>
                </a:cubicBezTo>
                <a:cubicBezTo>
                  <a:pt x="590" y="339"/>
                  <a:pt x="582" y="332"/>
                  <a:pt x="590" y="324"/>
                </a:cubicBezTo>
                <a:lnTo>
                  <a:pt x="599" y="308"/>
                </a:lnTo>
                <a:lnTo>
                  <a:pt x="599" y="276"/>
                </a:ln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77" name="Freeform 69">
            <a:extLst>
              <a:ext uri="{FF2B5EF4-FFF2-40B4-BE49-F238E27FC236}">
                <a16:creationId xmlns:a16="http://schemas.microsoft.com/office/drawing/2014/main" id="{6A80B7E9-C5DD-8142-01CF-6AD234288D9E}"/>
              </a:ext>
            </a:extLst>
          </p:cNvPr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6601911" y="3562663"/>
            <a:ext cx="34414" cy="23546"/>
          </a:xfrm>
          <a:custGeom>
            <a:avLst/>
            <a:gdLst>
              <a:gd name="T0" fmla="*/ 0 w 84"/>
              <a:gd name="T1" fmla="*/ 47 h 56"/>
              <a:gd name="T2" fmla="*/ 0 w 84"/>
              <a:gd name="T3" fmla="*/ 55 h 56"/>
              <a:gd name="T4" fmla="*/ 9 w 84"/>
              <a:gd name="T5" fmla="*/ 55 h 56"/>
              <a:gd name="T6" fmla="*/ 17 w 84"/>
              <a:gd name="T7" fmla="*/ 55 h 56"/>
              <a:gd name="T8" fmla="*/ 34 w 84"/>
              <a:gd name="T9" fmla="*/ 39 h 56"/>
              <a:gd name="T10" fmla="*/ 42 w 84"/>
              <a:gd name="T11" fmla="*/ 39 h 56"/>
              <a:gd name="T12" fmla="*/ 50 w 84"/>
              <a:gd name="T13" fmla="*/ 31 h 56"/>
              <a:gd name="T14" fmla="*/ 58 w 84"/>
              <a:gd name="T15" fmla="*/ 31 h 56"/>
              <a:gd name="T16" fmla="*/ 58 w 84"/>
              <a:gd name="T17" fmla="*/ 23 h 56"/>
              <a:gd name="T18" fmla="*/ 75 w 84"/>
              <a:gd name="T19" fmla="*/ 16 h 56"/>
              <a:gd name="T20" fmla="*/ 83 w 84"/>
              <a:gd name="T21" fmla="*/ 0 h 56"/>
              <a:gd name="T22" fmla="*/ 75 w 84"/>
              <a:gd name="T23" fmla="*/ 8 h 56"/>
              <a:gd name="T24" fmla="*/ 58 w 84"/>
              <a:gd name="T25" fmla="*/ 8 h 56"/>
              <a:gd name="T26" fmla="*/ 50 w 84"/>
              <a:gd name="T27" fmla="*/ 16 h 56"/>
              <a:gd name="T28" fmla="*/ 25 w 84"/>
              <a:gd name="T29" fmla="*/ 23 h 56"/>
              <a:gd name="T30" fmla="*/ 17 w 84"/>
              <a:gd name="T31" fmla="*/ 39 h 56"/>
              <a:gd name="T32" fmla="*/ 17 w 84"/>
              <a:gd name="T33" fmla="*/ 47 h 56"/>
              <a:gd name="T34" fmla="*/ 0 w 84"/>
              <a:gd name="T35" fmla="*/ 47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4" h="56">
                <a:moveTo>
                  <a:pt x="0" y="47"/>
                </a:moveTo>
                <a:lnTo>
                  <a:pt x="0" y="55"/>
                </a:lnTo>
                <a:lnTo>
                  <a:pt x="9" y="55"/>
                </a:lnTo>
                <a:cubicBezTo>
                  <a:pt x="9" y="47"/>
                  <a:pt x="9" y="55"/>
                  <a:pt x="17" y="55"/>
                </a:cubicBezTo>
                <a:cubicBezTo>
                  <a:pt x="25" y="55"/>
                  <a:pt x="34" y="39"/>
                  <a:pt x="34" y="39"/>
                </a:cubicBezTo>
                <a:lnTo>
                  <a:pt x="42" y="39"/>
                </a:lnTo>
                <a:cubicBezTo>
                  <a:pt x="42" y="39"/>
                  <a:pt x="50" y="39"/>
                  <a:pt x="50" y="31"/>
                </a:cubicBezTo>
                <a:lnTo>
                  <a:pt x="58" y="31"/>
                </a:lnTo>
                <a:lnTo>
                  <a:pt x="58" y="23"/>
                </a:lnTo>
                <a:cubicBezTo>
                  <a:pt x="67" y="16"/>
                  <a:pt x="75" y="16"/>
                  <a:pt x="75" y="16"/>
                </a:cubicBezTo>
                <a:cubicBezTo>
                  <a:pt x="83" y="8"/>
                  <a:pt x="83" y="8"/>
                  <a:pt x="83" y="0"/>
                </a:cubicBezTo>
                <a:cubicBezTo>
                  <a:pt x="83" y="0"/>
                  <a:pt x="75" y="0"/>
                  <a:pt x="75" y="8"/>
                </a:cubicBezTo>
                <a:lnTo>
                  <a:pt x="58" y="8"/>
                </a:lnTo>
                <a:cubicBezTo>
                  <a:pt x="58" y="16"/>
                  <a:pt x="50" y="16"/>
                  <a:pt x="50" y="16"/>
                </a:cubicBezTo>
                <a:cubicBezTo>
                  <a:pt x="42" y="16"/>
                  <a:pt x="34" y="23"/>
                  <a:pt x="25" y="23"/>
                </a:cubicBezTo>
                <a:cubicBezTo>
                  <a:pt x="25" y="23"/>
                  <a:pt x="25" y="31"/>
                  <a:pt x="17" y="39"/>
                </a:cubicBezTo>
                <a:lnTo>
                  <a:pt x="17" y="47"/>
                </a:lnTo>
                <a:lnTo>
                  <a:pt x="0" y="4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78" name="Freeform 70">
            <a:extLst>
              <a:ext uri="{FF2B5EF4-FFF2-40B4-BE49-F238E27FC236}">
                <a16:creationId xmlns:a16="http://schemas.microsoft.com/office/drawing/2014/main" id="{40EBF420-F790-AD1B-940E-C172375E9802}"/>
              </a:ext>
            </a:extLst>
          </p:cNvPr>
          <p:cNvSpPr>
            <a:spLocks noChangeArrowheads="1"/>
          </p:cNvSpPr>
          <p:nvPr>
            <p:custDataLst>
              <p:tags r:id="rId70"/>
            </p:custDataLst>
          </p:nvPr>
        </p:nvSpPr>
        <p:spPr bwMode="auto">
          <a:xfrm>
            <a:off x="6424412" y="3635112"/>
            <a:ext cx="54337" cy="39847"/>
          </a:xfrm>
          <a:custGeom>
            <a:avLst/>
            <a:gdLst>
              <a:gd name="T0" fmla="*/ 17 w 134"/>
              <a:gd name="T1" fmla="*/ 23 h 95"/>
              <a:gd name="T2" fmla="*/ 25 w 134"/>
              <a:gd name="T3" fmla="*/ 23 h 95"/>
              <a:gd name="T4" fmla="*/ 25 w 134"/>
              <a:gd name="T5" fmla="*/ 15 h 95"/>
              <a:gd name="T6" fmla="*/ 33 w 134"/>
              <a:gd name="T7" fmla="*/ 23 h 95"/>
              <a:gd name="T8" fmla="*/ 42 w 134"/>
              <a:gd name="T9" fmla="*/ 31 h 95"/>
              <a:gd name="T10" fmla="*/ 50 w 134"/>
              <a:gd name="T11" fmla="*/ 47 h 95"/>
              <a:gd name="T12" fmla="*/ 50 w 134"/>
              <a:gd name="T13" fmla="*/ 55 h 95"/>
              <a:gd name="T14" fmla="*/ 50 w 134"/>
              <a:gd name="T15" fmla="*/ 63 h 95"/>
              <a:gd name="T16" fmla="*/ 67 w 134"/>
              <a:gd name="T17" fmla="*/ 63 h 95"/>
              <a:gd name="T18" fmla="*/ 75 w 134"/>
              <a:gd name="T19" fmla="*/ 71 h 95"/>
              <a:gd name="T20" fmla="*/ 83 w 134"/>
              <a:gd name="T21" fmla="*/ 79 h 95"/>
              <a:gd name="T22" fmla="*/ 100 w 134"/>
              <a:gd name="T23" fmla="*/ 94 h 95"/>
              <a:gd name="T24" fmla="*/ 117 w 134"/>
              <a:gd name="T25" fmla="*/ 94 h 95"/>
              <a:gd name="T26" fmla="*/ 125 w 134"/>
              <a:gd name="T27" fmla="*/ 86 h 95"/>
              <a:gd name="T28" fmla="*/ 133 w 134"/>
              <a:gd name="T29" fmla="*/ 86 h 95"/>
              <a:gd name="T30" fmla="*/ 125 w 134"/>
              <a:gd name="T31" fmla="*/ 79 h 95"/>
              <a:gd name="T32" fmla="*/ 108 w 134"/>
              <a:gd name="T33" fmla="*/ 63 h 95"/>
              <a:gd name="T34" fmla="*/ 108 w 134"/>
              <a:gd name="T35" fmla="*/ 55 h 95"/>
              <a:gd name="T36" fmla="*/ 100 w 134"/>
              <a:gd name="T37" fmla="*/ 47 h 95"/>
              <a:gd name="T38" fmla="*/ 92 w 134"/>
              <a:gd name="T39" fmla="*/ 47 h 95"/>
              <a:gd name="T40" fmla="*/ 83 w 134"/>
              <a:gd name="T41" fmla="*/ 31 h 95"/>
              <a:gd name="T42" fmla="*/ 67 w 134"/>
              <a:gd name="T43" fmla="*/ 23 h 95"/>
              <a:gd name="T44" fmla="*/ 58 w 134"/>
              <a:gd name="T45" fmla="*/ 23 h 95"/>
              <a:gd name="T46" fmla="*/ 42 w 134"/>
              <a:gd name="T47" fmla="*/ 7 h 95"/>
              <a:gd name="T48" fmla="*/ 42 w 134"/>
              <a:gd name="T49" fmla="*/ 0 h 95"/>
              <a:gd name="T50" fmla="*/ 25 w 134"/>
              <a:gd name="T51" fmla="*/ 0 h 95"/>
              <a:gd name="T52" fmla="*/ 8 w 134"/>
              <a:gd name="T53" fmla="*/ 7 h 95"/>
              <a:gd name="T54" fmla="*/ 0 w 134"/>
              <a:gd name="T55" fmla="*/ 15 h 95"/>
              <a:gd name="T56" fmla="*/ 8 w 134"/>
              <a:gd name="T57" fmla="*/ 23 h 95"/>
              <a:gd name="T58" fmla="*/ 17 w 134"/>
              <a:gd name="T59" fmla="*/ 23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34" h="95">
                <a:moveTo>
                  <a:pt x="17" y="23"/>
                </a:moveTo>
                <a:lnTo>
                  <a:pt x="25" y="23"/>
                </a:lnTo>
                <a:lnTo>
                  <a:pt x="25" y="15"/>
                </a:lnTo>
                <a:cubicBezTo>
                  <a:pt x="33" y="15"/>
                  <a:pt x="33" y="23"/>
                  <a:pt x="33" y="23"/>
                </a:cubicBezTo>
                <a:cubicBezTo>
                  <a:pt x="42" y="23"/>
                  <a:pt x="42" y="31"/>
                  <a:pt x="42" y="31"/>
                </a:cubicBezTo>
                <a:lnTo>
                  <a:pt x="50" y="47"/>
                </a:lnTo>
                <a:lnTo>
                  <a:pt x="50" y="55"/>
                </a:lnTo>
                <a:lnTo>
                  <a:pt x="50" y="63"/>
                </a:lnTo>
                <a:lnTo>
                  <a:pt x="67" y="63"/>
                </a:lnTo>
                <a:cubicBezTo>
                  <a:pt x="67" y="63"/>
                  <a:pt x="67" y="71"/>
                  <a:pt x="75" y="71"/>
                </a:cubicBezTo>
                <a:lnTo>
                  <a:pt x="83" y="79"/>
                </a:lnTo>
                <a:cubicBezTo>
                  <a:pt x="92" y="86"/>
                  <a:pt x="92" y="86"/>
                  <a:pt x="100" y="94"/>
                </a:cubicBezTo>
                <a:lnTo>
                  <a:pt x="117" y="94"/>
                </a:lnTo>
                <a:cubicBezTo>
                  <a:pt x="117" y="86"/>
                  <a:pt x="117" y="86"/>
                  <a:pt x="125" y="86"/>
                </a:cubicBezTo>
                <a:lnTo>
                  <a:pt x="133" y="86"/>
                </a:lnTo>
                <a:cubicBezTo>
                  <a:pt x="133" y="79"/>
                  <a:pt x="125" y="79"/>
                  <a:pt x="125" y="79"/>
                </a:cubicBezTo>
                <a:cubicBezTo>
                  <a:pt x="125" y="79"/>
                  <a:pt x="117" y="71"/>
                  <a:pt x="108" y="63"/>
                </a:cubicBezTo>
                <a:lnTo>
                  <a:pt x="108" y="55"/>
                </a:lnTo>
                <a:lnTo>
                  <a:pt x="100" y="47"/>
                </a:lnTo>
                <a:lnTo>
                  <a:pt x="92" y="47"/>
                </a:lnTo>
                <a:cubicBezTo>
                  <a:pt x="83" y="39"/>
                  <a:pt x="83" y="31"/>
                  <a:pt x="83" y="31"/>
                </a:cubicBezTo>
                <a:cubicBezTo>
                  <a:pt x="83" y="31"/>
                  <a:pt x="67" y="31"/>
                  <a:pt x="67" y="23"/>
                </a:cubicBezTo>
                <a:lnTo>
                  <a:pt x="58" y="23"/>
                </a:lnTo>
                <a:cubicBezTo>
                  <a:pt x="58" y="23"/>
                  <a:pt x="42" y="15"/>
                  <a:pt x="42" y="7"/>
                </a:cubicBezTo>
                <a:lnTo>
                  <a:pt x="42" y="0"/>
                </a:lnTo>
                <a:lnTo>
                  <a:pt x="25" y="0"/>
                </a:lnTo>
                <a:cubicBezTo>
                  <a:pt x="17" y="7"/>
                  <a:pt x="8" y="7"/>
                  <a:pt x="8" y="7"/>
                </a:cubicBezTo>
                <a:cubicBezTo>
                  <a:pt x="0" y="7"/>
                  <a:pt x="0" y="15"/>
                  <a:pt x="0" y="15"/>
                </a:cubicBezTo>
                <a:cubicBezTo>
                  <a:pt x="0" y="15"/>
                  <a:pt x="0" y="23"/>
                  <a:pt x="8" y="23"/>
                </a:cubicBezTo>
                <a:cubicBezTo>
                  <a:pt x="8" y="31"/>
                  <a:pt x="17" y="23"/>
                  <a:pt x="17" y="23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79" name="Freeform 71">
            <a:extLst>
              <a:ext uri="{FF2B5EF4-FFF2-40B4-BE49-F238E27FC236}">
                <a16:creationId xmlns:a16="http://schemas.microsoft.com/office/drawing/2014/main" id="{CB5E7A50-B341-0A78-0BB7-BDE3124408F6}"/>
              </a:ext>
            </a:extLst>
          </p:cNvPr>
          <p:cNvSpPr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6531275" y="3414144"/>
            <a:ext cx="23545" cy="32602"/>
          </a:xfrm>
          <a:custGeom>
            <a:avLst/>
            <a:gdLst>
              <a:gd name="T0" fmla="*/ 41 w 59"/>
              <a:gd name="T1" fmla="*/ 71 h 80"/>
              <a:gd name="T2" fmla="*/ 58 w 59"/>
              <a:gd name="T3" fmla="*/ 47 h 80"/>
              <a:gd name="T4" fmla="*/ 58 w 59"/>
              <a:gd name="T5" fmla="*/ 15 h 80"/>
              <a:gd name="T6" fmla="*/ 41 w 59"/>
              <a:gd name="T7" fmla="*/ 0 h 80"/>
              <a:gd name="T8" fmla="*/ 33 w 59"/>
              <a:gd name="T9" fmla="*/ 15 h 80"/>
              <a:gd name="T10" fmla="*/ 16 w 59"/>
              <a:gd name="T11" fmla="*/ 31 h 80"/>
              <a:gd name="T12" fmla="*/ 8 w 59"/>
              <a:gd name="T13" fmla="*/ 55 h 80"/>
              <a:gd name="T14" fmla="*/ 0 w 59"/>
              <a:gd name="T15" fmla="*/ 71 h 80"/>
              <a:gd name="T16" fmla="*/ 16 w 59"/>
              <a:gd name="T17" fmla="*/ 79 h 80"/>
              <a:gd name="T18" fmla="*/ 16 w 59"/>
              <a:gd name="T19" fmla="*/ 79 h 80"/>
              <a:gd name="T20" fmla="*/ 41 w 59"/>
              <a:gd name="T21" fmla="*/ 71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9" h="80">
                <a:moveTo>
                  <a:pt x="41" y="71"/>
                </a:moveTo>
                <a:cubicBezTo>
                  <a:pt x="41" y="71"/>
                  <a:pt x="58" y="55"/>
                  <a:pt x="58" y="47"/>
                </a:cubicBezTo>
                <a:lnTo>
                  <a:pt x="58" y="15"/>
                </a:lnTo>
                <a:lnTo>
                  <a:pt x="41" y="0"/>
                </a:lnTo>
                <a:lnTo>
                  <a:pt x="33" y="15"/>
                </a:lnTo>
                <a:cubicBezTo>
                  <a:pt x="33" y="23"/>
                  <a:pt x="25" y="23"/>
                  <a:pt x="16" y="31"/>
                </a:cubicBezTo>
                <a:cubicBezTo>
                  <a:pt x="8" y="39"/>
                  <a:pt x="8" y="47"/>
                  <a:pt x="8" y="55"/>
                </a:cubicBezTo>
                <a:cubicBezTo>
                  <a:pt x="8" y="55"/>
                  <a:pt x="0" y="63"/>
                  <a:pt x="0" y="71"/>
                </a:cubicBezTo>
                <a:cubicBezTo>
                  <a:pt x="0" y="79"/>
                  <a:pt x="8" y="79"/>
                  <a:pt x="16" y="79"/>
                </a:cubicBezTo>
                <a:cubicBezTo>
                  <a:pt x="25" y="79"/>
                  <a:pt x="16" y="79"/>
                  <a:pt x="16" y="79"/>
                </a:cubicBezTo>
                <a:lnTo>
                  <a:pt x="41" y="71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80" name="Freeform 72">
            <a:extLst>
              <a:ext uri="{FF2B5EF4-FFF2-40B4-BE49-F238E27FC236}">
                <a16:creationId xmlns:a16="http://schemas.microsoft.com/office/drawing/2014/main" id="{F7F4010A-F1C1-5AE3-9A2E-E476B3359EE7}"/>
              </a:ext>
            </a:extLst>
          </p:cNvPr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6551197" y="3397843"/>
            <a:ext cx="23546" cy="16300"/>
          </a:xfrm>
          <a:custGeom>
            <a:avLst/>
            <a:gdLst>
              <a:gd name="T0" fmla="*/ 0 w 59"/>
              <a:gd name="T1" fmla="*/ 32 h 41"/>
              <a:gd name="T2" fmla="*/ 8 w 59"/>
              <a:gd name="T3" fmla="*/ 40 h 41"/>
              <a:gd name="T4" fmla="*/ 16 w 59"/>
              <a:gd name="T5" fmla="*/ 32 h 41"/>
              <a:gd name="T6" fmla="*/ 25 w 59"/>
              <a:gd name="T7" fmla="*/ 24 h 41"/>
              <a:gd name="T8" fmla="*/ 41 w 59"/>
              <a:gd name="T9" fmla="*/ 16 h 41"/>
              <a:gd name="T10" fmla="*/ 58 w 59"/>
              <a:gd name="T11" fmla="*/ 8 h 41"/>
              <a:gd name="T12" fmla="*/ 58 w 59"/>
              <a:gd name="T13" fmla="*/ 0 h 41"/>
              <a:gd name="T14" fmla="*/ 33 w 59"/>
              <a:gd name="T15" fmla="*/ 0 h 41"/>
              <a:gd name="T16" fmla="*/ 16 w 59"/>
              <a:gd name="T17" fmla="*/ 16 h 41"/>
              <a:gd name="T18" fmla="*/ 0 w 59"/>
              <a:gd name="T19" fmla="*/ 3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9" h="41">
                <a:moveTo>
                  <a:pt x="0" y="32"/>
                </a:moveTo>
                <a:lnTo>
                  <a:pt x="8" y="40"/>
                </a:lnTo>
                <a:lnTo>
                  <a:pt x="16" y="32"/>
                </a:lnTo>
                <a:cubicBezTo>
                  <a:pt x="16" y="24"/>
                  <a:pt x="25" y="24"/>
                  <a:pt x="25" y="24"/>
                </a:cubicBezTo>
                <a:cubicBezTo>
                  <a:pt x="25" y="24"/>
                  <a:pt x="33" y="16"/>
                  <a:pt x="41" y="16"/>
                </a:cubicBezTo>
                <a:lnTo>
                  <a:pt x="58" y="8"/>
                </a:lnTo>
                <a:lnTo>
                  <a:pt x="58" y="0"/>
                </a:lnTo>
                <a:lnTo>
                  <a:pt x="33" y="0"/>
                </a:lnTo>
                <a:lnTo>
                  <a:pt x="16" y="16"/>
                </a:lnTo>
                <a:lnTo>
                  <a:pt x="0" y="3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81" name="Freeform 73">
            <a:extLst>
              <a:ext uri="{FF2B5EF4-FFF2-40B4-BE49-F238E27FC236}">
                <a16:creationId xmlns:a16="http://schemas.microsoft.com/office/drawing/2014/main" id="{964031F8-6076-024F-A8B8-B3E2448235E1}"/>
              </a:ext>
            </a:extLst>
          </p:cNvPr>
          <p:cNvSpPr>
            <a:spLocks noChangeArrowheads="1"/>
          </p:cNvSpPr>
          <p:nvPr>
            <p:custDataLst>
              <p:tags r:id="rId73"/>
            </p:custDataLst>
          </p:nvPr>
        </p:nvSpPr>
        <p:spPr bwMode="auto">
          <a:xfrm>
            <a:off x="6585611" y="3377919"/>
            <a:ext cx="45280" cy="16302"/>
          </a:xfrm>
          <a:custGeom>
            <a:avLst/>
            <a:gdLst>
              <a:gd name="T0" fmla="*/ 16 w 109"/>
              <a:gd name="T1" fmla="*/ 31 h 40"/>
              <a:gd name="T2" fmla="*/ 25 w 109"/>
              <a:gd name="T3" fmla="*/ 31 h 40"/>
              <a:gd name="T4" fmla="*/ 41 w 109"/>
              <a:gd name="T5" fmla="*/ 23 h 40"/>
              <a:gd name="T6" fmla="*/ 50 w 109"/>
              <a:gd name="T7" fmla="*/ 23 h 40"/>
              <a:gd name="T8" fmla="*/ 66 w 109"/>
              <a:gd name="T9" fmla="*/ 15 h 40"/>
              <a:gd name="T10" fmla="*/ 83 w 109"/>
              <a:gd name="T11" fmla="*/ 8 h 40"/>
              <a:gd name="T12" fmla="*/ 99 w 109"/>
              <a:gd name="T13" fmla="*/ 15 h 40"/>
              <a:gd name="T14" fmla="*/ 108 w 109"/>
              <a:gd name="T15" fmla="*/ 8 h 40"/>
              <a:gd name="T16" fmla="*/ 91 w 109"/>
              <a:gd name="T17" fmla="*/ 0 h 40"/>
              <a:gd name="T18" fmla="*/ 58 w 109"/>
              <a:gd name="T19" fmla="*/ 8 h 40"/>
              <a:gd name="T20" fmla="*/ 25 w 109"/>
              <a:gd name="T21" fmla="*/ 15 h 40"/>
              <a:gd name="T22" fmla="*/ 8 w 109"/>
              <a:gd name="T23" fmla="*/ 15 h 40"/>
              <a:gd name="T24" fmla="*/ 0 w 109"/>
              <a:gd name="T25" fmla="*/ 23 h 40"/>
              <a:gd name="T26" fmla="*/ 8 w 109"/>
              <a:gd name="T27" fmla="*/ 31 h 40"/>
              <a:gd name="T28" fmla="*/ 16 w 109"/>
              <a:gd name="T29" fmla="*/ 31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09" h="40">
                <a:moveTo>
                  <a:pt x="16" y="31"/>
                </a:moveTo>
                <a:lnTo>
                  <a:pt x="25" y="31"/>
                </a:lnTo>
                <a:cubicBezTo>
                  <a:pt x="25" y="31"/>
                  <a:pt x="41" y="31"/>
                  <a:pt x="41" y="23"/>
                </a:cubicBezTo>
                <a:lnTo>
                  <a:pt x="50" y="23"/>
                </a:lnTo>
                <a:lnTo>
                  <a:pt x="66" y="15"/>
                </a:lnTo>
                <a:cubicBezTo>
                  <a:pt x="75" y="15"/>
                  <a:pt x="83" y="8"/>
                  <a:pt x="83" y="8"/>
                </a:cubicBezTo>
                <a:lnTo>
                  <a:pt x="99" y="15"/>
                </a:lnTo>
                <a:cubicBezTo>
                  <a:pt x="108" y="15"/>
                  <a:pt x="108" y="8"/>
                  <a:pt x="108" y="8"/>
                </a:cubicBezTo>
                <a:lnTo>
                  <a:pt x="91" y="0"/>
                </a:lnTo>
                <a:lnTo>
                  <a:pt x="58" y="8"/>
                </a:lnTo>
                <a:cubicBezTo>
                  <a:pt x="58" y="8"/>
                  <a:pt x="33" y="15"/>
                  <a:pt x="25" y="15"/>
                </a:cubicBezTo>
                <a:cubicBezTo>
                  <a:pt x="16" y="8"/>
                  <a:pt x="8" y="15"/>
                  <a:pt x="8" y="15"/>
                </a:cubicBezTo>
                <a:lnTo>
                  <a:pt x="0" y="23"/>
                </a:lnTo>
                <a:lnTo>
                  <a:pt x="8" y="31"/>
                </a:lnTo>
                <a:cubicBezTo>
                  <a:pt x="8" y="39"/>
                  <a:pt x="16" y="31"/>
                  <a:pt x="16" y="31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82" name="Freeform 74">
            <a:extLst>
              <a:ext uri="{FF2B5EF4-FFF2-40B4-BE49-F238E27FC236}">
                <a16:creationId xmlns:a16="http://schemas.microsoft.com/office/drawing/2014/main" id="{18897AF1-AEE4-A000-6A5A-6395940FE034}"/>
              </a:ext>
            </a:extLst>
          </p:cNvPr>
          <p:cNvSpPr>
            <a:spLocks noChangeArrowheads="1"/>
          </p:cNvSpPr>
          <p:nvPr>
            <p:custDataLst>
              <p:tags r:id="rId74"/>
            </p:custDataLst>
          </p:nvPr>
        </p:nvSpPr>
        <p:spPr bwMode="auto">
          <a:xfrm>
            <a:off x="6636325" y="3377919"/>
            <a:ext cx="34413" cy="9057"/>
          </a:xfrm>
          <a:custGeom>
            <a:avLst/>
            <a:gdLst>
              <a:gd name="T0" fmla="*/ 0 w 84"/>
              <a:gd name="T1" fmla="*/ 8 h 24"/>
              <a:gd name="T2" fmla="*/ 9 w 84"/>
              <a:gd name="T3" fmla="*/ 0 h 24"/>
              <a:gd name="T4" fmla="*/ 17 w 84"/>
              <a:gd name="T5" fmla="*/ 0 h 24"/>
              <a:gd name="T6" fmla="*/ 25 w 84"/>
              <a:gd name="T7" fmla="*/ 8 h 24"/>
              <a:gd name="T8" fmla="*/ 34 w 84"/>
              <a:gd name="T9" fmla="*/ 8 h 24"/>
              <a:gd name="T10" fmla="*/ 50 w 84"/>
              <a:gd name="T11" fmla="*/ 8 h 24"/>
              <a:gd name="T12" fmla="*/ 83 w 84"/>
              <a:gd name="T13" fmla="*/ 8 h 24"/>
              <a:gd name="T14" fmla="*/ 83 w 84"/>
              <a:gd name="T15" fmla="*/ 15 h 24"/>
              <a:gd name="T16" fmla="*/ 67 w 84"/>
              <a:gd name="T17" fmla="*/ 15 h 24"/>
              <a:gd name="T18" fmla="*/ 59 w 84"/>
              <a:gd name="T19" fmla="*/ 15 h 24"/>
              <a:gd name="T20" fmla="*/ 42 w 84"/>
              <a:gd name="T21" fmla="*/ 15 h 24"/>
              <a:gd name="T22" fmla="*/ 34 w 84"/>
              <a:gd name="T23" fmla="*/ 15 h 24"/>
              <a:gd name="T24" fmla="*/ 25 w 84"/>
              <a:gd name="T25" fmla="*/ 15 h 24"/>
              <a:gd name="T26" fmla="*/ 0 w 84"/>
              <a:gd name="T27" fmla="*/ 23 h 24"/>
              <a:gd name="T28" fmla="*/ 0 w 84"/>
              <a:gd name="T29" fmla="*/ 8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4" h="24">
                <a:moveTo>
                  <a:pt x="0" y="8"/>
                </a:moveTo>
                <a:cubicBezTo>
                  <a:pt x="0" y="8"/>
                  <a:pt x="0" y="0"/>
                  <a:pt x="9" y="0"/>
                </a:cubicBezTo>
                <a:lnTo>
                  <a:pt x="17" y="0"/>
                </a:lnTo>
                <a:cubicBezTo>
                  <a:pt x="17" y="8"/>
                  <a:pt x="25" y="8"/>
                  <a:pt x="25" y="8"/>
                </a:cubicBezTo>
                <a:lnTo>
                  <a:pt x="34" y="8"/>
                </a:lnTo>
                <a:cubicBezTo>
                  <a:pt x="42" y="8"/>
                  <a:pt x="42" y="0"/>
                  <a:pt x="50" y="8"/>
                </a:cubicBezTo>
                <a:lnTo>
                  <a:pt x="83" y="8"/>
                </a:lnTo>
                <a:lnTo>
                  <a:pt x="83" y="15"/>
                </a:lnTo>
                <a:lnTo>
                  <a:pt x="67" y="15"/>
                </a:lnTo>
                <a:cubicBezTo>
                  <a:pt x="67" y="15"/>
                  <a:pt x="75" y="15"/>
                  <a:pt x="59" y="15"/>
                </a:cubicBezTo>
                <a:lnTo>
                  <a:pt x="42" y="15"/>
                </a:lnTo>
                <a:lnTo>
                  <a:pt x="34" y="15"/>
                </a:lnTo>
                <a:cubicBezTo>
                  <a:pt x="25" y="15"/>
                  <a:pt x="50" y="8"/>
                  <a:pt x="25" y="15"/>
                </a:cubicBezTo>
                <a:lnTo>
                  <a:pt x="0" y="23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83" name="Freeform 75">
            <a:extLst>
              <a:ext uri="{FF2B5EF4-FFF2-40B4-BE49-F238E27FC236}">
                <a16:creationId xmlns:a16="http://schemas.microsoft.com/office/drawing/2014/main" id="{2A08EE0C-128C-268C-1961-0583A2655F9C}"/>
              </a:ext>
            </a:extLst>
          </p:cNvPr>
          <p:cNvSpPr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6677983" y="3377919"/>
            <a:ext cx="7245" cy="9057"/>
          </a:xfrm>
          <a:custGeom>
            <a:avLst/>
            <a:gdLst>
              <a:gd name="T0" fmla="*/ 0 w 18"/>
              <a:gd name="T1" fmla="*/ 8 h 24"/>
              <a:gd name="T2" fmla="*/ 8 w 18"/>
              <a:gd name="T3" fmla="*/ 8 h 24"/>
              <a:gd name="T4" fmla="*/ 8 w 18"/>
              <a:gd name="T5" fmla="*/ 8 h 24"/>
              <a:gd name="T6" fmla="*/ 8 w 18"/>
              <a:gd name="T7" fmla="*/ 23 h 24"/>
              <a:gd name="T8" fmla="*/ 0 w 18"/>
              <a:gd name="T9" fmla="*/ 8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24">
                <a:moveTo>
                  <a:pt x="0" y="8"/>
                </a:moveTo>
                <a:cubicBezTo>
                  <a:pt x="0" y="8"/>
                  <a:pt x="0" y="0"/>
                  <a:pt x="8" y="8"/>
                </a:cubicBezTo>
                <a:cubicBezTo>
                  <a:pt x="8" y="8"/>
                  <a:pt x="8" y="0"/>
                  <a:pt x="8" y="8"/>
                </a:cubicBezTo>
                <a:cubicBezTo>
                  <a:pt x="17" y="15"/>
                  <a:pt x="17" y="23"/>
                  <a:pt x="8" y="23"/>
                </a:cubicBezTo>
                <a:cubicBezTo>
                  <a:pt x="0" y="15"/>
                  <a:pt x="0" y="8"/>
                  <a:pt x="0" y="8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84" name="Freeform 76">
            <a:extLst>
              <a:ext uri="{FF2B5EF4-FFF2-40B4-BE49-F238E27FC236}">
                <a16:creationId xmlns:a16="http://schemas.microsoft.com/office/drawing/2014/main" id="{F3951ED8-761F-1C90-5B99-4C9714FF7B31}"/>
              </a:ext>
            </a:extLst>
          </p:cNvPr>
          <p:cNvSpPr>
            <a:spLocks noChangeArrowheads="1"/>
          </p:cNvSpPr>
          <p:nvPr>
            <p:custDataLst>
              <p:tags r:id="rId76"/>
            </p:custDataLst>
          </p:nvPr>
        </p:nvSpPr>
        <p:spPr bwMode="auto">
          <a:xfrm>
            <a:off x="6687039" y="3372486"/>
            <a:ext cx="23545" cy="12678"/>
          </a:xfrm>
          <a:custGeom>
            <a:avLst/>
            <a:gdLst>
              <a:gd name="T0" fmla="*/ 0 w 59"/>
              <a:gd name="T1" fmla="*/ 16 h 32"/>
              <a:gd name="T2" fmla="*/ 8 w 59"/>
              <a:gd name="T3" fmla="*/ 16 h 32"/>
              <a:gd name="T4" fmla="*/ 25 w 59"/>
              <a:gd name="T5" fmla="*/ 8 h 32"/>
              <a:gd name="T6" fmla="*/ 50 w 59"/>
              <a:gd name="T7" fmla="*/ 16 h 32"/>
              <a:gd name="T8" fmla="*/ 50 w 59"/>
              <a:gd name="T9" fmla="*/ 8 h 32"/>
              <a:gd name="T10" fmla="*/ 58 w 59"/>
              <a:gd name="T11" fmla="*/ 16 h 32"/>
              <a:gd name="T12" fmla="*/ 50 w 59"/>
              <a:gd name="T13" fmla="*/ 16 h 32"/>
              <a:gd name="T14" fmla="*/ 33 w 59"/>
              <a:gd name="T15" fmla="*/ 24 h 32"/>
              <a:gd name="T16" fmla="*/ 17 w 59"/>
              <a:gd name="T17" fmla="*/ 24 h 32"/>
              <a:gd name="T18" fmla="*/ 8 w 59"/>
              <a:gd name="T19" fmla="*/ 31 h 32"/>
              <a:gd name="T20" fmla="*/ 0 w 59"/>
              <a:gd name="T21" fmla="*/ 31 h 32"/>
              <a:gd name="T22" fmla="*/ 0 w 59"/>
              <a:gd name="T23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9" h="32">
                <a:moveTo>
                  <a:pt x="0" y="16"/>
                </a:moveTo>
                <a:lnTo>
                  <a:pt x="8" y="16"/>
                </a:lnTo>
                <a:cubicBezTo>
                  <a:pt x="17" y="8"/>
                  <a:pt x="17" y="0"/>
                  <a:pt x="25" y="8"/>
                </a:cubicBezTo>
                <a:cubicBezTo>
                  <a:pt x="33" y="8"/>
                  <a:pt x="50" y="16"/>
                  <a:pt x="50" y="16"/>
                </a:cubicBezTo>
                <a:lnTo>
                  <a:pt x="50" y="8"/>
                </a:lnTo>
                <a:cubicBezTo>
                  <a:pt x="58" y="8"/>
                  <a:pt x="58" y="16"/>
                  <a:pt x="58" y="16"/>
                </a:cubicBezTo>
                <a:lnTo>
                  <a:pt x="50" y="16"/>
                </a:lnTo>
                <a:cubicBezTo>
                  <a:pt x="42" y="24"/>
                  <a:pt x="42" y="24"/>
                  <a:pt x="33" y="24"/>
                </a:cubicBezTo>
                <a:cubicBezTo>
                  <a:pt x="25" y="24"/>
                  <a:pt x="25" y="16"/>
                  <a:pt x="17" y="24"/>
                </a:cubicBezTo>
                <a:cubicBezTo>
                  <a:pt x="17" y="24"/>
                  <a:pt x="17" y="31"/>
                  <a:pt x="8" y="31"/>
                </a:cubicBezTo>
                <a:lnTo>
                  <a:pt x="0" y="31"/>
                </a:lnTo>
                <a:lnTo>
                  <a:pt x="0" y="1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85" name="Freeform 77">
            <a:extLst>
              <a:ext uri="{FF2B5EF4-FFF2-40B4-BE49-F238E27FC236}">
                <a16:creationId xmlns:a16="http://schemas.microsoft.com/office/drawing/2014/main" id="{4F6633D4-BDD6-07C9-E3CB-455C644680D6}"/>
              </a:ext>
            </a:extLst>
          </p:cNvPr>
          <p:cNvSpPr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6721452" y="3368864"/>
            <a:ext cx="7245" cy="10867"/>
          </a:xfrm>
          <a:custGeom>
            <a:avLst/>
            <a:gdLst>
              <a:gd name="T0" fmla="*/ 17 w 18"/>
              <a:gd name="T1" fmla="*/ 24 h 25"/>
              <a:gd name="T2" fmla="*/ 8 w 18"/>
              <a:gd name="T3" fmla="*/ 16 h 25"/>
              <a:gd name="T4" fmla="*/ 0 w 18"/>
              <a:gd name="T5" fmla="*/ 8 h 25"/>
              <a:gd name="T6" fmla="*/ 8 w 18"/>
              <a:gd name="T7" fmla="*/ 0 h 25"/>
              <a:gd name="T8" fmla="*/ 8 w 18"/>
              <a:gd name="T9" fmla="*/ 8 h 25"/>
              <a:gd name="T10" fmla="*/ 17 w 18"/>
              <a:gd name="T11" fmla="*/ 16 h 25"/>
              <a:gd name="T12" fmla="*/ 17 w 18"/>
              <a:gd name="T13" fmla="*/ 24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25">
                <a:moveTo>
                  <a:pt x="17" y="24"/>
                </a:moveTo>
                <a:cubicBezTo>
                  <a:pt x="17" y="16"/>
                  <a:pt x="8" y="16"/>
                  <a:pt x="8" y="16"/>
                </a:cubicBezTo>
                <a:lnTo>
                  <a:pt x="0" y="8"/>
                </a:lnTo>
                <a:cubicBezTo>
                  <a:pt x="0" y="8"/>
                  <a:pt x="0" y="0"/>
                  <a:pt x="8" y="0"/>
                </a:cubicBezTo>
                <a:lnTo>
                  <a:pt x="8" y="8"/>
                </a:lnTo>
                <a:cubicBezTo>
                  <a:pt x="17" y="8"/>
                  <a:pt x="17" y="16"/>
                  <a:pt x="17" y="16"/>
                </a:cubicBezTo>
                <a:lnTo>
                  <a:pt x="17" y="24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86" name="Freeform 78">
            <a:extLst>
              <a:ext uri="{FF2B5EF4-FFF2-40B4-BE49-F238E27FC236}">
                <a16:creationId xmlns:a16="http://schemas.microsoft.com/office/drawing/2014/main" id="{DCBE8AF9-6D9F-0290-02D9-5F50D5BF9EF6}"/>
              </a:ext>
            </a:extLst>
          </p:cNvPr>
          <p:cNvSpPr>
            <a:spLocks noChangeArrowheads="1"/>
          </p:cNvSpPr>
          <p:nvPr>
            <p:custDataLst>
              <p:tags r:id="rId78"/>
            </p:custDataLst>
          </p:nvPr>
        </p:nvSpPr>
        <p:spPr bwMode="auto">
          <a:xfrm>
            <a:off x="6739564" y="3357996"/>
            <a:ext cx="18112" cy="12678"/>
          </a:xfrm>
          <a:custGeom>
            <a:avLst/>
            <a:gdLst>
              <a:gd name="T0" fmla="*/ 8 w 42"/>
              <a:gd name="T1" fmla="*/ 24 h 33"/>
              <a:gd name="T2" fmla="*/ 0 w 42"/>
              <a:gd name="T3" fmla="*/ 16 h 33"/>
              <a:gd name="T4" fmla="*/ 8 w 42"/>
              <a:gd name="T5" fmla="*/ 8 h 33"/>
              <a:gd name="T6" fmla="*/ 25 w 42"/>
              <a:gd name="T7" fmla="*/ 8 h 33"/>
              <a:gd name="T8" fmla="*/ 33 w 42"/>
              <a:gd name="T9" fmla="*/ 0 h 33"/>
              <a:gd name="T10" fmla="*/ 41 w 42"/>
              <a:gd name="T11" fmla="*/ 16 h 33"/>
              <a:gd name="T12" fmla="*/ 33 w 42"/>
              <a:gd name="T13" fmla="*/ 16 h 33"/>
              <a:gd name="T14" fmla="*/ 25 w 42"/>
              <a:gd name="T15" fmla="*/ 24 h 33"/>
              <a:gd name="T16" fmla="*/ 16 w 42"/>
              <a:gd name="T17" fmla="*/ 32 h 33"/>
              <a:gd name="T18" fmla="*/ 8 w 42"/>
              <a:gd name="T19" fmla="*/ 24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33">
                <a:moveTo>
                  <a:pt x="8" y="24"/>
                </a:moveTo>
                <a:lnTo>
                  <a:pt x="0" y="16"/>
                </a:lnTo>
                <a:cubicBezTo>
                  <a:pt x="0" y="16"/>
                  <a:pt x="0" y="8"/>
                  <a:pt x="8" y="8"/>
                </a:cubicBezTo>
                <a:lnTo>
                  <a:pt x="25" y="8"/>
                </a:lnTo>
                <a:lnTo>
                  <a:pt x="33" y="0"/>
                </a:lnTo>
                <a:lnTo>
                  <a:pt x="41" y="16"/>
                </a:lnTo>
                <a:lnTo>
                  <a:pt x="33" y="16"/>
                </a:lnTo>
                <a:lnTo>
                  <a:pt x="25" y="24"/>
                </a:lnTo>
                <a:lnTo>
                  <a:pt x="16" y="32"/>
                </a:lnTo>
                <a:lnTo>
                  <a:pt x="8" y="24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87" name="Freeform 79">
            <a:extLst>
              <a:ext uri="{FF2B5EF4-FFF2-40B4-BE49-F238E27FC236}">
                <a16:creationId xmlns:a16="http://schemas.microsoft.com/office/drawing/2014/main" id="{2D66FBB4-2C19-A204-F6E8-52D954ABCD0B}"/>
              </a:ext>
            </a:extLst>
          </p:cNvPr>
          <p:cNvSpPr>
            <a:spLocks noChangeArrowheads="1"/>
          </p:cNvSpPr>
          <p:nvPr>
            <p:custDataLst>
              <p:tags r:id="rId79"/>
            </p:custDataLst>
          </p:nvPr>
        </p:nvSpPr>
        <p:spPr bwMode="auto">
          <a:xfrm>
            <a:off x="6763110" y="3352562"/>
            <a:ext cx="7245" cy="10867"/>
          </a:xfrm>
          <a:custGeom>
            <a:avLst/>
            <a:gdLst>
              <a:gd name="T0" fmla="*/ 0 w 17"/>
              <a:gd name="T1" fmla="*/ 16 h 25"/>
              <a:gd name="T2" fmla="*/ 8 w 17"/>
              <a:gd name="T3" fmla="*/ 8 h 25"/>
              <a:gd name="T4" fmla="*/ 16 w 17"/>
              <a:gd name="T5" fmla="*/ 8 h 25"/>
              <a:gd name="T6" fmla="*/ 16 w 17"/>
              <a:gd name="T7" fmla="*/ 24 h 25"/>
              <a:gd name="T8" fmla="*/ 0 w 17"/>
              <a:gd name="T9" fmla="*/ 24 h 25"/>
              <a:gd name="T10" fmla="*/ 0 w 17"/>
              <a:gd name="T11" fmla="*/ 16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25">
                <a:moveTo>
                  <a:pt x="0" y="16"/>
                </a:moveTo>
                <a:cubicBezTo>
                  <a:pt x="0" y="16"/>
                  <a:pt x="0" y="8"/>
                  <a:pt x="8" y="8"/>
                </a:cubicBezTo>
                <a:cubicBezTo>
                  <a:pt x="8" y="8"/>
                  <a:pt x="8" y="0"/>
                  <a:pt x="16" y="8"/>
                </a:cubicBezTo>
                <a:lnTo>
                  <a:pt x="16" y="24"/>
                </a:lnTo>
                <a:lnTo>
                  <a:pt x="0" y="24"/>
                </a:lnTo>
                <a:lnTo>
                  <a:pt x="0" y="1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88" name="Freeform 80">
            <a:extLst>
              <a:ext uri="{FF2B5EF4-FFF2-40B4-BE49-F238E27FC236}">
                <a16:creationId xmlns:a16="http://schemas.microsoft.com/office/drawing/2014/main" id="{D52F42A5-D4EE-81FA-034E-7228DE1BE5F2}"/>
              </a:ext>
            </a:extLst>
          </p:cNvPr>
          <p:cNvSpPr>
            <a:spLocks noChangeArrowheads="1"/>
          </p:cNvSpPr>
          <p:nvPr>
            <p:custDataLst>
              <p:tags r:id="rId80"/>
            </p:custDataLst>
          </p:nvPr>
        </p:nvSpPr>
        <p:spPr bwMode="auto">
          <a:xfrm>
            <a:off x="6793900" y="3339884"/>
            <a:ext cx="30791" cy="7245"/>
          </a:xfrm>
          <a:custGeom>
            <a:avLst/>
            <a:gdLst>
              <a:gd name="T0" fmla="*/ 0 w 75"/>
              <a:gd name="T1" fmla="*/ 8 h 17"/>
              <a:gd name="T2" fmla="*/ 8 w 75"/>
              <a:gd name="T3" fmla="*/ 0 h 17"/>
              <a:gd name="T4" fmla="*/ 66 w 75"/>
              <a:gd name="T5" fmla="*/ 0 h 17"/>
              <a:gd name="T6" fmla="*/ 66 w 75"/>
              <a:gd name="T7" fmla="*/ 8 h 17"/>
              <a:gd name="T8" fmla="*/ 50 w 75"/>
              <a:gd name="T9" fmla="*/ 8 h 17"/>
              <a:gd name="T10" fmla="*/ 33 w 75"/>
              <a:gd name="T11" fmla="*/ 8 h 17"/>
              <a:gd name="T12" fmla="*/ 25 w 75"/>
              <a:gd name="T13" fmla="*/ 16 h 17"/>
              <a:gd name="T14" fmla="*/ 16 w 75"/>
              <a:gd name="T15" fmla="*/ 16 h 17"/>
              <a:gd name="T16" fmla="*/ 8 w 75"/>
              <a:gd name="T17" fmla="*/ 16 h 17"/>
              <a:gd name="T18" fmla="*/ 0 w 75"/>
              <a:gd name="T19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5" h="17">
                <a:moveTo>
                  <a:pt x="0" y="8"/>
                </a:moveTo>
                <a:cubicBezTo>
                  <a:pt x="0" y="8"/>
                  <a:pt x="0" y="0"/>
                  <a:pt x="8" y="0"/>
                </a:cubicBezTo>
                <a:lnTo>
                  <a:pt x="66" y="0"/>
                </a:lnTo>
                <a:cubicBezTo>
                  <a:pt x="74" y="0"/>
                  <a:pt x="66" y="8"/>
                  <a:pt x="66" y="8"/>
                </a:cubicBezTo>
                <a:lnTo>
                  <a:pt x="50" y="8"/>
                </a:lnTo>
                <a:lnTo>
                  <a:pt x="33" y="8"/>
                </a:lnTo>
                <a:cubicBezTo>
                  <a:pt x="33" y="16"/>
                  <a:pt x="25" y="16"/>
                  <a:pt x="25" y="16"/>
                </a:cubicBezTo>
                <a:lnTo>
                  <a:pt x="16" y="16"/>
                </a:lnTo>
                <a:cubicBezTo>
                  <a:pt x="8" y="16"/>
                  <a:pt x="8" y="8"/>
                  <a:pt x="8" y="16"/>
                </a:cubicBezTo>
                <a:cubicBezTo>
                  <a:pt x="0" y="16"/>
                  <a:pt x="0" y="8"/>
                  <a:pt x="0" y="8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89" name="Freeform 81">
            <a:extLst>
              <a:ext uri="{FF2B5EF4-FFF2-40B4-BE49-F238E27FC236}">
                <a16:creationId xmlns:a16="http://schemas.microsoft.com/office/drawing/2014/main" id="{2455D84C-2162-76DB-AFF6-D5533FCE7A57}"/>
              </a:ext>
            </a:extLst>
          </p:cNvPr>
          <p:cNvSpPr>
            <a:spLocks noChangeArrowheads="1"/>
          </p:cNvSpPr>
          <p:nvPr>
            <p:custDataLst>
              <p:tags r:id="rId81"/>
            </p:custDataLst>
          </p:nvPr>
        </p:nvSpPr>
        <p:spPr bwMode="auto">
          <a:xfrm>
            <a:off x="6359208" y="3394221"/>
            <a:ext cx="440126" cy="461860"/>
          </a:xfrm>
          <a:custGeom>
            <a:avLst/>
            <a:gdLst>
              <a:gd name="T0" fmla="*/ 582 w 1073"/>
              <a:gd name="T1" fmla="*/ 111 h 1123"/>
              <a:gd name="T2" fmla="*/ 732 w 1073"/>
              <a:gd name="T3" fmla="*/ 8 h 1123"/>
              <a:gd name="T4" fmla="*/ 973 w 1073"/>
              <a:gd name="T5" fmla="*/ 0 h 1123"/>
              <a:gd name="T6" fmla="*/ 1072 w 1073"/>
              <a:gd name="T7" fmla="*/ 111 h 1123"/>
              <a:gd name="T8" fmla="*/ 1022 w 1073"/>
              <a:gd name="T9" fmla="*/ 356 h 1123"/>
              <a:gd name="T10" fmla="*/ 931 w 1073"/>
              <a:gd name="T11" fmla="*/ 395 h 1123"/>
              <a:gd name="T12" fmla="*/ 1022 w 1073"/>
              <a:gd name="T13" fmla="*/ 482 h 1123"/>
              <a:gd name="T14" fmla="*/ 964 w 1073"/>
              <a:gd name="T15" fmla="*/ 569 h 1123"/>
              <a:gd name="T16" fmla="*/ 948 w 1073"/>
              <a:gd name="T17" fmla="*/ 632 h 1123"/>
              <a:gd name="T18" fmla="*/ 840 w 1073"/>
              <a:gd name="T19" fmla="*/ 664 h 1123"/>
              <a:gd name="T20" fmla="*/ 781 w 1073"/>
              <a:gd name="T21" fmla="*/ 664 h 1123"/>
              <a:gd name="T22" fmla="*/ 748 w 1073"/>
              <a:gd name="T23" fmla="*/ 719 h 1123"/>
              <a:gd name="T24" fmla="*/ 790 w 1073"/>
              <a:gd name="T25" fmla="*/ 829 h 1123"/>
              <a:gd name="T26" fmla="*/ 740 w 1073"/>
              <a:gd name="T27" fmla="*/ 932 h 1123"/>
              <a:gd name="T28" fmla="*/ 707 w 1073"/>
              <a:gd name="T29" fmla="*/ 979 h 1123"/>
              <a:gd name="T30" fmla="*/ 707 w 1073"/>
              <a:gd name="T31" fmla="*/ 1019 h 1123"/>
              <a:gd name="T32" fmla="*/ 732 w 1073"/>
              <a:gd name="T33" fmla="*/ 1082 h 1123"/>
              <a:gd name="T34" fmla="*/ 690 w 1073"/>
              <a:gd name="T35" fmla="*/ 1106 h 1123"/>
              <a:gd name="T36" fmla="*/ 607 w 1073"/>
              <a:gd name="T37" fmla="*/ 1058 h 1123"/>
              <a:gd name="T38" fmla="*/ 682 w 1073"/>
              <a:gd name="T39" fmla="*/ 948 h 1123"/>
              <a:gd name="T40" fmla="*/ 557 w 1073"/>
              <a:gd name="T41" fmla="*/ 893 h 1123"/>
              <a:gd name="T42" fmla="*/ 482 w 1073"/>
              <a:gd name="T43" fmla="*/ 845 h 1123"/>
              <a:gd name="T44" fmla="*/ 399 w 1073"/>
              <a:gd name="T45" fmla="*/ 814 h 1123"/>
              <a:gd name="T46" fmla="*/ 324 w 1073"/>
              <a:gd name="T47" fmla="*/ 814 h 1123"/>
              <a:gd name="T48" fmla="*/ 275 w 1073"/>
              <a:gd name="T49" fmla="*/ 829 h 1123"/>
              <a:gd name="T50" fmla="*/ 158 w 1073"/>
              <a:gd name="T51" fmla="*/ 853 h 1123"/>
              <a:gd name="T52" fmla="*/ 67 w 1073"/>
              <a:gd name="T53" fmla="*/ 798 h 1123"/>
              <a:gd name="T54" fmla="*/ 34 w 1073"/>
              <a:gd name="T55" fmla="*/ 750 h 1123"/>
              <a:gd name="T56" fmla="*/ 150 w 1073"/>
              <a:gd name="T57" fmla="*/ 790 h 1123"/>
              <a:gd name="T58" fmla="*/ 216 w 1073"/>
              <a:gd name="T59" fmla="*/ 798 h 1123"/>
              <a:gd name="T60" fmla="*/ 225 w 1073"/>
              <a:gd name="T61" fmla="*/ 782 h 1123"/>
              <a:gd name="T62" fmla="*/ 150 w 1073"/>
              <a:gd name="T63" fmla="*/ 766 h 1123"/>
              <a:gd name="T64" fmla="*/ 42 w 1073"/>
              <a:gd name="T65" fmla="*/ 703 h 1123"/>
              <a:gd name="T66" fmla="*/ 125 w 1073"/>
              <a:gd name="T67" fmla="*/ 679 h 1123"/>
              <a:gd name="T68" fmla="*/ 183 w 1073"/>
              <a:gd name="T69" fmla="*/ 719 h 1123"/>
              <a:gd name="T70" fmla="*/ 241 w 1073"/>
              <a:gd name="T71" fmla="*/ 758 h 1123"/>
              <a:gd name="T72" fmla="*/ 183 w 1073"/>
              <a:gd name="T73" fmla="*/ 695 h 1123"/>
              <a:gd name="T74" fmla="*/ 200 w 1073"/>
              <a:gd name="T75" fmla="*/ 679 h 1123"/>
              <a:gd name="T76" fmla="*/ 117 w 1073"/>
              <a:gd name="T77" fmla="*/ 648 h 1123"/>
              <a:gd name="T78" fmla="*/ 191 w 1073"/>
              <a:gd name="T79" fmla="*/ 640 h 1123"/>
              <a:gd name="T80" fmla="*/ 266 w 1073"/>
              <a:gd name="T81" fmla="*/ 687 h 1123"/>
              <a:gd name="T82" fmla="*/ 349 w 1073"/>
              <a:gd name="T83" fmla="*/ 671 h 1123"/>
              <a:gd name="T84" fmla="*/ 349 w 1073"/>
              <a:gd name="T85" fmla="*/ 664 h 1123"/>
              <a:gd name="T86" fmla="*/ 250 w 1073"/>
              <a:gd name="T87" fmla="*/ 616 h 1123"/>
              <a:gd name="T88" fmla="*/ 233 w 1073"/>
              <a:gd name="T89" fmla="*/ 537 h 1123"/>
              <a:gd name="T90" fmla="*/ 424 w 1073"/>
              <a:gd name="T91" fmla="*/ 142 h 1123"/>
              <a:gd name="T92" fmla="*/ 515 w 1073"/>
              <a:gd name="T93" fmla="*/ 174 h 1123"/>
              <a:gd name="T94" fmla="*/ 557 w 1073"/>
              <a:gd name="T95" fmla="*/ 253 h 1123"/>
              <a:gd name="T96" fmla="*/ 499 w 1073"/>
              <a:gd name="T97" fmla="*/ 292 h 1123"/>
              <a:gd name="T98" fmla="*/ 507 w 1073"/>
              <a:gd name="T99" fmla="*/ 387 h 1123"/>
              <a:gd name="T100" fmla="*/ 524 w 1073"/>
              <a:gd name="T101" fmla="*/ 442 h 1123"/>
              <a:gd name="T102" fmla="*/ 557 w 1073"/>
              <a:gd name="T103" fmla="*/ 434 h 1123"/>
              <a:gd name="T104" fmla="*/ 574 w 1073"/>
              <a:gd name="T105" fmla="*/ 363 h 1123"/>
              <a:gd name="T106" fmla="*/ 698 w 1073"/>
              <a:gd name="T107" fmla="*/ 348 h 1123"/>
              <a:gd name="T108" fmla="*/ 707 w 1073"/>
              <a:gd name="T109" fmla="*/ 332 h 1123"/>
              <a:gd name="T110" fmla="*/ 657 w 1073"/>
              <a:gd name="T111" fmla="*/ 245 h 1123"/>
              <a:gd name="T112" fmla="*/ 590 w 1073"/>
              <a:gd name="T113" fmla="*/ 205 h 1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73" h="1123">
                <a:moveTo>
                  <a:pt x="599" y="142"/>
                </a:moveTo>
                <a:lnTo>
                  <a:pt x="590" y="127"/>
                </a:lnTo>
                <a:lnTo>
                  <a:pt x="574" y="127"/>
                </a:lnTo>
                <a:lnTo>
                  <a:pt x="549" y="142"/>
                </a:lnTo>
                <a:lnTo>
                  <a:pt x="549" y="127"/>
                </a:lnTo>
                <a:lnTo>
                  <a:pt x="582" y="111"/>
                </a:lnTo>
                <a:lnTo>
                  <a:pt x="599" y="103"/>
                </a:lnTo>
                <a:lnTo>
                  <a:pt x="607" y="87"/>
                </a:lnTo>
                <a:lnTo>
                  <a:pt x="624" y="63"/>
                </a:lnTo>
                <a:cubicBezTo>
                  <a:pt x="624" y="63"/>
                  <a:pt x="640" y="48"/>
                  <a:pt x="648" y="40"/>
                </a:cubicBezTo>
                <a:cubicBezTo>
                  <a:pt x="657" y="40"/>
                  <a:pt x="690" y="24"/>
                  <a:pt x="690" y="24"/>
                </a:cubicBezTo>
                <a:cubicBezTo>
                  <a:pt x="690" y="24"/>
                  <a:pt x="723" y="8"/>
                  <a:pt x="732" y="8"/>
                </a:cubicBezTo>
                <a:cubicBezTo>
                  <a:pt x="740" y="8"/>
                  <a:pt x="798" y="0"/>
                  <a:pt x="798" y="0"/>
                </a:cubicBezTo>
                <a:lnTo>
                  <a:pt x="856" y="16"/>
                </a:lnTo>
                <a:cubicBezTo>
                  <a:pt x="856" y="16"/>
                  <a:pt x="873" y="0"/>
                  <a:pt x="889" y="0"/>
                </a:cubicBezTo>
                <a:cubicBezTo>
                  <a:pt x="889" y="0"/>
                  <a:pt x="906" y="8"/>
                  <a:pt x="914" y="8"/>
                </a:cubicBezTo>
                <a:cubicBezTo>
                  <a:pt x="923" y="8"/>
                  <a:pt x="939" y="0"/>
                  <a:pt x="939" y="0"/>
                </a:cubicBezTo>
                <a:lnTo>
                  <a:pt x="973" y="0"/>
                </a:lnTo>
                <a:lnTo>
                  <a:pt x="997" y="32"/>
                </a:lnTo>
                <a:lnTo>
                  <a:pt x="1006" y="63"/>
                </a:lnTo>
                <a:lnTo>
                  <a:pt x="1047" y="71"/>
                </a:lnTo>
                <a:cubicBezTo>
                  <a:pt x="1047" y="71"/>
                  <a:pt x="1039" y="87"/>
                  <a:pt x="1039" y="95"/>
                </a:cubicBezTo>
                <a:cubicBezTo>
                  <a:pt x="1047" y="95"/>
                  <a:pt x="1072" y="103"/>
                  <a:pt x="1072" y="103"/>
                </a:cubicBezTo>
                <a:lnTo>
                  <a:pt x="1072" y="111"/>
                </a:lnTo>
                <a:lnTo>
                  <a:pt x="1072" y="150"/>
                </a:lnTo>
                <a:lnTo>
                  <a:pt x="1072" y="205"/>
                </a:lnTo>
                <a:cubicBezTo>
                  <a:pt x="1072" y="205"/>
                  <a:pt x="1047" y="253"/>
                  <a:pt x="1039" y="253"/>
                </a:cubicBezTo>
                <a:cubicBezTo>
                  <a:pt x="1031" y="261"/>
                  <a:pt x="1039" y="292"/>
                  <a:pt x="1039" y="292"/>
                </a:cubicBezTo>
                <a:lnTo>
                  <a:pt x="1031" y="332"/>
                </a:lnTo>
                <a:cubicBezTo>
                  <a:pt x="1031" y="332"/>
                  <a:pt x="1031" y="363"/>
                  <a:pt x="1022" y="356"/>
                </a:cubicBezTo>
                <a:cubicBezTo>
                  <a:pt x="1014" y="356"/>
                  <a:pt x="973" y="340"/>
                  <a:pt x="973" y="340"/>
                </a:cubicBezTo>
                <a:lnTo>
                  <a:pt x="939" y="348"/>
                </a:lnTo>
                <a:lnTo>
                  <a:pt x="939" y="371"/>
                </a:lnTo>
                <a:lnTo>
                  <a:pt x="956" y="379"/>
                </a:lnTo>
                <a:lnTo>
                  <a:pt x="931" y="379"/>
                </a:lnTo>
                <a:lnTo>
                  <a:pt x="931" y="395"/>
                </a:lnTo>
                <a:cubicBezTo>
                  <a:pt x="931" y="395"/>
                  <a:pt x="939" y="411"/>
                  <a:pt x="948" y="419"/>
                </a:cubicBezTo>
                <a:cubicBezTo>
                  <a:pt x="948" y="427"/>
                  <a:pt x="973" y="427"/>
                  <a:pt x="973" y="427"/>
                </a:cubicBezTo>
                <a:lnTo>
                  <a:pt x="989" y="442"/>
                </a:lnTo>
                <a:lnTo>
                  <a:pt x="1014" y="434"/>
                </a:lnTo>
                <a:lnTo>
                  <a:pt x="1031" y="466"/>
                </a:lnTo>
                <a:lnTo>
                  <a:pt x="1022" y="482"/>
                </a:lnTo>
                <a:lnTo>
                  <a:pt x="1022" y="506"/>
                </a:lnTo>
                <a:cubicBezTo>
                  <a:pt x="1022" y="513"/>
                  <a:pt x="1031" y="521"/>
                  <a:pt x="1022" y="521"/>
                </a:cubicBezTo>
                <a:lnTo>
                  <a:pt x="1006" y="529"/>
                </a:lnTo>
                <a:lnTo>
                  <a:pt x="997" y="545"/>
                </a:lnTo>
                <a:cubicBezTo>
                  <a:pt x="997" y="545"/>
                  <a:pt x="981" y="553"/>
                  <a:pt x="973" y="553"/>
                </a:cubicBezTo>
                <a:cubicBezTo>
                  <a:pt x="964" y="561"/>
                  <a:pt x="964" y="561"/>
                  <a:pt x="964" y="569"/>
                </a:cubicBezTo>
                <a:lnTo>
                  <a:pt x="931" y="561"/>
                </a:lnTo>
                <a:lnTo>
                  <a:pt x="931" y="585"/>
                </a:lnTo>
                <a:lnTo>
                  <a:pt x="914" y="585"/>
                </a:lnTo>
                <a:lnTo>
                  <a:pt x="931" y="608"/>
                </a:lnTo>
                <a:lnTo>
                  <a:pt x="956" y="624"/>
                </a:lnTo>
                <a:lnTo>
                  <a:pt x="948" y="632"/>
                </a:lnTo>
                <a:lnTo>
                  <a:pt x="931" y="640"/>
                </a:lnTo>
                <a:lnTo>
                  <a:pt x="923" y="656"/>
                </a:lnTo>
                <a:lnTo>
                  <a:pt x="898" y="656"/>
                </a:lnTo>
                <a:lnTo>
                  <a:pt x="873" y="664"/>
                </a:lnTo>
                <a:lnTo>
                  <a:pt x="864" y="664"/>
                </a:lnTo>
                <a:lnTo>
                  <a:pt x="840" y="664"/>
                </a:lnTo>
                <a:lnTo>
                  <a:pt x="831" y="679"/>
                </a:lnTo>
                <a:lnTo>
                  <a:pt x="823" y="664"/>
                </a:lnTo>
                <a:lnTo>
                  <a:pt x="798" y="656"/>
                </a:lnTo>
                <a:lnTo>
                  <a:pt x="781" y="640"/>
                </a:lnTo>
                <a:lnTo>
                  <a:pt x="756" y="648"/>
                </a:lnTo>
                <a:lnTo>
                  <a:pt x="781" y="664"/>
                </a:lnTo>
                <a:lnTo>
                  <a:pt x="765" y="664"/>
                </a:lnTo>
                <a:lnTo>
                  <a:pt x="723" y="656"/>
                </a:lnTo>
                <a:lnTo>
                  <a:pt x="723" y="679"/>
                </a:lnTo>
                <a:lnTo>
                  <a:pt x="723" y="695"/>
                </a:lnTo>
                <a:cubicBezTo>
                  <a:pt x="723" y="695"/>
                  <a:pt x="715" y="703"/>
                  <a:pt x="723" y="703"/>
                </a:cubicBezTo>
                <a:cubicBezTo>
                  <a:pt x="732" y="703"/>
                  <a:pt x="748" y="719"/>
                  <a:pt x="748" y="719"/>
                </a:cubicBezTo>
                <a:lnTo>
                  <a:pt x="748" y="735"/>
                </a:lnTo>
                <a:lnTo>
                  <a:pt x="756" y="750"/>
                </a:lnTo>
                <a:lnTo>
                  <a:pt x="756" y="758"/>
                </a:lnTo>
                <a:lnTo>
                  <a:pt x="773" y="782"/>
                </a:lnTo>
                <a:lnTo>
                  <a:pt x="773" y="806"/>
                </a:lnTo>
                <a:lnTo>
                  <a:pt x="790" y="829"/>
                </a:lnTo>
                <a:lnTo>
                  <a:pt x="781" y="853"/>
                </a:lnTo>
                <a:cubicBezTo>
                  <a:pt x="781" y="853"/>
                  <a:pt x="790" y="869"/>
                  <a:pt x="781" y="877"/>
                </a:cubicBezTo>
                <a:lnTo>
                  <a:pt x="765" y="893"/>
                </a:lnTo>
                <a:lnTo>
                  <a:pt x="756" y="908"/>
                </a:lnTo>
                <a:lnTo>
                  <a:pt x="740" y="916"/>
                </a:lnTo>
                <a:lnTo>
                  <a:pt x="740" y="932"/>
                </a:lnTo>
                <a:cubicBezTo>
                  <a:pt x="740" y="932"/>
                  <a:pt x="740" y="956"/>
                  <a:pt x="748" y="956"/>
                </a:cubicBezTo>
                <a:lnTo>
                  <a:pt x="765" y="940"/>
                </a:lnTo>
                <a:cubicBezTo>
                  <a:pt x="765" y="940"/>
                  <a:pt x="781" y="956"/>
                  <a:pt x="773" y="964"/>
                </a:cubicBezTo>
                <a:lnTo>
                  <a:pt x="740" y="964"/>
                </a:lnTo>
                <a:lnTo>
                  <a:pt x="723" y="964"/>
                </a:lnTo>
                <a:cubicBezTo>
                  <a:pt x="723" y="964"/>
                  <a:pt x="715" y="979"/>
                  <a:pt x="707" y="979"/>
                </a:cubicBezTo>
                <a:lnTo>
                  <a:pt x="707" y="995"/>
                </a:lnTo>
                <a:lnTo>
                  <a:pt x="690" y="979"/>
                </a:lnTo>
                <a:lnTo>
                  <a:pt x="682" y="987"/>
                </a:lnTo>
                <a:lnTo>
                  <a:pt x="690" y="1003"/>
                </a:lnTo>
                <a:lnTo>
                  <a:pt x="690" y="1019"/>
                </a:lnTo>
                <a:lnTo>
                  <a:pt x="707" y="1019"/>
                </a:lnTo>
                <a:lnTo>
                  <a:pt x="723" y="1027"/>
                </a:lnTo>
                <a:cubicBezTo>
                  <a:pt x="723" y="1027"/>
                  <a:pt x="715" y="1035"/>
                  <a:pt x="723" y="1035"/>
                </a:cubicBezTo>
                <a:cubicBezTo>
                  <a:pt x="723" y="1043"/>
                  <a:pt x="723" y="1043"/>
                  <a:pt x="732" y="1043"/>
                </a:cubicBezTo>
                <a:lnTo>
                  <a:pt x="740" y="1050"/>
                </a:lnTo>
                <a:lnTo>
                  <a:pt x="740" y="1074"/>
                </a:lnTo>
                <a:cubicBezTo>
                  <a:pt x="732" y="1074"/>
                  <a:pt x="732" y="1082"/>
                  <a:pt x="732" y="1082"/>
                </a:cubicBezTo>
                <a:lnTo>
                  <a:pt x="723" y="1082"/>
                </a:lnTo>
                <a:cubicBezTo>
                  <a:pt x="715" y="1090"/>
                  <a:pt x="715" y="1098"/>
                  <a:pt x="715" y="1098"/>
                </a:cubicBezTo>
                <a:lnTo>
                  <a:pt x="707" y="1098"/>
                </a:lnTo>
                <a:cubicBezTo>
                  <a:pt x="707" y="1106"/>
                  <a:pt x="715" y="1114"/>
                  <a:pt x="715" y="1122"/>
                </a:cubicBezTo>
                <a:lnTo>
                  <a:pt x="707" y="1122"/>
                </a:lnTo>
                <a:lnTo>
                  <a:pt x="690" y="1106"/>
                </a:lnTo>
                <a:cubicBezTo>
                  <a:pt x="682" y="1106"/>
                  <a:pt x="673" y="1114"/>
                  <a:pt x="657" y="1114"/>
                </a:cubicBezTo>
                <a:lnTo>
                  <a:pt x="648" y="1106"/>
                </a:lnTo>
                <a:lnTo>
                  <a:pt x="615" y="1114"/>
                </a:lnTo>
                <a:lnTo>
                  <a:pt x="615" y="1098"/>
                </a:lnTo>
                <a:lnTo>
                  <a:pt x="607" y="1082"/>
                </a:lnTo>
                <a:lnTo>
                  <a:pt x="607" y="1058"/>
                </a:lnTo>
                <a:lnTo>
                  <a:pt x="615" y="1050"/>
                </a:lnTo>
                <a:cubicBezTo>
                  <a:pt x="624" y="1050"/>
                  <a:pt x="632" y="1035"/>
                  <a:pt x="632" y="1035"/>
                </a:cubicBezTo>
                <a:cubicBezTo>
                  <a:pt x="632" y="1035"/>
                  <a:pt x="640" y="1019"/>
                  <a:pt x="648" y="1011"/>
                </a:cubicBezTo>
                <a:lnTo>
                  <a:pt x="657" y="987"/>
                </a:lnTo>
                <a:cubicBezTo>
                  <a:pt x="657" y="979"/>
                  <a:pt x="665" y="972"/>
                  <a:pt x="665" y="972"/>
                </a:cubicBezTo>
                <a:cubicBezTo>
                  <a:pt x="665" y="972"/>
                  <a:pt x="682" y="956"/>
                  <a:pt x="682" y="948"/>
                </a:cubicBezTo>
                <a:cubicBezTo>
                  <a:pt x="682" y="940"/>
                  <a:pt x="673" y="940"/>
                  <a:pt x="665" y="940"/>
                </a:cubicBezTo>
                <a:cubicBezTo>
                  <a:pt x="665" y="940"/>
                  <a:pt x="640" y="932"/>
                  <a:pt x="632" y="924"/>
                </a:cubicBezTo>
                <a:cubicBezTo>
                  <a:pt x="624" y="924"/>
                  <a:pt x="607" y="916"/>
                  <a:pt x="590" y="916"/>
                </a:cubicBezTo>
                <a:cubicBezTo>
                  <a:pt x="574" y="908"/>
                  <a:pt x="582" y="908"/>
                  <a:pt x="590" y="893"/>
                </a:cubicBezTo>
                <a:cubicBezTo>
                  <a:pt x="590" y="885"/>
                  <a:pt x="574" y="885"/>
                  <a:pt x="574" y="877"/>
                </a:cubicBezTo>
                <a:cubicBezTo>
                  <a:pt x="574" y="877"/>
                  <a:pt x="565" y="885"/>
                  <a:pt x="557" y="893"/>
                </a:cubicBezTo>
                <a:cubicBezTo>
                  <a:pt x="549" y="893"/>
                  <a:pt x="540" y="885"/>
                  <a:pt x="532" y="885"/>
                </a:cubicBezTo>
                <a:lnTo>
                  <a:pt x="507" y="885"/>
                </a:lnTo>
                <a:lnTo>
                  <a:pt x="507" y="869"/>
                </a:lnTo>
                <a:cubicBezTo>
                  <a:pt x="507" y="861"/>
                  <a:pt x="499" y="861"/>
                  <a:pt x="499" y="861"/>
                </a:cubicBezTo>
                <a:cubicBezTo>
                  <a:pt x="499" y="861"/>
                  <a:pt x="482" y="861"/>
                  <a:pt x="482" y="853"/>
                </a:cubicBezTo>
                <a:cubicBezTo>
                  <a:pt x="474" y="853"/>
                  <a:pt x="482" y="853"/>
                  <a:pt x="482" y="845"/>
                </a:cubicBezTo>
                <a:cubicBezTo>
                  <a:pt x="482" y="837"/>
                  <a:pt x="482" y="845"/>
                  <a:pt x="474" y="845"/>
                </a:cubicBezTo>
                <a:cubicBezTo>
                  <a:pt x="466" y="845"/>
                  <a:pt x="466" y="821"/>
                  <a:pt x="466" y="821"/>
                </a:cubicBezTo>
                <a:cubicBezTo>
                  <a:pt x="466" y="821"/>
                  <a:pt x="457" y="806"/>
                  <a:pt x="457" y="798"/>
                </a:cubicBezTo>
                <a:cubicBezTo>
                  <a:pt x="449" y="782"/>
                  <a:pt x="449" y="798"/>
                  <a:pt x="449" y="798"/>
                </a:cubicBezTo>
                <a:lnTo>
                  <a:pt x="432" y="821"/>
                </a:lnTo>
                <a:cubicBezTo>
                  <a:pt x="432" y="821"/>
                  <a:pt x="424" y="821"/>
                  <a:pt x="399" y="814"/>
                </a:cubicBezTo>
                <a:cubicBezTo>
                  <a:pt x="383" y="806"/>
                  <a:pt x="391" y="806"/>
                  <a:pt x="391" y="806"/>
                </a:cubicBezTo>
                <a:lnTo>
                  <a:pt x="407" y="790"/>
                </a:lnTo>
                <a:cubicBezTo>
                  <a:pt x="407" y="790"/>
                  <a:pt x="391" y="782"/>
                  <a:pt x="383" y="782"/>
                </a:cubicBezTo>
                <a:cubicBezTo>
                  <a:pt x="374" y="774"/>
                  <a:pt x="374" y="774"/>
                  <a:pt x="366" y="790"/>
                </a:cubicBezTo>
                <a:cubicBezTo>
                  <a:pt x="358" y="798"/>
                  <a:pt x="358" y="798"/>
                  <a:pt x="349" y="806"/>
                </a:cubicBezTo>
                <a:cubicBezTo>
                  <a:pt x="341" y="814"/>
                  <a:pt x="341" y="814"/>
                  <a:pt x="324" y="814"/>
                </a:cubicBezTo>
                <a:cubicBezTo>
                  <a:pt x="316" y="814"/>
                  <a:pt x="316" y="806"/>
                  <a:pt x="308" y="806"/>
                </a:cubicBezTo>
                <a:cubicBezTo>
                  <a:pt x="308" y="798"/>
                  <a:pt x="308" y="798"/>
                  <a:pt x="299" y="790"/>
                </a:cubicBezTo>
                <a:cubicBezTo>
                  <a:pt x="299" y="782"/>
                  <a:pt x="291" y="782"/>
                  <a:pt x="291" y="782"/>
                </a:cubicBezTo>
                <a:cubicBezTo>
                  <a:pt x="291" y="782"/>
                  <a:pt x="275" y="790"/>
                  <a:pt x="275" y="798"/>
                </a:cubicBezTo>
                <a:cubicBezTo>
                  <a:pt x="266" y="798"/>
                  <a:pt x="275" y="806"/>
                  <a:pt x="275" y="814"/>
                </a:cubicBezTo>
                <a:cubicBezTo>
                  <a:pt x="283" y="821"/>
                  <a:pt x="275" y="829"/>
                  <a:pt x="275" y="829"/>
                </a:cubicBezTo>
                <a:lnTo>
                  <a:pt x="250" y="829"/>
                </a:lnTo>
                <a:cubicBezTo>
                  <a:pt x="241" y="829"/>
                  <a:pt x="233" y="829"/>
                  <a:pt x="225" y="821"/>
                </a:cubicBezTo>
                <a:cubicBezTo>
                  <a:pt x="208" y="814"/>
                  <a:pt x="216" y="829"/>
                  <a:pt x="216" y="837"/>
                </a:cubicBezTo>
                <a:lnTo>
                  <a:pt x="200" y="853"/>
                </a:lnTo>
                <a:cubicBezTo>
                  <a:pt x="183" y="853"/>
                  <a:pt x="166" y="845"/>
                  <a:pt x="166" y="845"/>
                </a:cubicBezTo>
                <a:lnTo>
                  <a:pt x="158" y="853"/>
                </a:lnTo>
                <a:lnTo>
                  <a:pt x="133" y="845"/>
                </a:lnTo>
                <a:lnTo>
                  <a:pt x="125" y="845"/>
                </a:lnTo>
                <a:lnTo>
                  <a:pt x="117" y="821"/>
                </a:lnTo>
                <a:lnTo>
                  <a:pt x="108" y="821"/>
                </a:lnTo>
                <a:lnTo>
                  <a:pt x="75" y="806"/>
                </a:lnTo>
                <a:lnTo>
                  <a:pt x="67" y="798"/>
                </a:lnTo>
                <a:lnTo>
                  <a:pt x="50" y="806"/>
                </a:lnTo>
                <a:lnTo>
                  <a:pt x="42" y="814"/>
                </a:lnTo>
                <a:cubicBezTo>
                  <a:pt x="42" y="814"/>
                  <a:pt x="25" y="821"/>
                  <a:pt x="17" y="821"/>
                </a:cubicBezTo>
                <a:cubicBezTo>
                  <a:pt x="17" y="814"/>
                  <a:pt x="0" y="782"/>
                  <a:pt x="0" y="782"/>
                </a:cubicBezTo>
                <a:lnTo>
                  <a:pt x="9" y="758"/>
                </a:lnTo>
                <a:lnTo>
                  <a:pt x="34" y="750"/>
                </a:lnTo>
                <a:lnTo>
                  <a:pt x="50" y="750"/>
                </a:lnTo>
                <a:cubicBezTo>
                  <a:pt x="50" y="750"/>
                  <a:pt x="58" y="750"/>
                  <a:pt x="58" y="758"/>
                </a:cubicBezTo>
                <a:cubicBezTo>
                  <a:pt x="67" y="758"/>
                  <a:pt x="83" y="774"/>
                  <a:pt x="92" y="774"/>
                </a:cubicBezTo>
                <a:lnTo>
                  <a:pt x="108" y="782"/>
                </a:lnTo>
                <a:cubicBezTo>
                  <a:pt x="117" y="782"/>
                  <a:pt x="133" y="790"/>
                  <a:pt x="133" y="790"/>
                </a:cubicBezTo>
                <a:lnTo>
                  <a:pt x="150" y="790"/>
                </a:lnTo>
                <a:lnTo>
                  <a:pt x="166" y="782"/>
                </a:lnTo>
                <a:cubicBezTo>
                  <a:pt x="175" y="774"/>
                  <a:pt x="175" y="766"/>
                  <a:pt x="175" y="766"/>
                </a:cubicBezTo>
                <a:lnTo>
                  <a:pt x="183" y="766"/>
                </a:lnTo>
                <a:cubicBezTo>
                  <a:pt x="183" y="774"/>
                  <a:pt x="191" y="782"/>
                  <a:pt x="191" y="782"/>
                </a:cubicBezTo>
                <a:lnTo>
                  <a:pt x="200" y="790"/>
                </a:lnTo>
                <a:cubicBezTo>
                  <a:pt x="208" y="798"/>
                  <a:pt x="216" y="798"/>
                  <a:pt x="216" y="798"/>
                </a:cubicBezTo>
                <a:lnTo>
                  <a:pt x="225" y="790"/>
                </a:lnTo>
                <a:cubicBezTo>
                  <a:pt x="225" y="790"/>
                  <a:pt x="233" y="798"/>
                  <a:pt x="233" y="790"/>
                </a:cubicBezTo>
                <a:lnTo>
                  <a:pt x="241" y="790"/>
                </a:lnTo>
                <a:cubicBezTo>
                  <a:pt x="241" y="790"/>
                  <a:pt x="250" y="782"/>
                  <a:pt x="241" y="782"/>
                </a:cubicBezTo>
                <a:cubicBezTo>
                  <a:pt x="241" y="782"/>
                  <a:pt x="241" y="774"/>
                  <a:pt x="241" y="782"/>
                </a:cubicBezTo>
                <a:lnTo>
                  <a:pt x="225" y="782"/>
                </a:lnTo>
                <a:cubicBezTo>
                  <a:pt x="216" y="782"/>
                  <a:pt x="200" y="774"/>
                  <a:pt x="200" y="774"/>
                </a:cubicBezTo>
                <a:cubicBezTo>
                  <a:pt x="200" y="766"/>
                  <a:pt x="191" y="766"/>
                  <a:pt x="191" y="758"/>
                </a:cubicBezTo>
                <a:cubicBezTo>
                  <a:pt x="183" y="758"/>
                  <a:pt x="183" y="750"/>
                  <a:pt x="175" y="750"/>
                </a:cubicBezTo>
                <a:lnTo>
                  <a:pt x="166" y="750"/>
                </a:lnTo>
                <a:cubicBezTo>
                  <a:pt x="166" y="750"/>
                  <a:pt x="158" y="758"/>
                  <a:pt x="158" y="766"/>
                </a:cubicBezTo>
                <a:cubicBezTo>
                  <a:pt x="158" y="766"/>
                  <a:pt x="166" y="774"/>
                  <a:pt x="150" y="766"/>
                </a:cubicBezTo>
                <a:lnTo>
                  <a:pt x="117" y="766"/>
                </a:lnTo>
                <a:lnTo>
                  <a:pt x="92" y="743"/>
                </a:lnTo>
                <a:lnTo>
                  <a:pt x="75" y="743"/>
                </a:lnTo>
                <a:cubicBezTo>
                  <a:pt x="75" y="743"/>
                  <a:pt x="58" y="735"/>
                  <a:pt x="58" y="727"/>
                </a:cubicBezTo>
                <a:cubicBezTo>
                  <a:pt x="58" y="727"/>
                  <a:pt x="50" y="719"/>
                  <a:pt x="50" y="711"/>
                </a:cubicBezTo>
                <a:cubicBezTo>
                  <a:pt x="50" y="711"/>
                  <a:pt x="42" y="711"/>
                  <a:pt x="42" y="703"/>
                </a:cubicBezTo>
                <a:lnTo>
                  <a:pt x="34" y="695"/>
                </a:lnTo>
                <a:cubicBezTo>
                  <a:pt x="34" y="695"/>
                  <a:pt x="34" y="687"/>
                  <a:pt x="42" y="679"/>
                </a:cubicBezTo>
                <a:lnTo>
                  <a:pt x="67" y="679"/>
                </a:lnTo>
                <a:lnTo>
                  <a:pt x="83" y="679"/>
                </a:lnTo>
                <a:lnTo>
                  <a:pt x="100" y="679"/>
                </a:lnTo>
                <a:lnTo>
                  <a:pt x="125" y="679"/>
                </a:lnTo>
                <a:cubicBezTo>
                  <a:pt x="125" y="679"/>
                  <a:pt x="108" y="671"/>
                  <a:pt x="133" y="679"/>
                </a:cubicBezTo>
                <a:cubicBezTo>
                  <a:pt x="133" y="679"/>
                  <a:pt x="166" y="687"/>
                  <a:pt x="158" y="703"/>
                </a:cubicBezTo>
                <a:lnTo>
                  <a:pt x="150" y="711"/>
                </a:lnTo>
                <a:lnTo>
                  <a:pt x="166" y="719"/>
                </a:lnTo>
                <a:lnTo>
                  <a:pt x="175" y="711"/>
                </a:lnTo>
                <a:lnTo>
                  <a:pt x="183" y="719"/>
                </a:lnTo>
                <a:lnTo>
                  <a:pt x="200" y="735"/>
                </a:lnTo>
                <a:lnTo>
                  <a:pt x="216" y="735"/>
                </a:lnTo>
                <a:cubicBezTo>
                  <a:pt x="208" y="743"/>
                  <a:pt x="200" y="727"/>
                  <a:pt x="208" y="743"/>
                </a:cubicBezTo>
                <a:cubicBezTo>
                  <a:pt x="216" y="758"/>
                  <a:pt x="225" y="766"/>
                  <a:pt x="225" y="766"/>
                </a:cubicBezTo>
                <a:lnTo>
                  <a:pt x="233" y="766"/>
                </a:lnTo>
                <a:cubicBezTo>
                  <a:pt x="233" y="766"/>
                  <a:pt x="233" y="758"/>
                  <a:pt x="241" y="758"/>
                </a:cubicBezTo>
                <a:cubicBezTo>
                  <a:pt x="241" y="766"/>
                  <a:pt x="258" y="766"/>
                  <a:pt x="266" y="766"/>
                </a:cubicBezTo>
                <a:cubicBezTo>
                  <a:pt x="266" y="766"/>
                  <a:pt x="266" y="758"/>
                  <a:pt x="258" y="743"/>
                </a:cubicBezTo>
                <a:cubicBezTo>
                  <a:pt x="250" y="735"/>
                  <a:pt x="241" y="727"/>
                  <a:pt x="241" y="727"/>
                </a:cubicBezTo>
                <a:cubicBezTo>
                  <a:pt x="233" y="727"/>
                  <a:pt x="241" y="735"/>
                  <a:pt x="225" y="727"/>
                </a:cubicBezTo>
                <a:cubicBezTo>
                  <a:pt x="208" y="719"/>
                  <a:pt x="208" y="727"/>
                  <a:pt x="200" y="719"/>
                </a:cubicBezTo>
                <a:cubicBezTo>
                  <a:pt x="191" y="703"/>
                  <a:pt x="183" y="703"/>
                  <a:pt x="183" y="695"/>
                </a:cubicBezTo>
                <a:cubicBezTo>
                  <a:pt x="183" y="695"/>
                  <a:pt x="191" y="695"/>
                  <a:pt x="200" y="687"/>
                </a:cubicBezTo>
                <a:cubicBezTo>
                  <a:pt x="208" y="687"/>
                  <a:pt x="191" y="679"/>
                  <a:pt x="208" y="687"/>
                </a:cubicBezTo>
                <a:cubicBezTo>
                  <a:pt x="233" y="695"/>
                  <a:pt x="233" y="695"/>
                  <a:pt x="241" y="695"/>
                </a:cubicBezTo>
                <a:cubicBezTo>
                  <a:pt x="241" y="695"/>
                  <a:pt x="258" y="695"/>
                  <a:pt x="241" y="687"/>
                </a:cubicBezTo>
                <a:cubicBezTo>
                  <a:pt x="225" y="687"/>
                  <a:pt x="216" y="679"/>
                  <a:pt x="216" y="679"/>
                </a:cubicBezTo>
                <a:lnTo>
                  <a:pt x="200" y="679"/>
                </a:lnTo>
                <a:lnTo>
                  <a:pt x="191" y="679"/>
                </a:lnTo>
                <a:cubicBezTo>
                  <a:pt x="183" y="679"/>
                  <a:pt x="183" y="687"/>
                  <a:pt x="183" y="679"/>
                </a:cubicBezTo>
                <a:cubicBezTo>
                  <a:pt x="175" y="679"/>
                  <a:pt x="166" y="679"/>
                  <a:pt x="166" y="671"/>
                </a:cubicBezTo>
                <a:cubicBezTo>
                  <a:pt x="158" y="671"/>
                  <a:pt x="150" y="664"/>
                  <a:pt x="150" y="664"/>
                </a:cubicBezTo>
                <a:cubicBezTo>
                  <a:pt x="150" y="656"/>
                  <a:pt x="142" y="648"/>
                  <a:pt x="142" y="648"/>
                </a:cubicBezTo>
                <a:lnTo>
                  <a:pt x="117" y="648"/>
                </a:lnTo>
                <a:lnTo>
                  <a:pt x="108" y="648"/>
                </a:lnTo>
                <a:lnTo>
                  <a:pt x="108" y="632"/>
                </a:lnTo>
                <a:cubicBezTo>
                  <a:pt x="108" y="632"/>
                  <a:pt x="108" y="624"/>
                  <a:pt x="117" y="624"/>
                </a:cubicBezTo>
                <a:lnTo>
                  <a:pt x="166" y="624"/>
                </a:lnTo>
                <a:lnTo>
                  <a:pt x="175" y="632"/>
                </a:lnTo>
                <a:cubicBezTo>
                  <a:pt x="183" y="640"/>
                  <a:pt x="191" y="640"/>
                  <a:pt x="191" y="640"/>
                </a:cubicBezTo>
                <a:cubicBezTo>
                  <a:pt x="191" y="648"/>
                  <a:pt x="191" y="648"/>
                  <a:pt x="200" y="648"/>
                </a:cubicBezTo>
                <a:cubicBezTo>
                  <a:pt x="200" y="656"/>
                  <a:pt x="208" y="656"/>
                  <a:pt x="208" y="656"/>
                </a:cubicBezTo>
                <a:lnTo>
                  <a:pt x="216" y="671"/>
                </a:lnTo>
                <a:lnTo>
                  <a:pt x="233" y="679"/>
                </a:lnTo>
                <a:lnTo>
                  <a:pt x="258" y="687"/>
                </a:lnTo>
                <a:lnTo>
                  <a:pt x="266" y="687"/>
                </a:lnTo>
                <a:cubicBezTo>
                  <a:pt x="274" y="687"/>
                  <a:pt x="274" y="679"/>
                  <a:pt x="274" y="679"/>
                </a:cubicBezTo>
                <a:lnTo>
                  <a:pt x="283" y="679"/>
                </a:lnTo>
                <a:lnTo>
                  <a:pt x="308" y="664"/>
                </a:lnTo>
                <a:cubicBezTo>
                  <a:pt x="308" y="671"/>
                  <a:pt x="316" y="671"/>
                  <a:pt x="324" y="671"/>
                </a:cubicBezTo>
                <a:lnTo>
                  <a:pt x="349" y="687"/>
                </a:lnTo>
                <a:lnTo>
                  <a:pt x="349" y="671"/>
                </a:lnTo>
                <a:lnTo>
                  <a:pt x="358" y="664"/>
                </a:lnTo>
                <a:lnTo>
                  <a:pt x="391" y="664"/>
                </a:lnTo>
                <a:lnTo>
                  <a:pt x="399" y="656"/>
                </a:lnTo>
                <a:lnTo>
                  <a:pt x="383" y="656"/>
                </a:lnTo>
                <a:lnTo>
                  <a:pt x="366" y="664"/>
                </a:lnTo>
                <a:lnTo>
                  <a:pt x="349" y="664"/>
                </a:lnTo>
                <a:lnTo>
                  <a:pt x="341" y="671"/>
                </a:lnTo>
                <a:cubicBezTo>
                  <a:pt x="333" y="671"/>
                  <a:pt x="324" y="664"/>
                  <a:pt x="324" y="664"/>
                </a:cubicBezTo>
                <a:cubicBezTo>
                  <a:pt x="316" y="656"/>
                  <a:pt x="299" y="648"/>
                  <a:pt x="299" y="648"/>
                </a:cubicBezTo>
                <a:cubicBezTo>
                  <a:pt x="291" y="648"/>
                  <a:pt x="299" y="648"/>
                  <a:pt x="283" y="640"/>
                </a:cubicBezTo>
                <a:cubicBezTo>
                  <a:pt x="266" y="632"/>
                  <a:pt x="258" y="624"/>
                  <a:pt x="258" y="624"/>
                </a:cubicBezTo>
                <a:lnTo>
                  <a:pt x="250" y="616"/>
                </a:lnTo>
                <a:cubicBezTo>
                  <a:pt x="250" y="616"/>
                  <a:pt x="250" y="608"/>
                  <a:pt x="241" y="608"/>
                </a:cubicBezTo>
                <a:cubicBezTo>
                  <a:pt x="233" y="600"/>
                  <a:pt x="208" y="592"/>
                  <a:pt x="208" y="592"/>
                </a:cubicBezTo>
                <a:lnTo>
                  <a:pt x="208" y="561"/>
                </a:lnTo>
                <a:cubicBezTo>
                  <a:pt x="208" y="553"/>
                  <a:pt x="200" y="537"/>
                  <a:pt x="200" y="537"/>
                </a:cubicBezTo>
                <a:lnTo>
                  <a:pt x="216" y="529"/>
                </a:lnTo>
                <a:cubicBezTo>
                  <a:pt x="225" y="529"/>
                  <a:pt x="233" y="537"/>
                  <a:pt x="233" y="537"/>
                </a:cubicBezTo>
                <a:lnTo>
                  <a:pt x="241" y="529"/>
                </a:lnTo>
                <a:lnTo>
                  <a:pt x="308" y="442"/>
                </a:lnTo>
                <a:lnTo>
                  <a:pt x="366" y="363"/>
                </a:lnTo>
                <a:lnTo>
                  <a:pt x="391" y="245"/>
                </a:lnTo>
                <a:lnTo>
                  <a:pt x="407" y="190"/>
                </a:lnTo>
                <a:lnTo>
                  <a:pt x="424" y="142"/>
                </a:lnTo>
                <a:cubicBezTo>
                  <a:pt x="424" y="142"/>
                  <a:pt x="424" y="134"/>
                  <a:pt x="432" y="142"/>
                </a:cubicBezTo>
                <a:lnTo>
                  <a:pt x="441" y="158"/>
                </a:lnTo>
                <a:lnTo>
                  <a:pt x="449" y="166"/>
                </a:lnTo>
                <a:lnTo>
                  <a:pt x="457" y="166"/>
                </a:lnTo>
                <a:cubicBezTo>
                  <a:pt x="457" y="166"/>
                  <a:pt x="474" y="158"/>
                  <a:pt x="482" y="158"/>
                </a:cubicBezTo>
                <a:lnTo>
                  <a:pt x="515" y="174"/>
                </a:lnTo>
                <a:lnTo>
                  <a:pt x="515" y="198"/>
                </a:lnTo>
                <a:cubicBezTo>
                  <a:pt x="515" y="198"/>
                  <a:pt x="532" y="213"/>
                  <a:pt x="524" y="221"/>
                </a:cubicBezTo>
                <a:lnTo>
                  <a:pt x="515" y="237"/>
                </a:lnTo>
                <a:lnTo>
                  <a:pt x="524" y="245"/>
                </a:lnTo>
                <a:lnTo>
                  <a:pt x="540" y="245"/>
                </a:lnTo>
                <a:cubicBezTo>
                  <a:pt x="549" y="245"/>
                  <a:pt x="557" y="253"/>
                  <a:pt x="557" y="253"/>
                </a:cubicBezTo>
                <a:lnTo>
                  <a:pt x="557" y="261"/>
                </a:lnTo>
                <a:lnTo>
                  <a:pt x="557" y="277"/>
                </a:lnTo>
                <a:cubicBezTo>
                  <a:pt x="557" y="284"/>
                  <a:pt x="540" y="284"/>
                  <a:pt x="540" y="284"/>
                </a:cubicBezTo>
                <a:lnTo>
                  <a:pt x="540" y="292"/>
                </a:lnTo>
                <a:cubicBezTo>
                  <a:pt x="532" y="300"/>
                  <a:pt x="524" y="308"/>
                  <a:pt x="515" y="308"/>
                </a:cubicBezTo>
                <a:lnTo>
                  <a:pt x="499" y="292"/>
                </a:lnTo>
                <a:lnTo>
                  <a:pt x="491" y="300"/>
                </a:lnTo>
                <a:lnTo>
                  <a:pt x="499" y="316"/>
                </a:lnTo>
                <a:lnTo>
                  <a:pt x="507" y="340"/>
                </a:lnTo>
                <a:lnTo>
                  <a:pt x="499" y="348"/>
                </a:lnTo>
                <a:lnTo>
                  <a:pt x="507" y="371"/>
                </a:lnTo>
                <a:lnTo>
                  <a:pt x="507" y="387"/>
                </a:lnTo>
                <a:lnTo>
                  <a:pt x="491" y="395"/>
                </a:lnTo>
                <a:cubicBezTo>
                  <a:pt x="491" y="395"/>
                  <a:pt x="482" y="403"/>
                  <a:pt x="474" y="403"/>
                </a:cubicBezTo>
                <a:cubicBezTo>
                  <a:pt x="474" y="403"/>
                  <a:pt x="466" y="395"/>
                  <a:pt x="466" y="403"/>
                </a:cubicBezTo>
                <a:cubicBezTo>
                  <a:pt x="474" y="411"/>
                  <a:pt x="474" y="419"/>
                  <a:pt x="482" y="419"/>
                </a:cubicBezTo>
                <a:lnTo>
                  <a:pt x="507" y="419"/>
                </a:lnTo>
                <a:lnTo>
                  <a:pt x="524" y="442"/>
                </a:lnTo>
                <a:lnTo>
                  <a:pt x="540" y="442"/>
                </a:lnTo>
                <a:lnTo>
                  <a:pt x="557" y="450"/>
                </a:lnTo>
                <a:lnTo>
                  <a:pt x="565" y="458"/>
                </a:lnTo>
                <a:cubicBezTo>
                  <a:pt x="574" y="458"/>
                  <a:pt x="590" y="466"/>
                  <a:pt x="590" y="466"/>
                </a:cubicBezTo>
                <a:cubicBezTo>
                  <a:pt x="590" y="466"/>
                  <a:pt x="590" y="458"/>
                  <a:pt x="582" y="458"/>
                </a:cubicBezTo>
                <a:cubicBezTo>
                  <a:pt x="582" y="458"/>
                  <a:pt x="574" y="434"/>
                  <a:pt x="557" y="434"/>
                </a:cubicBezTo>
                <a:cubicBezTo>
                  <a:pt x="549" y="427"/>
                  <a:pt x="540" y="427"/>
                  <a:pt x="532" y="427"/>
                </a:cubicBezTo>
                <a:cubicBezTo>
                  <a:pt x="524" y="427"/>
                  <a:pt x="507" y="419"/>
                  <a:pt x="507" y="419"/>
                </a:cubicBezTo>
                <a:cubicBezTo>
                  <a:pt x="507" y="411"/>
                  <a:pt x="499" y="403"/>
                  <a:pt x="507" y="403"/>
                </a:cubicBezTo>
                <a:cubicBezTo>
                  <a:pt x="507" y="395"/>
                  <a:pt x="507" y="387"/>
                  <a:pt x="524" y="387"/>
                </a:cubicBezTo>
                <a:cubicBezTo>
                  <a:pt x="532" y="387"/>
                  <a:pt x="540" y="395"/>
                  <a:pt x="549" y="387"/>
                </a:cubicBezTo>
                <a:cubicBezTo>
                  <a:pt x="557" y="387"/>
                  <a:pt x="574" y="363"/>
                  <a:pt x="574" y="363"/>
                </a:cubicBezTo>
                <a:lnTo>
                  <a:pt x="590" y="348"/>
                </a:lnTo>
                <a:lnTo>
                  <a:pt x="615" y="340"/>
                </a:lnTo>
                <a:lnTo>
                  <a:pt x="648" y="324"/>
                </a:lnTo>
                <a:cubicBezTo>
                  <a:pt x="648" y="324"/>
                  <a:pt x="657" y="324"/>
                  <a:pt x="665" y="332"/>
                </a:cubicBezTo>
                <a:lnTo>
                  <a:pt x="673" y="340"/>
                </a:lnTo>
                <a:cubicBezTo>
                  <a:pt x="682" y="340"/>
                  <a:pt x="698" y="348"/>
                  <a:pt x="698" y="348"/>
                </a:cubicBezTo>
                <a:lnTo>
                  <a:pt x="707" y="356"/>
                </a:lnTo>
                <a:cubicBezTo>
                  <a:pt x="707" y="356"/>
                  <a:pt x="715" y="363"/>
                  <a:pt x="707" y="379"/>
                </a:cubicBezTo>
                <a:lnTo>
                  <a:pt x="707" y="395"/>
                </a:lnTo>
                <a:cubicBezTo>
                  <a:pt x="707" y="395"/>
                  <a:pt x="715" y="387"/>
                  <a:pt x="715" y="379"/>
                </a:cubicBezTo>
                <a:lnTo>
                  <a:pt x="715" y="348"/>
                </a:lnTo>
                <a:cubicBezTo>
                  <a:pt x="715" y="340"/>
                  <a:pt x="707" y="332"/>
                  <a:pt x="707" y="332"/>
                </a:cubicBezTo>
                <a:cubicBezTo>
                  <a:pt x="707" y="332"/>
                  <a:pt x="690" y="340"/>
                  <a:pt x="673" y="332"/>
                </a:cubicBezTo>
                <a:cubicBezTo>
                  <a:pt x="665" y="324"/>
                  <a:pt x="665" y="316"/>
                  <a:pt x="657" y="316"/>
                </a:cubicBezTo>
                <a:cubicBezTo>
                  <a:pt x="657" y="316"/>
                  <a:pt x="648" y="308"/>
                  <a:pt x="640" y="308"/>
                </a:cubicBezTo>
                <a:lnTo>
                  <a:pt x="640" y="269"/>
                </a:lnTo>
                <a:cubicBezTo>
                  <a:pt x="640" y="269"/>
                  <a:pt x="632" y="261"/>
                  <a:pt x="640" y="253"/>
                </a:cubicBezTo>
                <a:cubicBezTo>
                  <a:pt x="648" y="245"/>
                  <a:pt x="648" y="245"/>
                  <a:pt x="657" y="245"/>
                </a:cubicBezTo>
                <a:cubicBezTo>
                  <a:pt x="657" y="237"/>
                  <a:pt x="673" y="229"/>
                  <a:pt x="665" y="229"/>
                </a:cubicBezTo>
                <a:cubicBezTo>
                  <a:pt x="665" y="221"/>
                  <a:pt x="657" y="221"/>
                  <a:pt x="648" y="221"/>
                </a:cubicBezTo>
                <a:cubicBezTo>
                  <a:pt x="640" y="221"/>
                  <a:pt x="648" y="229"/>
                  <a:pt x="640" y="229"/>
                </a:cubicBezTo>
                <a:cubicBezTo>
                  <a:pt x="624" y="229"/>
                  <a:pt x="624" y="221"/>
                  <a:pt x="615" y="213"/>
                </a:cubicBezTo>
                <a:cubicBezTo>
                  <a:pt x="615" y="205"/>
                  <a:pt x="615" y="205"/>
                  <a:pt x="607" y="213"/>
                </a:cubicBezTo>
                <a:cubicBezTo>
                  <a:pt x="599" y="213"/>
                  <a:pt x="590" y="205"/>
                  <a:pt x="590" y="205"/>
                </a:cubicBezTo>
                <a:cubicBezTo>
                  <a:pt x="590" y="205"/>
                  <a:pt x="582" y="198"/>
                  <a:pt x="590" y="190"/>
                </a:cubicBezTo>
                <a:lnTo>
                  <a:pt x="599" y="174"/>
                </a:lnTo>
                <a:lnTo>
                  <a:pt x="599" y="14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90" name="Freeform 82">
            <a:extLst>
              <a:ext uri="{FF2B5EF4-FFF2-40B4-BE49-F238E27FC236}">
                <a16:creationId xmlns:a16="http://schemas.microsoft.com/office/drawing/2014/main" id="{BB00CFE8-3A63-8372-43D6-A343A5210EFA}"/>
              </a:ext>
            </a:extLst>
          </p:cNvPr>
          <p:cNvSpPr>
            <a:spLocks noChangeArrowheads="1"/>
          </p:cNvSpPr>
          <p:nvPr>
            <p:custDataLst>
              <p:tags r:id="rId82"/>
            </p:custDataLst>
          </p:nvPr>
        </p:nvSpPr>
        <p:spPr bwMode="auto">
          <a:xfrm>
            <a:off x="7880631" y="4125952"/>
            <a:ext cx="800558" cy="541553"/>
          </a:xfrm>
          <a:custGeom>
            <a:avLst/>
            <a:gdLst>
              <a:gd name="T0" fmla="*/ 251 w 1947"/>
              <a:gd name="T1" fmla="*/ 419 h 1319"/>
              <a:gd name="T2" fmla="*/ 356 w 1947"/>
              <a:gd name="T3" fmla="*/ 426 h 1319"/>
              <a:gd name="T4" fmla="*/ 519 w 1947"/>
              <a:gd name="T5" fmla="*/ 457 h 1319"/>
              <a:gd name="T6" fmla="*/ 778 w 1947"/>
              <a:gd name="T7" fmla="*/ 403 h 1319"/>
              <a:gd name="T8" fmla="*/ 770 w 1947"/>
              <a:gd name="T9" fmla="*/ 318 h 1319"/>
              <a:gd name="T10" fmla="*/ 932 w 1947"/>
              <a:gd name="T11" fmla="*/ 279 h 1319"/>
              <a:gd name="T12" fmla="*/ 1030 w 1947"/>
              <a:gd name="T13" fmla="*/ 233 h 1319"/>
              <a:gd name="T14" fmla="*/ 1127 w 1947"/>
              <a:gd name="T15" fmla="*/ 186 h 1319"/>
              <a:gd name="T16" fmla="*/ 1200 w 1947"/>
              <a:gd name="T17" fmla="*/ 70 h 1319"/>
              <a:gd name="T18" fmla="*/ 1362 w 1947"/>
              <a:gd name="T19" fmla="*/ 39 h 1319"/>
              <a:gd name="T20" fmla="*/ 1508 w 1947"/>
              <a:gd name="T21" fmla="*/ 8 h 1319"/>
              <a:gd name="T22" fmla="*/ 1678 w 1947"/>
              <a:gd name="T23" fmla="*/ 46 h 1319"/>
              <a:gd name="T24" fmla="*/ 1768 w 1947"/>
              <a:gd name="T25" fmla="*/ 85 h 1319"/>
              <a:gd name="T26" fmla="*/ 1857 w 1947"/>
              <a:gd name="T27" fmla="*/ 132 h 1319"/>
              <a:gd name="T28" fmla="*/ 1930 w 1947"/>
              <a:gd name="T29" fmla="*/ 178 h 1319"/>
              <a:gd name="T30" fmla="*/ 1897 w 1947"/>
              <a:gd name="T31" fmla="*/ 256 h 1319"/>
              <a:gd name="T32" fmla="*/ 1816 w 1947"/>
              <a:gd name="T33" fmla="*/ 302 h 1319"/>
              <a:gd name="T34" fmla="*/ 1759 w 1947"/>
              <a:gd name="T35" fmla="*/ 372 h 1319"/>
              <a:gd name="T36" fmla="*/ 1727 w 1947"/>
              <a:gd name="T37" fmla="*/ 481 h 1319"/>
              <a:gd name="T38" fmla="*/ 1670 w 1947"/>
              <a:gd name="T39" fmla="*/ 581 h 1319"/>
              <a:gd name="T40" fmla="*/ 1630 w 1947"/>
              <a:gd name="T41" fmla="*/ 698 h 1319"/>
              <a:gd name="T42" fmla="*/ 1613 w 1947"/>
              <a:gd name="T43" fmla="*/ 822 h 1319"/>
              <a:gd name="T44" fmla="*/ 1589 w 1947"/>
              <a:gd name="T45" fmla="*/ 907 h 1319"/>
              <a:gd name="T46" fmla="*/ 1557 w 1947"/>
              <a:gd name="T47" fmla="*/ 977 h 1319"/>
              <a:gd name="T48" fmla="*/ 1435 w 1947"/>
              <a:gd name="T49" fmla="*/ 1047 h 1319"/>
              <a:gd name="T50" fmla="*/ 1362 w 1947"/>
              <a:gd name="T51" fmla="*/ 1078 h 1319"/>
              <a:gd name="T52" fmla="*/ 1240 w 1947"/>
              <a:gd name="T53" fmla="*/ 1078 h 1319"/>
              <a:gd name="T54" fmla="*/ 1127 w 1947"/>
              <a:gd name="T55" fmla="*/ 1093 h 1319"/>
              <a:gd name="T56" fmla="*/ 1054 w 1947"/>
              <a:gd name="T57" fmla="*/ 1117 h 1319"/>
              <a:gd name="T58" fmla="*/ 997 w 1947"/>
              <a:gd name="T59" fmla="*/ 1179 h 1319"/>
              <a:gd name="T60" fmla="*/ 932 w 1947"/>
              <a:gd name="T61" fmla="*/ 1179 h 1319"/>
              <a:gd name="T62" fmla="*/ 851 w 1947"/>
              <a:gd name="T63" fmla="*/ 1233 h 1319"/>
              <a:gd name="T64" fmla="*/ 762 w 1947"/>
              <a:gd name="T65" fmla="*/ 1295 h 1319"/>
              <a:gd name="T66" fmla="*/ 648 w 1947"/>
              <a:gd name="T67" fmla="*/ 1318 h 1319"/>
              <a:gd name="T68" fmla="*/ 519 w 1947"/>
              <a:gd name="T69" fmla="*/ 1303 h 1319"/>
              <a:gd name="T70" fmla="*/ 446 w 1947"/>
              <a:gd name="T71" fmla="*/ 1256 h 1319"/>
              <a:gd name="T72" fmla="*/ 340 w 1947"/>
              <a:gd name="T73" fmla="*/ 1179 h 1319"/>
              <a:gd name="T74" fmla="*/ 210 w 1947"/>
              <a:gd name="T75" fmla="*/ 1109 h 1319"/>
              <a:gd name="T76" fmla="*/ 129 w 1947"/>
              <a:gd name="T77" fmla="*/ 1047 h 1319"/>
              <a:gd name="T78" fmla="*/ 56 w 1947"/>
              <a:gd name="T79" fmla="*/ 938 h 1319"/>
              <a:gd name="T80" fmla="*/ 0 w 1947"/>
              <a:gd name="T81" fmla="*/ 907 h 1319"/>
              <a:gd name="T82" fmla="*/ 48 w 1947"/>
              <a:gd name="T83" fmla="*/ 837 h 1319"/>
              <a:gd name="T84" fmla="*/ 64 w 1947"/>
              <a:gd name="T85" fmla="*/ 737 h 1319"/>
              <a:gd name="T86" fmla="*/ 89 w 1947"/>
              <a:gd name="T87" fmla="*/ 667 h 1319"/>
              <a:gd name="T88" fmla="*/ 81 w 1947"/>
              <a:gd name="T89" fmla="*/ 574 h 1319"/>
              <a:gd name="T90" fmla="*/ 81 w 1947"/>
              <a:gd name="T91" fmla="*/ 519 h 1319"/>
              <a:gd name="T92" fmla="*/ 170 w 1947"/>
              <a:gd name="T93" fmla="*/ 535 h 1319"/>
              <a:gd name="T94" fmla="*/ 227 w 1947"/>
              <a:gd name="T95" fmla="*/ 473 h 1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47" h="1319">
                <a:moveTo>
                  <a:pt x="227" y="473"/>
                </a:moveTo>
                <a:lnTo>
                  <a:pt x="227" y="450"/>
                </a:lnTo>
                <a:lnTo>
                  <a:pt x="251" y="419"/>
                </a:lnTo>
                <a:lnTo>
                  <a:pt x="251" y="380"/>
                </a:lnTo>
                <a:lnTo>
                  <a:pt x="316" y="388"/>
                </a:lnTo>
                <a:lnTo>
                  <a:pt x="356" y="426"/>
                </a:lnTo>
                <a:lnTo>
                  <a:pt x="413" y="457"/>
                </a:lnTo>
                <a:lnTo>
                  <a:pt x="446" y="473"/>
                </a:lnTo>
                <a:lnTo>
                  <a:pt x="519" y="457"/>
                </a:lnTo>
                <a:lnTo>
                  <a:pt x="656" y="450"/>
                </a:lnTo>
                <a:cubicBezTo>
                  <a:pt x="656" y="450"/>
                  <a:pt x="729" y="442"/>
                  <a:pt x="738" y="434"/>
                </a:cubicBezTo>
                <a:cubicBezTo>
                  <a:pt x="746" y="426"/>
                  <a:pt x="794" y="419"/>
                  <a:pt x="778" y="403"/>
                </a:cubicBezTo>
                <a:cubicBezTo>
                  <a:pt x="762" y="395"/>
                  <a:pt x="729" y="372"/>
                  <a:pt x="729" y="372"/>
                </a:cubicBezTo>
                <a:lnTo>
                  <a:pt x="729" y="357"/>
                </a:lnTo>
                <a:lnTo>
                  <a:pt x="770" y="318"/>
                </a:lnTo>
                <a:lnTo>
                  <a:pt x="843" y="295"/>
                </a:lnTo>
                <a:lnTo>
                  <a:pt x="900" y="287"/>
                </a:lnTo>
                <a:lnTo>
                  <a:pt x="932" y="279"/>
                </a:lnTo>
                <a:lnTo>
                  <a:pt x="948" y="233"/>
                </a:lnTo>
                <a:lnTo>
                  <a:pt x="997" y="225"/>
                </a:lnTo>
                <a:lnTo>
                  <a:pt x="1030" y="233"/>
                </a:lnTo>
                <a:lnTo>
                  <a:pt x="1078" y="233"/>
                </a:lnTo>
                <a:lnTo>
                  <a:pt x="1103" y="201"/>
                </a:lnTo>
                <a:lnTo>
                  <a:pt x="1127" y="186"/>
                </a:lnTo>
                <a:lnTo>
                  <a:pt x="1159" y="170"/>
                </a:lnTo>
                <a:lnTo>
                  <a:pt x="1184" y="124"/>
                </a:lnTo>
                <a:lnTo>
                  <a:pt x="1200" y="70"/>
                </a:lnTo>
                <a:lnTo>
                  <a:pt x="1208" y="46"/>
                </a:lnTo>
                <a:lnTo>
                  <a:pt x="1321" y="15"/>
                </a:lnTo>
                <a:lnTo>
                  <a:pt x="1362" y="39"/>
                </a:lnTo>
                <a:lnTo>
                  <a:pt x="1419" y="31"/>
                </a:lnTo>
                <a:lnTo>
                  <a:pt x="1459" y="0"/>
                </a:lnTo>
                <a:lnTo>
                  <a:pt x="1508" y="8"/>
                </a:lnTo>
                <a:lnTo>
                  <a:pt x="1573" y="70"/>
                </a:lnTo>
                <a:lnTo>
                  <a:pt x="1638" y="70"/>
                </a:lnTo>
                <a:lnTo>
                  <a:pt x="1678" y="46"/>
                </a:lnTo>
                <a:lnTo>
                  <a:pt x="1719" y="31"/>
                </a:lnTo>
                <a:lnTo>
                  <a:pt x="1743" y="54"/>
                </a:lnTo>
                <a:lnTo>
                  <a:pt x="1768" y="85"/>
                </a:lnTo>
                <a:lnTo>
                  <a:pt x="1808" y="77"/>
                </a:lnTo>
                <a:lnTo>
                  <a:pt x="1832" y="108"/>
                </a:lnTo>
                <a:lnTo>
                  <a:pt x="1857" y="132"/>
                </a:lnTo>
                <a:lnTo>
                  <a:pt x="1897" y="124"/>
                </a:lnTo>
                <a:lnTo>
                  <a:pt x="1938" y="147"/>
                </a:lnTo>
                <a:lnTo>
                  <a:pt x="1930" y="178"/>
                </a:lnTo>
                <a:lnTo>
                  <a:pt x="1946" y="217"/>
                </a:lnTo>
                <a:lnTo>
                  <a:pt x="1922" y="240"/>
                </a:lnTo>
                <a:cubicBezTo>
                  <a:pt x="1922" y="240"/>
                  <a:pt x="1913" y="256"/>
                  <a:pt x="1897" y="256"/>
                </a:cubicBezTo>
                <a:cubicBezTo>
                  <a:pt x="1889" y="264"/>
                  <a:pt x="1873" y="271"/>
                  <a:pt x="1873" y="271"/>
                </a:cubicBezTo>
                <a:lnTo>
                  <a:pt x="1849" y="295"/>
                </a:lnTo>
                <a:lnTo>
                  <a:pt x="1816" y="302"/>
                </a:lnTo>
                <a:lnTo>
                  <a:pt x="1792" y="310"/>
                </a:lnTo>
                <a:lnTo>
                  <a:pt x="1776" y="326"/>
                </a:lnTo>
                <a:lnTo>
                  <a:pt x="1759" y="372"/>
                </a:lnTo>
                <a:lnTo>
                  <a:pt x="1735" y="395"/>
                </a:lnTo>
                <a:lnTo>
                  <a:pt x="1727" y="434"/>
                </a:lnTo>
                <a:cubicBezTo>
                  <a:pt x="1727" y="434"/>
                  <a:pt x="1743" y="473"/>
                  <a:pt x="1727" y="481"/>
                </a:cubicBezTo>
                <a:cubicBezTo>
                  <a:pt x="1719" y="481"/>
                  <a:pt x="1711" y="488"/>
                  <a:pt x="1711" y="488"/>
                </a:cubicBezTo>
                <a:lnTo>
                  <a:pt x="1703" y="550"/>
                </a:lnTo>
                <a:lnTo>
                  <a:pt x="1670" y="581"/>
                </a:lnTo>
                <a:lnTo>
                  <a:pt x="1662" y="644"/>
                </a:lnTo>
                <a:cubicBezTo>
                  <a:pt x="1662" y="644"/>
                  <a:pt x="1678" y="675"/>
                  <a:pt x="1654" y="675"/>
                </a:cubicBezTo>
                <a:cubicBezTo>
                  <a:pt x="1638" y="682"/>
                  <a:pt x="1630" y="698"/>
                  <a:pt x="1630" y="698"/>
                </a:cubicBezTo>
                <a:lnTo>
                  <a:pt x="1630" y="752"/>
                </a:lnTo>
                <a:lnTo>
                  <a:pt x="1605" y="791"/>
                </a:lnTo>
                <a:lnTo>
                  <a:pt x="1613" y="822"/>
                </a:lnTo>
                <a:lnTo>
                  <a:pt x="1597" y="845"/>
                </a:lnTo>
                <a:lnTo>
                  <a:pt x="1605" y="884"/>
                </a:lnTo>
                <a:lnTo>
                  <a:pt x="1589" y="907"/>
                </a:lnTo>
                <a:lnTo>
                  <a:pt x="1581" y="915"/>
                </a:lnTo>
                <a:lnTo>
                  <a:pt x="1573" y="938"/>
                </a:lnTo>
                <a:lnTo>
                  <a:pt x="1557" y="977"/>
                </a:lnTo>
                <a:lnTo>
                  <a:pt x="1492" y="1031"/>
                </a:lnTo>
                <a:lnTo>
                  <a:pt x="1459" y="1024"/>
                </a:lnTo>
                <a:lnTo>
                  <a:pt x="1435" y="1047"/>
                </a:lnTo>
                <a:cubicBezTo>
                  <a:pt x="1435" y="1047"/>
                  <a:pt x="1443" y="1047"/>
                  <a:pt x="1427" y="1062"/>
                </a:cubicBezTo>
                <a:cubicBezTo>
                  <a:pt x="1411" y="1070"/>
                  <a:pt x="1378" y="1078"/>
                  <a:pt x="1378" y="1078"/>
                </a:cubicBezTo>
                <a:lnTo>
                  <a:pt x="1362" y="1078"/>
                </a:lnTo>
                <a:lnTo>
                  <a:pt x="1305" y="1078"/>
                </a:lnTo>
                <a:cubicBezTo>
                  <a:pt x="1305" y="1078"/>
                  <a:pt x="1297" y="1070"/>
                  <a:pt x="1289" y="1078"/>
                </a:cubicBezTo>
                <a:lnTo>
                  <a:pt x="1240" y="1078"/>
                </a:lnTo>
                <a:cubicBezTo>
                  <a:pt x="1240" y="1078"/>
                  <a:pt x="1224" y="1070"/>
                  <a:pt x="1216" y="1070"/>
                </a:cubicBezTo>
                <a:cubicBezTo>
                  <a:pt x="1208" y="1070"/>
                  <a:pt x="1159" y="1078"/>
                  <a:pt x="1159" y="1078"/>
                </a:cubicBezTo>
                <a:lnTo>
                  <a:pt x="1127" y="1093"/>
                </a:lnTo>
                <a:cubicBezTo>
                  <a:pt x="1127" y="1093"/>
                  <a:pt x="1119" y="1078"/>
                  <a:pt x="1111" y="1086"/>
                </a:cubicBezTo>
                <a:cubicBezTo>
                  <a:pt x="1094" y="1086"/>
                  <a:pt x="1054" y="1101"/>
                  <a:pt x="1054" y="1101"/>
                </a:cubicBezTo>
                <a:cubicBezTo>
                  <a:pt x="1054" y="1101"/>
                  <a:pt x="1070" y="1117"/>
                  <a:pt x="1054" y="1117"/>
                </a:cubicBezTo>
                <a:cubicBezTo>
                  <a:pt x="1046" y="1117"/>
                  <a:pt x="1021" y="1148"/>
                  <a:pt x="1021" y="1148"/>
                </a:cubicBezTo>
                <a:lnTo>
                  <a:pt x="1005" y="1155"/>
                </a:lnTo>
                <a:lnTo>
                  <a:pt x="997" y="1179"/>
                </a:lnTo>
                <a:lnTo>
                  <a:pt x="973" y="1179"/>
                </a:lnTo>
                <a:cubicBezTo>
                  <a:pt x="965" y="1179"/>
                  <a:pt x="940" y="1186"/>
                  <a:pt x="940" y="1186"/>
                </a:cubicBezTo>
                <a:lnTo>
                  <a:pt x="932" y="1179"/>
                </a:lnTo>
                <a:lnTo>
                  <a:pt x="900" y="1225"/>
                </a:lnTo>
                <a:lnTo>
                  <a:pt x="867" y="1241"/>
                </a:lnTo>
                <a:lnTo>
                  <a:pt x="851" y="1233"/>
                </a:lnTo>
                <a:lnTo>
                  <a:pt x="835" y="1272"/>
                </a:lnTo>
                <a:cubicBezTo>
                  <a:pt x="835" y="1272"/>
                  <a:pt x="811" y="1280"/>
                  <a:pt x="811" y="1287"/>
                </a:cubicBezTo>
                <a:cubicBezTo>
                  <a:pt x="802" y="1295"/>
                  <a:pt x="762" y="1295"/>
                  <a:pt x="762" y="1295"/>
                </a:cubicBezTo>
                <a:lnTo>
                  <a:pt x="729" y="1295"/>
                </a:lnTo>
                <a:lnTo>
                  <a:pt x="673" y="1311"/>
                </a:lnTo>
                <a:cubicBezTo>
                  <a:pt x="673" y="1311"/>
                  <a:pt x="656" y="1318"/>
                  <a:pt x="648" y="1318"/>
                </a:cubicBezTo>
                <a:cubicBezTo>
                  <a:pt x="640" y="1318"/>
                  <a:pt x="600" y="1311"/>
                  <a:pt x="600" y="1311"/>
                </a:cubicBezTo>
                <a:lnTo>
                  <a:pt x="575" y="1318"/>
                </a:lnTo>
                <a:lnTo>
                  <a:pt x="519" y="1303"/>
                </a:lnTo>
                <a:lnTo>
                  <a:pt x="502" y="1280"/>
                </a:lnTo>
                <a:lnTo>
                  <a:pt x="454" y="1272"/>
                </a:lnTo>
                <a:lnTo>
                  <a:pt x="446" y="1256"/>
                </a:lnTo>
                <a:lnTo>
                  <a:pt x="413" y="1256"/>
                </a:lnTo>
                <a:lnTo>
                  <a:pt x="381" y="1225"/>
                </a:lnTo>
                <a:lnTo>
                  <a:pt x="340" y="1179"/>
                </a:lnTo>
                <a:lnTo>
                  <a:pt x="259" y="1155"/>
                </a:lnTo>
                <a:lnTo>
                  <a:pt x="235" y="1124"/>
                </a:lnTo>
                <a:lnTo>
                  <a:pt x="210" y="1109"/>
                </a:lnTo>
                <a:lnTo>
                  <a:pt x="178" y="1086"/>
                </a:lnTo>
                <a:lnTo>
                  <a:pt x="146" y="1062"/>
                </a:lnTo>
                <a:lnTo>
                  <a:pt x="129" y="1047"/>
                </a:lnTo>
                <a:lnTo>
                  <a:pt x="81" y="985"/>
                </a:lnTo>
                <a:lnTo>
                  <a:pt x="81" y="969"/>
                </a:lnTo>
                <a:lnTo>
                  <a:pt x="56" y="938"/>
                </a:lnTo>
                <a:lnTo>
                  <a:pt x="48" y="907"/>
                </a:lnTo>
                <a:lnTo>
                  <a:pt x="32" y="892"/>
                </a:lnTo>
                <a:lnTo>
                  <a:pt x="0" y="907"/>
                </a:lnTo>
                <a:lnTo>
                  <a:pt x="0" y="899"/>
                </a:lnTo>
                <a:lnTo>
                  <a:pt x="24" y="845"/>
                </a:lnTo>
                <a:lnTo>
                  <a:pt x="48" y="837"/>
                </a:lnTo>
                <a:lnTo>
                  <a:pt x="73" y="799"/>
                </a:lnTo>
                <a:lnTo>
                  <a:pt x="64" y="752"/>
                </a:lnTo>
                <a:lnTo>
                  <a:pt x="64" y="737"/>
                </a:lnTo>
                <a:lnTo>
                  <a:pt x="40" y="690"/>
                </a:lnTo>
                <a:cubicBezTo>
                  <a:pt x="40" y="690"/>
                  <a:pt x="48" y="682"/>
                  <a:pt x="56" y="682"/>
                </a:cubicBezTo>
                <a:cubicBezTo>
                  <a:pt x="65" y="682"/>
                  <a:pt x="89" y="667"/>
                  <a:pt x="89" y="667"/>
                </a:cubicBezTo>
                <a:lnTo>
                  <a:pt x="137" y="636"/>
                </a:lnTo>
                <a:lnTo>
                  <a:pt x="97" y="574"/>
                </a:lnTo>
                <a:lnTo>
                  <a:pt x="81" y="574"/>
                </a:lnTo>
                <a:lnTo>
                  <a:pt x="32" y="558"/>
                </a:lnTo>
                <a:lnTo>
                  <a:pt x="65" y="535"/>
                </a:lnTo>
                <a:lnTo>
                  <a:pt x="81" y="519"/>
                </a:lnTo>
                <a:lnTo>
                  <a:pt x="146" y="543"/>
                </a:lnTo>
                <a:cubicBezTo>
                  <a:pt x="146" y="543"/>
                  <a:pt x="170" y="550"/>
                  <a:pt x="162" y="543"/>
                </a:cubicBezTo>
                <a:cubicBezTo>
                  <a:pt x="162" y="519"/>
                  <a:pt x="170" y="535"/>
                  <a:pt x="170" y="535"/>
                </a:cubicBezTo>
                <a:cubicBezTo>
                  <a:pt x="178" y="550"/>
                  <a:pt x="202" y="535"/>
                  <a:pt x="219" y="535"/>
                </a:cubicBezTo>
                <a:cubicBezTo>
                  <a:pt x="243" y="527"/>
                  <a:pt x="227" y="512"/>
                  <a:pt x="219" y="496"/>
                </a:cubicBezTo>
                <a:cubicBezTo>
                  <a:pt x="219" y="488"/>
                  <a:pt x="219" y="481"/>
                  <a:pt x="227" y="473"/>
                </a:cubicBez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91" name="Freeform 83">
            <a:extLst>
              <a:ext uri="{FF2B5EF4-FFF2-40B4-BE49-F238E27FC236}">
                <a16:creationId xmlns:a16="http://schemas.microsoft.com/office/drawing/2014/main" id="{C5E461B7-3A33-B667-63DC-A072994FF2C0}"/>
              </a:ext>
            </a:extLst>
          </p:cNvPr>
          <p:cNvSpPr>
            <a:spLocks noChangeArrowheads="1"/>
          </p:cNvSpPr>
          <p:nvPr>
            <p:custDataLst>
              <p:tags r:id="rId83"/>
            </p:custDataLst>
          </p:nvPr>
        </p:nvSpPr>
        <p:spPr bwMode="auto">
          <a:xfrm>
            <a:off x="7880631" y="4125952"/>
            <a:ext cx="800558" cy="541553"/>
          </a:xfrm>
          <a:custGeom>
            <a:avLst/>
            <a:gdLst>
              <a:gd name="T0" fmla="*/ 251 w 1947"/>
              <a:gd name="T1" fmla="*/ 419 h 1319"/>
              <a:gd name="T2" fmla="*/ 356 w 1947"/>
              <a:gd name="T3" fmla="*/ 426 h 1319"/>
              <a:gd name="T4" fmla="*/ 519 w 1947"/>
              <a:gd name="T5" fmla="*/ 457 h 1319"/>
              <a:gd name="T6" fmla="*/ 778 w 1947"/>
              <a:gd name="T7" fmla="*/ 403 h 1319"/>
              <a:gd name="T8" fmla="*/ 770 w 1947"/>
              <a:gd name="T9" fmla="*/ 318 h 1319"/>
              <a:gd name="T10" fmla="*/ 932 w 1947"/>
              <a:gd name="T11" fmla="*/ 279 h 1319"/>
              <a:gd name="T12" fmla="*/ 1030 w 1947"/>
              <a:gd name="T13" fmla="*/ 233 h 1319"/>
              <a:gd name="T14" fmla="*/ 1127 w 1947"/>
              <a:gd name="T15" fmla="*/ 186 h 1319"/>
              <a:gd name="T16" fmla="*/ 1200 w 1947"/>
              <a:gd name="T17" fmla="*/ 70 h 1319"/>
              <a:gd name="T18" fmla="*/ 1362 w 1947"/>
              <a:gd name="T19" fmla="*/ 39 h 1319"/>
              <a:gd name="T20" fmla="*/ 1508 w 1947"/>
              <a:gd name="T21" fmla="*/ 8 h 1319"/>
              <a:gd name="T22" fmla="*/ 1678 w 1947"/>
              <a:gd name="T23" fmla="*/ 46 h 1319"/>
              <a:gd name="T24" fmla="*/ 1768 w 1947"/>
              <a:gd name="T25" fmla="*/ 85 h 1319"/>
              <a:gd name="T26" fmla="*/ 1857 w 1947"/>
              <a:gd name="T27" fmla="*/ 132 h 1319"/>
              <a:gd name="T28" fmla="*/ 1930 w 1947"/>
              <a:gd name="T29" fmla="*/ 178 h 1319"/>
              <a:gd name="T30" fmla="*/ 1897 w 1947"/>
              <a:gd name="T31" fmla="*/ 256 h 1319"/>
              <a:gd name="T32" fmla="*/ 1816 w 1947"/>
              <a:gd name="T33" fmla="*/ 302 h 1319"/>
              <a:gd name="T34" fmla="*/ 1759 w 1947"/>
              <a:gd name="T35" fmla="*/ 372 h 1319"/>
              <a:gd name="T36" fmla="*/ 1727 w 1947"/>
              <a:gd name="T37" fmla="*/ 481 h 1319"/>
              <a:gd name="T38" fmla="*/ 1670 w 1947"/>
              <a:gd name="T39" fmla="*/ 581 h 1319"/>
              <a:gd name="T40" fmla="*/ 1630 w 1947"/>
              <a:gd name="T41" fmla="*/ 698 h 1319"/>
              <a:gd name="T42" fmla="*/ 1613 w 1947"/>
              <a:gd name="T43" fmla="*/ 822 h 1319"/>
              <a:gd name="T44" fmla="*/ 1589 w 1947"/>
              <a:gd name="T45" fmla="*/ 907 h 1319"/>
              <a:gd name="T46" fmla="*/ 1557 w 1947"/>
              <a:gd name="T47" fmla="*/ 977 h 1319"/>
              <a:gd name="T48" fmla="*/ 1435 w 1947"/>
              <a:gd name="T49" fmla="*/ 1047 h 1319"/>
              <a:gd name="T50" fmla="*/ 1362 w 1947"/>
              <a:gd name="T51" fmla="*/ 1078 h 1319"/>
              <a:gd name="T52" fmla="*/ 1240 w 1947"/>
              <a:gd name="T53" fmla="*/ 1078 h 1319"/>
              <a:gd name="T54" fmla="*/ 1127 w 1947"/>
              <a:gd name="T55" fmla="*/ 1093 h 1319"/>
              <a:gd name="T56" fmla="*/ 1054 w 1947"/>
              <a:gd name="T57" fmla="*/ 1117 h 1319"/>
              <a:gd name="T58" fmla="*/ 997 w 1947"/>
              <a:gd name="T59" fmla="*/ 1179 h 1319"/>
              <a:gd name="T60" fmla="*/ 932 w 1947"/>
              <a:gd name="T61" fmla="*/ 1179 h 1319"/>
              <a:gd name="T62" fmla="*/ 851 w 1947"/>
              <a:gd name="T63" fmla="*/ 1233 h 1319"/>
              <a:gd name="T64" fmla="*/ 762 w 1947"/>
              <a:gd name="T65" fmla="*/ 1295 h 1319"/>
              <a:gd name="T66" fmla="*/ 648 w 1947"/>
              <a:gd name="T67" fmla="*/ 1318 h 1319"/>
              <a:gd name="T68" fmla="*/ 519 w 1947"/>
              <a:gd name="T69" fmla="*/ 1303 h 1319"/>
              <a:gd name="T70" fmla="*/ 446 w 1947"/>
              <a:gd name="T71" fmla="*/ 1256 h 1319"/>
              <a:gd name="T72" fmla="*/ 340 w 1947"/>
              <a:gd name="T73" fmla="*/ 1179 h 1319"/>
              <a:gd name="T74" fmla="*/ 210 w 1947"/>
              <a:gd name="T75" fmla="*/ 1109 h 1319"/>
              <a:gd name="T76" fmla="*/ 129 w 1947"/>
              <a:gd name="T77" fmla="*/ 1047 h 1319"/>
              <a:gd name="T78" fmla="*/ 56 w 1947"/>
              <a:gd name="T79" fmla="*/ 938 h 1319"/>
              <a:gd name="T80" fmla="*/ 0 w 1947"/>
              <a:gd name="T81" fmla="*/ 907 h 1319"/>
              <a:gd name="T82" fmla="*/ 48 w 1947"/>
              <a:gd name="T83" fmla="*/ 837 h 1319"/>
              <a:gd name="T84" fmla="*/ 64 w 1947"/>
              <a:gd name="T85" fmla="*/ 737 h 1319"/>
              <a:gd name="T86" fmla="*/ 89 w 1947"/>
              <a:gd name="T87" fmla="*/ 667 h 1319"/>
              <a:gd name="T88" fmla="*/ 81 w 1947"/>
              <a:gd name="T89" fmla="*/ 574 h 1319"/>
              <a:gd name="T90" fmla="*/ 81 w 1947"/>
              <a:gd name="T91" fmla="*/ 519 h 1319"/>
              <a:gd name="T92" fmla="*/ 170 w 1947"/>
              <a:gd name="T93" fmla="*/ 535 h 1319"/>
              <a:gd name="T94" fmla="*/ 227 w 1947"/>
              <a:gd name="T95" fmla="*/ 473 h 1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47" h="1319">
                <a:moveTo>
                  <a:pt x="227" y="473"/>
                </a:moveTo>
                <a:lnTo>
                  <a:pt x="227" y="450"/>
                </a:lnTo>
                <a:lnTo>
                  <a:pt x="251" y="419"/>
                </a:lnTo>
                <a:lnTo>
                  <a:pt x="251" y="380"/>
                </a:lnTo>
                <a:lnTo>
                  <a:pt x="316" y="388"/>
                </a:lnTo>
                <a:lnTo>
                  <a:pt x="356" y="426"/>
                </a:lnTo>
                <a:lnTo>
                  <a:pt x="413" y="457"/>
                </a:lnTo>
                <a:lnTo>
                  <a:pt x="446" y="473"/>
                </a:lnTo>
                <a:lnTo>
                  <a:pt x="519" y="457"/>
                </a:lnTo>
                <a:lnTo>
                  <a:pt x="656" y="450"/>
                </a:lnTo>
                <a:cubicBezTo>
                  <a:pt x="656" y="450"/>
                  <a:pt x="729" y="442"/>
                  <a:pt x="738" y="434"/>
                </a:cubicBezTo>
                <a:cubicBezTo>
                  <a:pt x="746" y="426"/>
                  <a:pt x="794" y="419"/>
                  <a:pt x="778" y="403"/>
                </a:cubicBezTo>
                <a:cubicBezTo>
                  <a:pt x="762" y="395"/>
                  <a:pt x="729" y="372"/>
                  <a:pt x="729" y="372"/>
                </a:cubicBezTo>
                <a:lnTo>
                  <a:pt x="729" y="357"/>
                </a:lnTo>
                <a:lnTo>
                  <a:pt x="770" y="318"/>
                </a:lnTo>
                <a:lnTo>
                  <a:pt x="843" y="295"/>
                </a:lnTo>
                <a:lnTo>
                  <a:pt x="900" y="287"/>
                </a:lnTo>
                <a:lnTo>
                  <a:pt x="932" y="279"/>
                </a:lnTo>
                <a:lnTo>
                  <a:pt x="948" y="233"/>
                </a:lnTo>
                <a:lnTo>
                  <a:pt x="997" y="225"/>
                </a:lnTo>
                <a:lnTo>
                  <a:pt x="1030" y="233"/>
                </a:lnTo>
                <a:lnTo>
                  <a:pt x="1078" y="233"/>
                </a:lnTo>
                <a:lnTo>
                  <a:pt x="1103" y="201"/>
                </a:lnTo>
                <a:lnTo>
                  <a:pt x="1127" y="186"/>
                </a:lnTo>
                <a:lnTo>
                  <a:pt x="1159" y="170"/>
                </a:lnTo>
                <a:lnTo>
                  <a:pt x="1184" y="124"/>
                </a:lnTo>
                <a:lnTo>
                  <a:pt x="1200" y="70"/>
                </a:lnTo>
                <a:lnTo>
                  <a:pt x="1208" y="46"/>
                </a:lnTo>
                <a:lnTo>
                  <a:pt x="1321" y="15"/>
                </a:lnTo>
                <a:lnTo>
                  <a:pt x="1362" y="39"/>
                </a:lnTo>
                <a:lnTo>
                  <a:pt x="1419" y="31"/>
                </a:lnTo>
                <a:lnTo>
                  <a:pt x="1459" y="0"/>
                </a:lnTo>
                <a:lnTo>
                  <a:pt x="1508" y="8"/>
                </a:lnTo>
                <a:lnTo>
                  <a:pt x="1573" y="70"/>
                </a:lnTo>
                <a:lnTo>
                  <a:pt x="1638" y="70"/>
                </a:lnTo>
                <a:lnTo>
                  <a:pt x="1678" y="46"/>
                </a:lnTo>
                <a:lnTo>
                  <a:pt x="1719" y="31"/>
                </a:lnTo>
                <a:lnTo>
                  <a:pt x="1743" y="54"/>
                </a:lnTo>
                <a:lnTo>
                  <a:pt x="1768" y="85"/>
                </a:lnTo>
                <a:lnTo>
                  <a:pt x="1808" y="77"/>
                </a:lnTo>
                <a:lnTo>
                  <a:pt x="1832" y="108"/>
                </a:lnTo>
                <a:lnTo>
                  <a:pt x="1857" y="132"/>
                </a:lnTo>
                <a:lnTo>
                  <a:pt x="1897" y="124"/>
                </a:lnTo>
                <a:lnTo>
                  <a:pt x="1938" y="147"/>
                </a:lnTo>
                <a:lnTo>
                  <a:pt x="1930" y="178"/>
                </a:lnTo>
                <a:lnTo>
                  <a:pt x="1946" y="217"/>
                </a:lnTo>
                <a:lnTo>
                  <a:pt x="1922" y="240"/>
                </a:lnTo>
                <a:cubicBezTo>
                  <a:pt x="1922" y="240"/>
                  <a:pt x="1913" y="256"/>
                  <a:pt x="1897" y="256"/>
                </a:cubicBezTo>
                <a:cubicBezTo>
                  <a:pt x="1889" y="264"/>
                  <a:pt x="1873" y="271"/>
                  <a:pt x="1873" y="271"/>
                </a:cubicBezTo>
                <a:lnTo>
                  <a:pt x="1849" y="295"/>
                </a:lnTo>
                <a:lnTo>
                  <a:pt x="1816" y="302"/>
                </a:lnTo>
                <a:lnTo>
                  <a:pt x="1792" y="310"/>
                </a:lnTo>
                <a:lnTo>
                  <a:pt x="1776" y="326"/>
                </a:lnTo>
                <a:lnTo>
                  <a:pt x="1759" y="372"/>
                </a:lnTo>
                <a:lnTo>
                  <a:pt x="1735" y="395"/>
                </a:lnTo>
                <a:lnTo>
                  <a:pt x="1727" y="434"/>
                </a:lnTo>
                <a:cubicBezTo>
                  <a:pt x="1727" y="434"/>
                  <a:pt x="1743" y="473"/>
                  <a:pt x="1727" y="481"/>
                </a:cubicBezTo>
                <a:cubicBezTo>
                  <a:pt x="1719" y="481"/>
                  <a:pt x="1711" y="488"/>
                  <a:pt x="1711" y="488"/>
                </a:cubicBezTo>
                <a:lnTo>
                  <a:pt x="1703" y="550"/>
                </a:lnTo>
                <a:lnTo>
                  <a:pt x="1670" y="581"/>
                </a:lnTo>
                <a:lnTo>
                  <a:pt x="1662" y="644"/>
                </a:lnTo>
                <a:cubicBezTo>
                  <a:pt x="1662" y="644"/>
                  <a:pt x="1678" y="675"/>
                  <a:pt x="1654" y="675"/>
                </a:cubicBezTo>
                <a:cubicBezTo>
                  <a:pt x="1638" y="682"/>
                  <a:pt x="1630" y="698"/>
                  <a:pt x="1630" y="698"/>
                </a:cubicBezTo>
                <a:lnTo>
                  <a:pt x="1630" y="752"/>
                </a:lnTo>
                <a:lnTo>
                  <a:pt x="1605" y="791"/>
                </a:lnTo>
                <a:lnTo>
                  <a:pt x="1613" y="822"/>
                </a:lnTo>
                <a:lnTo>
                  <a:pt x="1597" y="845"/>
                </a:lnTo>
                <a:lnTo>
                  <a:pt x="1605" y="884"/>
                </a:lnTo>
                <a:lnTo>
                  <a:pt x="1589" y="907"/>
                </a:lnTo>
                <a:lnTo>
                  <a:pt x="1581" y="915"/>
                </a:lnTo>
                <a:lnTo>
                  <a:pt x="1573" y="938"/>
                </a:lnTo>
                <a:lnTo>
                  <a:pt x="1557" y="977"/>
                </a:lnTo>
                <a:lnTo>
                  <a:pt x="1492" y="1031"/>
                </a:lnTo>
                <a:lnTo>
                  <a:pt x="1459" y="1024"/>
                </a:lnTo>
                <a:lnTo>
                  <a:pt x="1435" y="1047"/>
                </a:lnTo>
                <a:cubicBezTo>
                  <a:pt x="1435" y="1047"/>
                  <a:pt x="1443" y="1047"/>
                  <a:pt x="1427" y="1062"/>
                </a:cubicBezTo>
                <a:cubicBezTo>
                  <a:pt x="1411" y="1070"/>
                  <a:pt x="1378" y="1078"/>
                  <a:pt x="1378" y="1078"/>
                </a:cubicBezTo>
                <a:lnTo>
                  <a:pt x="1362" y="1078"/>
                </a:lnTo>
                <a:lnTo>
                  <a:pt x="1305" y="1078"/>
                </a:lnTo>
                <a:cubicBezTo>
                  <a:pt x="1305" y="1078"/>
                  <a:pt x="1297" y="1070"/>
                  <a:pt x="1289" y="1078"/>
                </a:cubicBezTo>
                <a:lnTo>
                  <a:pt x="1240" y="1078"/>
                </a:lnTo>
                <a:cubicBezTo>
                  <a:pt x="1240" y="1078"/>
                  <a:pt x="1224" y="1070"/>
                  <a:pt x="1216" y="1070"/>
                </a:cubicBezTo>
                <a:cubicBezTo>
                  <a:pt x="1208" y="1070"/>
                  <a:pt x="1159" y="1078"/>
                  <a:pt x="1159" y="1078"/>
                </a:cubicBezTo>
                <a:lnTo>
                  <a:pt x="1127" y="1093"/>
                </a:lnTo>
                <a:cubicBezTo>
                  <a:pt x="1127" y="1093"/>
                  <a:pt x="1119" y="1078"/>
                  <a:pt x="1111" y="1086"/>
                </a:cubicBezTo>
                <a:cubicBezTo>
                  <a:pt x="1094" y="1086"/>
                  <a:pt x="1054" y="1101"/>
                  <a:pt x="1054" y="1101"/>
                </a:cubicBezTo>
                <a:cubicBezTo>
                  <a:pt x="1054" y="1101"/>
                  <a:pt x="1070" y="1117"/>
                  <a:pt x="1054" y="1117"/>
                </a:cubicBezTo>
                <a:cubicBezTo>
                  <a:pt x="1046" y="1117"/>
                  <a:pt x="1021" y="1148"/>
                  <a:pt x="1021" y="1148"/>
                </a:cubicBezTo>
                <a:lnTo>
                  <a:pt x="1005" y="1155"/>
                </a:lnTo>
                <a:lnTo>
                  <a:pt x="997" y="1179"/>
                </a:lnTo>
                <a:lnTo>
                  <a:pt x="973" y="1179"/>
                </a:lnTo>
                <a:cubicBezTo>
                  <a:pt x="965" y="1179"/>
                  <a:pt x="940" y="1186"/>
                  <a:pt x="940" y="1186"/>
                </a:cubicBezTo>
                <a:lnTo>
                  <a:pt x="932" y="1179"/>
                </a:lnTo>
                <a:lnTo>
                  <a:pt x="900" y="1225"/>
                </a:lnTo>
                <a:lnTo>
                  <a:pt x="867" y="1241"/>
                </a:lnTo>
                <a:lnTo>
                  <a:pt x="851" y="1233"/>
                </a:lnTo>
                <a:lnTo>
                  <a:pt x="835" y="1272"/>
                </a:lnTo>
                <a:cubicBezTo>
                  <a:pt x="835" y="1272"/>
                  <a:pt x="811" y="1280"/>
                  <a:pt x="811" y="1287"/>
                </a:cubicBezTo>
                <a:cubicBezTo>
                  <a:pt x="802" y="1295"/>
                  <a:pt x="762" y="1295"/>
                  <a:pt x="762" y="1295"/>
                </a:cubicBezTo>
                <a:lnTo>
                  <a:pt x="729" y="1295"/>
                </a:lnTo>
                <a:lnTo>
                  <a:pt x="673" y="1311"/>
                </a:lnTo>
                <a:cubicBezTo>
                  <a:pt x="673" y="1311"/>
                  <a:pt x="656" y="1318"/>
                  <a:pt x="648" y="1318"/>
                </a:cubicBezTo>
                <a:cubicBezTo>
                  <a:pt x="640" y="1318"/>
                  <a:pt x="600" y="1311"/>
                  <a:pt x="600" y="1311"/>
                </a:cubicBezTo>
                <a:lnTo>
                  <a:pt x="575" y="1318"/>
                </a:lnTo>
                <a:lnTo>
                  <a:pt x="519" y="1303"/>
                </a:lnTo>
                <a:lnTo>
                  <a:pt x="502" y="1280"/>
                </a:lnTo>
                <a:lnTo>
                  <a:pt x="454" y="1272"/>
                </a:lnTo>
                <a:lnTo>
                  <a:pt x="446" y="1256"/>
                </a:lnTo>
                <a:lnTo>
                  <a:pt x="413" y="1256"/>
                </a:lnTo>
                <a:lnTo>
                  <a:pt x="381" y="1225"/>
                </a:lnTo>
                <a:lnTo>
                  <a:pt x="340" y="1179"/>
                </a:lnTo>
                <a:lnTo>
                  <a:pt x="259" y="1155"/>
                </a:lnTo>
                <a:lnTo>
                  <a:pt x="235" y="1124"/>
                </a:lnTo>
                <a:lnTo>
                  <a:pt x="210" y="1109"/>
                </a:lnTo>
                <a:lnTo>
                  <a:pt x="178" y="1086"/>
                </a:lnTo>
                <a:lnTo>
                  <a:pt x="146" y="1062"/>
                </a:lnTo>
                <a:lnTo>
                  <a:pt x="129" y="1047"/>
                </a:lnTo>
                <a:lnTo>
                  <a:pt x="81" y="985"/>
                </a:lnTo>
                <a:lnTo>
                  <a:pt x="81" y="969"/>
                </a:lnTo>
                <a:lnTo>
                  <a:pt x="56" y="938"/>
                </a:lnTo>
                <a:lnTo>
                  <a:pt x="48" y="907"/>
                </a:lnTo>
                <a:lnTo>
                  <a:pt x="32" y="892"/>
                </a:lnTo>
                <a:lnTo>
                  <a:pt x="0" y="907"/>
                </a:lnTo>
                <a:lnTo>
                  <a:pt x="0" y="899"/>
                </a:lnTo>
                <a:lnTo>
                  <a:pt x="24" y="845"/>
                </a:lnTo>
                <a:lnTo>
                  <a:pt x="48" y="837"/>
                </a:lnTo>
                <a:lnTo>
                  <a:pt x="73" y="799"/>
                </a:lnTo>
                <a:lnTo>
                  <a:pt x="64" y="752"/>
                </a:lnTo>
                <a:lnTo>
                  <a:pt x="64" y="737"/>
                </a:lnTo>
                <a:lnTo>
                  <a:pt x="40" y="690"/>
                </a:lnTo>
                <a:cubicBezTo>
                  <a:pt x="40" y="690"/>
                  <a:pt x="48" y="682"/>
                  <a:pt x="56" y="682"/>
                </a:cubicBezTo>
                <a:cubicBezTo>
                  <a:pt x="65" y="682"/>
                  <a:pt x="89" y="667"/>
                  <a:pt x="89" y="667"/>
                </a:cubicBezTo>
                <a:lnTo>
                  <a:pt x="137" y="636"/>
                </a:lnTo>
                <a:lnTo>
                  <a:pt x="97" y="574"/>
                </a:lnTo>
                <a:lnTo>
                  <a:pt x="81" y="574"/>
                </a:lnTo>
                <a:lnTo>
                  <a:pt x="32" y="558"/>
                </a:lnTo>
                <a:lnTo>
                  <a:pt x="65" y="535"/>
                </a:lnTo>
                <a:lnTo>
                  <a:pt x="81" y="519"/>
                </a:lnTo>
                <a:lnTo>
                  <a:pt x="146" y="543"/>
                </a:lnTo>
                <a:cubicBezTo>
                  <a:pt x="146" y="543"/>
                  <a:pt x="170" y="550"/>
                  <a:pt x="162" y="543"/>
                </a:cubicBezTo>
                <a:cubicBezTo>
                  <a:pt x="162" y="519"/>
                  <a:pt x="170" y="535"/>
                  <a:pt x="170" y="535"/>
                </a:cubicBezTo>
                <a:cubicBezTo>
                  <a:pt x="178" y="550"/>
                  <a:pt x="202" y="535"/>
                  <a:pt x="219" y="535"/>
                </a:cubicBezTo>
                <a:cubicBezTo>
                  <a:pt x="243" y="527"/>
                  <a:pt x="227" y="512"/>
                  <a:pt x="219" y="496"/>
                </a:cubicBezTo>
                <a:cubicBezTo>
                  <a:pt x="219" y="488"/>
                  <a:pt x="219" y="481"/>
                  <a:pt x="227" y="473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92" name="Freeform 84">
            <a:extLst>
              <a:ext uri="{FF2B5EF4-FFF2-40B4-BE49-F238E27FC236}">
                <a16:creationId xmlns:a16="http://schemas.microsoft.com/office/drawing/2014/main" id="{90760255-5FB3-38E0-066B-363CE12A6317}"/>
              </a:ext>
            </a:extLst>
          </p:cNvPr>
          <p:cNvSpPr>
            <a:spLocks noChangeArrowheads="1"/>
          </p:cNvSpPr>
          <p:nvPr>
            <p:custDataLst>
              <p:tags r:id="rId84"/>
            </p:custDataLst>
          </p:nvPr>
        </p:nvSpPr>
        <p:spPr bwMode="auto">
          <a:xfrm>
            <a:off x="8525424" y="2669734"/>
            <a:ext cx="967190" cy="876629"/>
          </a:xfrm>
          <a:custGeom>
            <a:avLst/>
            <a:gdLst>
              <a:gd name="T0" fmla="*/ 679 w 2356"/>
              <a:gd name="T1" fmla="*/ 434 h 2134"/>
              <a:gd name="T2" fmla="*/ 613 w 2356"/>
              <a:gd name="T3" fmla="*/ 355 h 2134"/>
              <a:gd name="T4" fmla="*/ 671 w 2356"/>
              <a:gd name="T5" fmla="*/ 213 h 2134"/>
              <a:gd name="T6" fmla="*/ 842 w 2356"/>
              <a:gd name="T7" fmla="*/ 166 h 2134"/>
              <a:gd name="T8" fmla="*/ 916 w 2356"/>
              <a:gd name="T9" fmla="*/ 7 h 2134"/>
              <a:gd name="T10" fmla="*/ 1030 w 2356"/>
              <a:gd name="T11" fmla="*/ 0 h 2134"/>
              <a:gd name="T12" fmla="*/ 1120 w 2356"/>
              <a:gd name="T13" fmla="*/ 23 h 2134"/>
              <a:gd name="T14" fmla="*/ 1251 w 2356"/>
              <a:gd name="T15" fmla="*/ 79 h 2134"/>
              <a:gd name="T16" fmla="*/ 1390 w 2356"/>
              <a:gd name="T17" fmla="*/ 15 h 2134"/>
              <a:gd name="T18" fmla="*/ 1570 w 2356"/>
              <a:gd name="T19" fmla="*/ 55 h 2134"/>
              <a:gd name="T20" fmla="*/ 1652 w 2356"/>
              <a:gd name="T21" fmla="*/ 79 h 2134"/>
              <a:gd name="T22" fmla="*/ 1701 w 2356"/>
              <a:gd name="T23" fmla="*/ 221 h 2134"/>
              <a:gd name="T24" fmla="*/ 1692 w 2356"/>
              <a:gd name="T25" fmla="*/ 371 h 2134"/>
              <a:gd name="T26" fmla="*/ 1815 w 2356"/>
              <a:gd name="T27" fmla="*/ 458 h 2134"/>
              <a:gd name="T28" fmla="*/ 1905 w 2356"/>
              <a:gd name="T29" fmla="*/ 569 h 2134"/>
              <a:gd name="T30" fmla="*/ 2060 w 2356"/>
              <a:gd name="T31" fmla="*/ 703 h 2134"/>
              <a:gd name="T32" fmla="*/ 2183 w 2356"/>
              <a:gd name="T33" fmla="*/ 679 h 2134"/>
              <a:gd name="T34" fmla="*/ 2281 w 2356"/>
              <a:gd name="T35" fmla="*/ 751 h 2134"/>
              <a:gd name="T36" fmla="*/ 2338 w 2356"/>
              <a:gd name="T37" fmla="*/ 845 h 2134"/>
              <a:gd name="T38" fmla="*/ 2183 w 2356"/>
              <a:gd name="T39" fmla="*/ 972 h 2134"/>
              <a:gd name="T40" fmla="*/ 2044 w 2356"/>
              <a:gd name="T41" fmla="*/ 1035 h 2134"/>
              <a:gd name="T42" fmla="*/ 2142 w 2356"/>
              <a:gd name="T43" fmla="*/ 1122 h 2134"/>
              <a:gd name="T44" fmla="*/ 2191 w 2356"/>
              <a:gd name="T45" fmla="*/ 1209 h 2134"/>
              <a:gd name="T46" fmla="*/ 2199 w 2356"/>
              <a:gd name="T47" fmla="*/ 1312 h 2134"/>
              <a:gd name="T48" fmla="*/ 2314 w 2356"/>
              <a:gd name="T49" fmla="*/ 1375 h 2134"/>
              <a:gd name="T50" fmla="*/ 2101 w 2356"/>
              <a:gd name="T51" fmla="*/ 1437 h 2134"/>
              <a:gd name="T52" fmla="*/ 2052 w 2356"/>
              <a:gd name="T53" fmla="*/ 1706 h 2134"/>
              <a:gd name="T54" fmla="*/ 2044 w 2356"/>
              <a:gd name="T55" fmla="*/ 1841 h 2134"/>
              <a:gd name="T56" fmla="*/ 1848 w 2356"/>
              <a:gd name="T57" fmla="*/ 1817 h 2134"/>
              <a:gd name="T58" fmla="*/ 1742 w 2356"/>
              <a:gd name="T59" fmla="*/ 1849 h 2134"/>
              <a:gd name="T60" fmla="*/ 1594 w 2356"/>
              <a:gd name="T61" fmla="*/ 1864 h 2134"/>
              <a:gd name="T62" fmla="*/ 1464 w 2356"/>
              <a:gd name="T63" fmla="*/ 1864 h 2134"/>
              <a:gd name="T64" fmla="*/ 1349 w 2356"/>
              <a:gd name="T65" fmla="*/ 1951 h 2134"/>
              <a:gd name="T66" fmla="*/ 1186 w 2356"/>
              <a:gd name="T67" fmla="*/ 1912 h 2134"/>
              <a:gd name="T68" fmla="*/ 916 w 2356"/>
              <a:gd name="T69" fmla="*/ 1904 h 2134"/>
              <a:gd name="T70" fmla="*/ 581 w 2356"/>
              <a:gd name="T71" fmla="*/ 1951 h 2134"/>
              <a:gd name="T72" fmla="*/ 442 w 2356"/>
              <a:gd name="T73" fmla="*/ 1975 h 2134"/>
              <a:gd name="T74" fmla="*/ 393 w 2356"/>
              <a:gd name="T75" fmla="*/ 2054 h 2134"/>
              <a:gd name="T76" fmla="*/ 270 w 2356"/>
              <a:gd name="T77" fmla="*/ 2109 h 2134"/>
              <a:gd name="T78" fmla="*/ 205 w 2356"/>
              <a:gd name="T79" fmla="*/ 1967 h 2134"/>
              <a:gd name="T80" fmla="*/ 66 w 2356"/>
              <a:gd name="T81" fmla="*/ 1872 h 2134"/>
              <a:gd name="T82" fmla="*/ 172 w 2356"/>
              <a:gd name="T83" fmla="*/ 1706 h 2134"/>
              <a:gd name="T84" fmla="*/ 180 w 2356"/>
              <a:gd name="T85" fmla="*/ 1532 h 2134"/>
              <a:gd name="T86" fmla="*/ 107 w 2356"/>
              <a:gd name="T87" fmla="*/ 1382 h 2134"/>
              <a:gd name="T88" fmla="*/ 74 w 2356"/>
              <a:gd name="T89" fmla="*/ 1146 h 2134"/>
              <a:gd name="T90" fmla="*/ 295 w 2356"/>
              <a:gd name="T91" fmla="*/ 1075 h 2134"/>
              <a:gd name="T92" fmla="*/ 385 w 2356"/>
              <a:gd name="T93" fmla="*/ 1004 h 2134"/>
              <a:gd name="T94" fmla="*/ 483 w 2356"/>
              <a:gd name="T95" fmla="*/ 917 h 2134"/>
              <a:gd name="T96" fmla="*/ 548 w 2356"/>
              <a:gd name="T97" fmla="*/ 909 h 2134"/>
              <a:gd name="T98" fmla="*/ 499 w 2356"/>
              <a:gd name="T99" fmla="*/ 814 h 2134"/>
              <a:gd name="T100" fmla="*/ 491 w 2356"/>
              <a:gd name="T101" fmla="*/ 648 h 2134"/>
              <a:gd name="T102" fmla="*/ 597 w 2356"/>
              <a:gd name="T103" fmla="*/ 513 h 2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356" h="2134">
                <a:moveTo>
                  <a:pt x="662" y="521"/>
                </a:moveTo>
                <a:lnTo>
                  <a:pt x="654" y="482"/>
                </a:lnTo>
                <a:lnTo>
                  <a:pt x="687" y="466"/>
                </a:lnTo>
                <a:lnTo>
                  <a:pt x="679" y="434"/>
                </a:lnTo>
                <a:lnTo>
                  <a:pt x="621" y="442"/>
                </a:lnTo>
                <a:lnTo>
                  <a:pt x="597" y="434"/>
                </a:lnTo>
                <a:lnTo>
                  <a:pt x="597" y="395"/>
                </a:lnTo>
                <a:lnTo>
                  <a:pt x="613" y="355"/>
                </a:lnTo>
                <a:lnTo>
                  <a:pt x="605" y="284"/>
                </a:lnTo>
                <a:cubicBezTo>
                  <a:pt x="605" y="284"/>
                  <a:pt x="589" y="284"/>
                  <a:pt x="613" y="268"/>
                </a:cubicBezTo>
                <a:cubicBezTo>
                  <a:pt x="646" y="260"/>
                  <a:pt x="662" y="260"/>
                  <a:pt x="662" y="260"/>
                </a:cubicBezTo>
                <a:lnTo>
                  <a:pt x="671" y="213"/>
                </a:lnTo>
                <a:lnTo>
                  <a:pt x="695" y="189"/>
                </a:lnTo>
                <a:cubicBezTo>
                  <a:pt x="695" y="189"/>
                  <a:pt x="687" y="189"/>
                  <a:pt x="720" y="189"/>
                </a:cubicBezTo>
                <a:lnTo>
                  <a:pt x="826" y="189"/>
                </a:lnTo>
                <a:lnTo>
                  <a:pt x="842" y="166"/>
                </a:lnTo>
                <a:lnTo>
                  <a:pt x="826" y="126"/>
                </a:lnTo>
                <a:lnTo>
                  <a:pt x="867" y="86"/>
                </a:lnTo>
                <a:lnTo>
                  <a:pt x="875" y="31"/>
                </a:lnTo>
                <a:lnTo>
                  <a:pt x="916" y="7"/>
                </a:lnTo>
                <a:cubicBezTo>
                  <a:pt x="916" y="7"/>
                  <a:pt x="940" y="31"/>
                  <a:pt x="948" y="31"/>
                </a:cubicBezTo>
                <a:cubicBezTo>
                  <a:pt x="957" y="31"/>
                  <a:pt x="965" y="39"/>
                  <a:pt x="973" y="31"/>
                </a:cubicBezTo>
                <a:cubicBezTo>
                  <a:pt x="981" y="31"/>
                  <a:pt x="989" y="15"/>
                  <a:pt x="989" y="15"/>
                </a:cubicBezTo>
                <a:lnTo>
                  <a:pt x="1030" y="0"/>
                </a:lnTo>
                <a:lnTo>
                  <a:pt x="1055" y="7"/>
                </a:lnTo>
                <a:lnTo>
                  <a:pt x="1071" y="39"/>
                </a:lnTo>
                <a:lnTo>
                  <a:pt x="1112" y="39"/>
                </a:lnTo>
                <a:lnTo>
                  <a:pt x="1120" y="23"/>
                </a:lnTo>
                <a:lnTo>
                  <a:pt x="1177" y="7"/>
                </a:lnTo>
                <a:lnTo>
                  <a:pt x="1243" y="7"/>
                </a:lnTo>
                <a:lnTo>
                  <a:pt x="1251" y="55"/>
                </a:lnTo>
                <a:lnTo>
                  <a:pt x="1251" y="79"/>
                </a:lnTo>
                <a:cubicBezTo>
                  <a:pt x="1251" y="79"/>
                  <a:pt x="1267" y="102"/>
                  <a:pt x="1284" y="94"/>
                </a:cubicBezTo>
                <a:cubicBezTo>
                  <a:pt x="1292" y="94"/>
                  <a:pt x="1325" y="86"/>
                  <a:pt x="1333" y="71"/>
                </a:cubicBezTo>
                <a:cubicBezTo>
                  <a:pt x="1333" y="55"/>
                  <a:pt x="1341" y="39"/>
                  <a:pt x="1357" y="31"/>
                </a:cubicBezTo>
                <a:cubicBezTo>
                  <a:pt x="1374" y="31"/>
                  <a:pt x="1365" y="23"/>
                  <a:pt x="1390" y="15"/>
                </a:cubicBezTo>
                <a:cubicBezTo>
                  <a:pt x="1423" y="7"/>
                  <a:pt x="1447" y="0"/>
                  <a:pt x="1447" y="0"/>
                </a:cubicBezTo>
                <a:lnTo>
                  <a:pt x="1521" y="15"/>
                </a:lnTo>
                <a:lnTo>
                  <a:pt x="1545" y="39"/>
                </a:lnTo>
                <a:lnTo>
                  <a:pt x="1570" y="55"/>
                </a:lnTo>
                <a:lnTo>
                  <a:pt x="1594" y="47"/>
                </a:lnTo>
                <a:lnTo>
                  <a:pt x="1603" y="63"/>
                </a:lnTo>
                <a:lnTo>
                  <a:pt x="1635" y="47"/>
                </a:lnTo>
                <a:lnTo>
                  <a:pt x="1652" y="79"/>
                </a:lnTo>
                <a:lnTo>
                  <a:pt x="1652" y="142"/>
                </a:lnTo>
                <a:lnTo>
                  <a:pt x="1652" y="166"/>
                </a:lnTo>
                <a:lnTo>
                  <a:pt x="1652" y="189"/>
                </a:lnTo>
                <a:lnTo>
                  <a:pt x="1701" y="221"/>
                </a:lnTo>
                <a:lnTo>
                  <a:pt x="1725" y="245"/>
                </a:lnTo>
                <a:lnTo>
                  <a:pt x="1717" y="284"/>
                </a:lnTo>
                <a:lnTo>
                  <a:pt x="1717" y="308"/>
                </a:lnTo>
                <a:lnTo>
                  <a:pt x="1692" y="371"/>
                </a:lnTo>
                <a:lnTo>
                  <a:pt x="1750" y="387"/>
                </a:lnTo>
                <a:lnTo>
                  <a:pt x="1782" y="419"/>
                </a:lnTo>
                <a:lnTo>
                  <a:pt x="1815" y="419"/>
                </a:lnTo>
                <a:lnTo>
                  <a:pt x="1815" y="458"/>
                </a:lnTo>
                <a:cubicBezTo>
                  <a:pt x="1815" y="458"/>
                  <a:pt x="1799" y="482"/>
                  <a:pt x="1823" y="482"/>
                </a:cubicBezTo>
                <a:cubicBezTo>
                  <a:pt x="1848" y="490"/>
                  <a:pt x="1856" y="490"/>
                  <a:pt x="1856" y="490"/>
                </a:cubicBezTo>
                <a:lnTo>
                  <a:pt x="1864" y="513"/>
                </a:lnTo>
                <a:lnTo>
                  <a:pt x="1905" y="569"/>
                </a:lnTo>
                <a:lnTo>
                  <a:pt x="1995" y="585"/>
                </a:lnTo>
                <a:lnTo>
                  <a:pt x="2036" y="600"/>
                </a:lnTo>
                <a:lnTo>
                  <a:pt x="2052" y="632"/>
                </a:lnTo>
                <a:lnTo>
                  <a:pt x="2060" y="703"/>
                </a:lnTo>
                <a:lnTo>
                  <a:pt x="2101" y="703"/>
                </a:lnTo>
                <a:lnTo>
                  <a:pt x="2126" y="679"/>
                </a:lnTo>
                <a:lnTo>
                  <a:pt x="2150" y="672"/>
                </a:lnTo>
                <a:lnTo>
                  <a:pt x="2183" y="679"/>
                </a:lnTo>
                <a:lnTo>
                  <a:pt x="2224" y="687"/>
                </a:lnTo>
                <a:lnTo>
                  <a:pt x="2265" y="687"/>
                </a:lnTo>
                <a:lnTo>
                  <a:pt x="2248" y="727"/>
                </a:lnTo>
                <a:lnTo>
                  <a:pt x="2281" y="751"/>
                </a:lnTo>
                <a:lnTo>
                  <a:pt x="2314" y="759"/>
                </a:lnTo>
                <a:lnTo>
                  <a:pt x="2355" y="774"/>
                </a:lnTo>
                <a:lnTo>
                  <a:pt x="2355" y="822"/>
                </a:lnTo>
                <a:lnTo>
                  <a:pt x="2338" y="845"/>
                </a:lnTo>
                <a:lnTo>
                  <a:pt x="2306" y="853"/>
                </a:lnTo>
                <a:cubicBezTo>
                  <a:pt x="2306" y="853"/>
                  <a:pt x="2322" y="893"/>
                  <a:pt x="2306" y="901"/>
                </a:cubicBezTo>
                <a:cubicBezTo>
                  <a:pt x="2297" y="909"/>
                  <a:pt x="2240" y="956"/>
                  <a:pt x="2240" y="956"/>
                </a:cubicBezTo>
                <a:lnTo>
                  <a:pt x="2183" y="972"/>
                </a:lnTo>
                <a:lnTo>
                  <a:pt x="2134" y="956"/>
                </a:lnTo>
                <a:cubicBezTo>
                  <a:pt x="2134" y="956"/>
                  <a:pt x="2126" y="948"/>
                  <a:pt x="2093" y="956"/>
                </a:cubicBezTo>
                <a:cubicBezTo>
                  <a:pt x="2060" y="972"/>
                  <a:pt x="2060" y="980"/>
                  <a:pt x="2060" y="980"/>
                </a:cubicBezTo>
                <a:lnTo>
                  <a:pt x="2044" y="1035"/>
                </a:lnTo>
                <a:lnTo>
                  <a:pt x="2044" y="1059"/>
                </a:lnTo>
                <a:lnTo>
                  <a:pt x="2077" y="1083"/>
                </a:lnTo>
                <a:lnTo>
                  <a:pt x="2118" y="1091"/>
                </a:lnTo>
                <a:lnTo>
                  <a:pt x="2142" y="1122"/>
                </a:lnTo>
                <a:lnTo>
                  <a:pt x="2159" y="1146"/>
                </a:lnTo>
                <a:lnTo>
                  <a:pt x="2142" y="1178"/>
                </a:lnTo>
                <a:lnTo>
                  <a:pt x="2159" y="1193"/>
                </a:lnTo>
                <a:lnTo>
                  <a:pt x="2191" y="1209"/>
                </a:lnTo>
                <a:lnTo>
                  <a:pt x="2175" y="1225"/>
                </a:lnTo>
                <a:lnTo>
                  <a:pt x="2199" y="1272"/>
                </a:lnTo>
                <a:lnTo>
                  <a:pt x="2216" y="1296"/>
                </a:lnTo>
                <a:lnTo>
                  <a:pt x="2199" y="1312"/>
                </a:lnTo>
                <a:lnTo>
                  <a:pt x="2224" y="1320"/>
                </a:lnTo>
                <a:lnTo>
                  <a:pt x="2257" y="1320"/>
                </a:lnTo>
                <a:lnTo>
                  <a:pt x="2257" y="1344"/>
                </a:lnTo>
                <a:lnTo>
                  <a:pt x="2314" y="1375"/>
                </a:lnTo>
                <a:lnTo>
                  <a:pt x="2297" y="1375"/>
                </a:lnTo>
                <a:lnTo>
                  <a:pt x="2232" y="1390"/>
                </a:lnTo>
                <a:lnTo>
                  <a:pt x="2199" y="1437"/>
                </a:lnTo>
                <a:lnTo>
                  <a:pt x="2101" y="1437"/>
                </a:lnTo>
                <a:lnTo>
                  <a:pt x="2085" y="1532"/>
                </a:lnTo>
                <a:lnTo>
                  <a:pt x="2060" y="1596"/>
                </a:lnTo>
                <a:lnTo>
                  <a:pt x="2036" y="1667"/>
                </a:lnTo>
                <a:lnTo>
                  <a:pt x="2052" y="1706"/>
                </a:lnTo>
                <a:lnTo>
                  <a:pt x="2077" y="1762"/>
                </a:lnTo>
                <a:lnTo>
                  <a:pt x="2126" y="1817"/>
                </a:lnTo>
                <a:lnTo>
                  <a:pt x="2077" y="1833"/>
                </a:lnTo>
                <a:lnTo>
                  <a:pt x="2044" y="1841"/>
                </a:lnTo>
                <a:lnTo>
                  <a:pt x="2011" y="1793"/>
                </a:lnTo>
                <a:lnTo>
                  <a:pt x="1962" y="1777"/>
                </a:lnTo>
                <a:lnTo>
                  <a:pt x="1905" y="1801"/>
                </a:lnTo>
                <a:lnTo>
                  <a:pt x="1848" y="1817"/>
                </a:lnTo>
                <a:lnTo>
                  <a:pt x="1832" y="1817"/>
                </a:lnTo>
                <a:lnTo>
                  <a:pt x="1815" y="1849"/>
                </a:lnTo>
                <a:lnTo>
                  <a:pt x="1766" y="1872"/>
                </a:lnTo>
                <a:cubicBezTo>
                  <a:pt x="1766" y="1872"/>
                  <a:pt x="1750" y="1856"/>
                  <a:pt x="1742" y="1849"/>
                </a:cubicBezTo>
                <a:cubicBezTo>
                  <a:pt x="1733" y="1841"/>
                  <a:pt x="1709" y="1825"/>
                  <a:pt x="1709" y="1825"/>
                </a:cubicBezTo>
                <a:cubicBezTo>
                  <a:pt x="1709" y="1825"/>
                  <a:pt x="1701" y="1809"/>
                  <a:pt x="1693" y="1801"/>
                </a:cubicBezTo>
                <a:cubicBezTo>
                  <a:pt x="1684" y="1801"/>
                  <a:pt x="1635" y="1833"/>
                  <a:pt x="1635" y="1833"/>
                </a:cubicBezTo>
                <a:cubicBezTo>
                  <a:pt x="1635" y="1833"/>
                  <a:pt x="1594" y="1856"/>
                  <a:pt x="1594" y="1864"/>
                </a:cubicBezTo>
                <a:cubicBezTo>
                  <a:pt x="1603" y="1864"/>
                  <a:pt x="1594" y="1904"/>
                  <a:pt x="1594" y="1904"/>
                </a:cubicBezTo>
                <a:lnTo>
                  <a:pt x="1537" y="1856"/>
                </a:lnTo>
                <a:lnTo>
                  <a:pt x="1496" y="1888"/>
                </a:lnTo>
                <a:lnTo>
                  <a:pt x="1464" y="1864"/>
                </a:lnTo>
                <a:lnTo>
                  <a:pt x="1447" y="1856"/>
                </a:lnTo>
                <a:lnTo>
                  <a:pt x="1398" y="1912"/>
                </a:lnTo>
                <a:lnTo>
                  <a:pt x="1366" y="1896"/>
                </a:lnTo>
                <a:lnTo>
                  <a:pt x="1349" y="1951"/>
                </a:lnTo>
                <a:lnTo>
                  <a:pt x="1308" y="1920"/>
                </a:lnTo>
                <a:cubicBezTo>
                  <a:pt x="1308" y="1920"/>
                  <a:pt x="1267" y="1912"/>
                  <a:pt x="1259" y="1912"/>
                </a:cubicBezTo>
                <a:cubicBezTo>
                  <a:pt x="1251" y="1912"/>
                  <a:pt x="1227" y="1943"/>
                  <a:pt x="1227" y="1943"/>
                </a:cubicBezTo>
                <a:lnTo>
                  <a:pt x="1186" y="1912"/>
                </a:lnTo>
                <a:lnTo>
                  <a:pt x="1153" y="1888"/>
                </a:lnTo>
                <a:cubicBezTo>
                  <a:pt x="1153" y="1888"/>
                  <a:pt x="1063" y="1896"/>
                  <a:pt x="1055" y="1896"/>
                </a:cubicBezTo>
                <a:cubicBezTo>
                  <a:pt x="1047" y="1896"/>
                  <a:pt x="989" y="1888"/>
                  <a:pt x="989" y="1888"/>
                </a:cubicBezTo>
                <a:lnTo>
                  <a:pt x="916" y="1904"/>
                </a:lnTo>
                <a:lnTo>
                  <a:pt x="810" y="1904"/>
                </a:lnTo>
                <a:lnTo>
                  <a:pt x="712" y="1912"/>
                </a:lnTo>
                <a:lnTo>
                  <a:pt x="638" y="1912"/>
                </a:lnTo>
                <a:lnTo>
                  <a:pt x="581" y="1951"/>
                </a:lnTo>
                <a:lnTo>
                  <a:pt x="523" y="1959"/>
                </a:lnTo>
                <a:lnTo>
                  <a:pt x="458" y="1967"/>
                </a:lnTo>
                <a:lnTo>
                  <a:pt x="450" y="1967"/>
                </a:lnTo>
                <a:lnTo>
                  <a:pt x="442" y="1975"/>
                </a:lnTo>
                <a:lnTo>
                  <a:pt x="417" y="1991"/>
                </a:lnTo>
                <a:lnTo>
                  <a:pt x="417" y="1999"/>
                </a:lnTo>
                <a:lnTo>
                  <a:pt x="401" y="2015"/>
                </a:lnTo>
                <a:lnTo>
                  <a:pt x="393" y="2054"/>
                </a:lnTo>
                <a:cubicBezTo>
                  <a:pt x="385" y="2070"/>
                  <a:pt x="368" y="2086"/>
                  <a:pt x="360" y="2102"/>
                </a:cubicBezTo>
                <a:cubicBezTo>
                  <a:pt x="360" y="2102"/>
                  <a:pt x="335" y="2094"/>
                  <a:pt x="335" y="2109"/>
                </a:cubicBezTo>
                <a:lnTo>
                  <a:pt x="335" y="2117"/>
                </a:lnTo>
                <a:cubicBezTo>
                  <a:pt x="311" y="2125"/>
                  <a:pt x="270" y="2109"/>
                  <a:pt x="270" y="2109"/>
                </a:cubicBezTo>
                <a:lnTo>
                  <a:pt x="221" y="2133"/>
                </a:lnTo>
                <a:cubicBezTo>
                  <a:pt x="221" y="2125"/>
                  <a:pt x="205" y="2094"/>
                  <a:pt x="205" y="2094"/>
                </a:cubicBezTo>
                <a:lnTo>
                  <a:pt x="213" y="2038"/>
                </a:lnTo>
                <a:cubicBezTo>
                  <a:pt x="213" y="2030"/>
                  <a:pt x="205" y="1967"/>
                  <a:pt x="205" y="1967"/>
                </a:cubicBezTo>
                <a:lnTo>
                  <a:pt x="205" y="1936"/>
                </a:lnTo>
                <a:lnTo>
                  <a:pt x="156" y="1904"/>
                </a:lnTo>
                <a:cubicBezTo>
                  <a:pt x="156" y="1904"/>
                  <a:pt x="98" y="1896"/>
                  <a:pt x="82" y="1896"/>
                </a:cubicBezTo>
                <a:cubicBezTo>
                  <a:pt x="74" y="1896"/>
                  <a:pt x="66" y="1872"/>
                  <a:pt x="66" y="1872"/>
                </a:cubicBezTo>
                <a:lnTo>
                  <a:pt x="74" y="1849"/>
                </a:lnTo>
                <a:lnTo>
                  <a:pt x="98" y="1777"/>
                </a:lnTo>
                <a:lnTo>
                  <a:pt x="139" y="1722"/>
                </a:lnTo>
                <a:lnTo>
                  <a:pt x="172" y="1706"/>
                </a:lnTo>
                <a:cubicBezTo>
                  <a:pt x="172" y="1706"/>
                  <a:pt x="205" y="1659"/>
                  <a:pt x="213" y="1651"/>
                </a:cubicBezTo>
                <a:cubicBezTo>
                  <a:pt x="221" y="1651"/>
                  <a:pt x="213" y="1611"/>
                  <a:pt x="205" y="1611"/>
                </a:cubicBezTo>
                <a:lnTo>
                  <a:pt x="205" y="1572"/>
                </a:lnTo>
                <a:cubicBezTo>
                  <a:pt x="205" y="1556"/>
                  <a:pt x="180" y="1532"/>
                  <a:pt x="180" y="1532"/>
                </a:cubicBezTo>
                <a:lnTo>
                  <a:pt x="172" y="1469"/>
                </a:lnTo>
                <a:lnTo>
                  <a:pt x="156" y="1453"/>
                </a:lnTo>
                <a:lnTo>
                  <a:pt x="156" y="1445"/>
                </a:lnTo>
                <a:lnTo>
                  <a:pt x="107" y="1382"/>
                </a:lnTo>
                <a:lnTo>
                  <a:pt x="66" y="1296"/>
                </a:lnTo>
                <a:cubicBezTo>
                  <a:pt x="66" y="1296"/>
                  <a:pt x="17" y="1217"/>
                  <a:pt x="8" y="1185"/>
                </a:cubicBezTo>
                <a:lnTo>
                  <a:pt x="0" y="1162"/>
                </a:lnTo>
                <a:lnTo>
                  <a:pt x="74" y="1146"/>
                </a:lnTo>
                <a:lnTo>
                  <a:pt x="156" y="1114"/>
                </a:lnTo>
                <a:lnTo>
                  <a:pt x="205" y="1122"/>
                </a:lnTo>
                <a:lnTo>
                  <a:pt x="262" y="1114"/>
                </a:lnTo>
                <a:lnTo>
                  <a:pt x="295" y="1075"/>
                </a:lnTo>
                <a:lnTo>
                  <a:pt x="335" y="1075"/>
                </a:lnTo>
                <a:lnTo>
                  <a:pt x="319" y="1019"/>
                </a:lnTo>
                <a:cubicBezTo>
                  <a:pt x="319" y="1019"/>
                  <a:pt x="327" y="996"/>
                  <a:pt x="335" y="1004"/>
                </a:cubicBezTo>
                <a:lnTo>
                  <a:pt x="385" y="1004"/>
                </a:lnTo>
                <a:lnTo>
                  <a:pt x="401" y="972"/>
                </a:lnTo>
                <a:lnTo>
                  <a:pt x="401" y="956"/>
                </a:lnTo>
                <a:lnTo>
                  <a:pt x="458" y="940"/>
                </a:lnTo>
                <a:lnTo>
                  <a:pt x="483" y="917"/>
                </a:lnTo>
                <a:lnTo>
                  <a:pt x="499" y="932"/>
                </a:lnTo>
                <a:lnTo>
                  <a:pt x="491" y="964"/>
                </a:lnTo>
                <a:lnTo>
                  <a:pt x="532" y="956"/>
                </a:lnTo>
                <a:lnTo>
                  <a:pt x="548" y="909"/>
                </a:lnTo>
                <a:lnTo>
                  <a:pt x="532" y="901"/>
                </a:lnTo>
                <a:lnTo>
                  <a:pt x="491" y="885"/>
                </a:lnTo>
                <a:cubicBezTo>
                  <a:pt x="491" y="885"/>
                  <a:pt x="474" y="893"/>
                  <a:pt x="474" y="877"/>
                </a:cubicBezTo>
                <a:cubicBezTo>
                  <a:pt x="483" y="853"/>
                  <a:pt x="499" y="814"/>
                  <a:pt x="499" y="814"/>
                </a:cubicBezTo>
                <a:lnTo>
                  <a:pt x="491" y="766"/>
                </a:lnTo>
                <a:lnTo>
                  <a:pt x="483" y="711"/>
                </a:lnTo>
                <a:lnTo>
                  <a:pt x="491" y="679"/>
                </a:lnTo>
                <a:lnTo>
                  <a:pt x="491" y="648"/>
                </a:lnTo>
                <a:lnTo>
                  <a:pt x="507" y="616"/>
                </a:lnTo>
                <a:lnTo>
                  <a:pt x="573" y="593"/>
                </a:lnTo>
                <a:lnTo>
                  <a:pt x="573" y="537"/>
                </a:lnTo>
                <a:lnTo>
                  <a:pt x="597" y="513"/>
                </a:lnTo>
                <a:lnTo>
                  <a:pt x="662" y="521"/>
                </a:lnTo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93" name="Freeform 85">
            <a:extLst>
              <a:ext uri="{FF2B5EF4-FFF2-40B4-BE49-F238E27FC236}">
                <a16:creationId xmlns:a16="http://schemas.microsoft.com/office/drawing/2014/main" id="{7649854C-1DFC-7CAE-A242-19D84D880CE2}"/>
              </a:ext>
            </a:extLst>
          </p:cNvPr>
          <p:cNvSpPr>
            <a:spLocks noChangeArrowheads="1"/>
          </p:cNvSpPr>
          <p:nvPr>
            <p:custDataLst>
              <p:tags r:id="rId85"/>
            </p:custDataLst>
          </p:nvPr>
        </p:nvSpPr>
        <p:spPr bwMode="auto">
          <a:xfrm>
            <a:off x="8525424" y="2669734"/>
            <a:ext cx="967190" cy="876629"/>
          </a:xfrm>
          <a:custGeom>
            <a:avLst/>
            <a:gdLst>
              <a:gd name="T0" fmla="*/ 679 w 2356"/>
              <a:gd name="T1" fmla="*/ 434 h 2134"/>
              <a:gd name="T2" fmla="*/ 613 w 2356"/>
              <a:gd name="T3" fmla="*/ 355 h 2134"/>
              <a:gd name="T4" fmla="*/ 671 w 2356"/>
              <a:gd name="T5" fmla="*/ 213 h 2134"/>
              <a:gd name="T6" fmla="*/ 842 w 2356"/>
              <a:gd name="T7" fmla="*/ 166 h 2134"/>
              <a:gd name="T8" fmla="*/ 916 w 2356"/>
              <a:gd name="T9" fmla="*/ 7 h 2134"/>
              <a:gd name="T10" fmla="*/ 1030 w 2356"/>
              <a:gd name="T11" fmla="*/ 0 h 2134"/>
              <a:gd name="T12" fmla="*/ 1120 w 2356"/>
              <a:gd name="T13" fmla="*/ 23 h 2134"/>
              <a:gd name="T14" fmla="*/ 1251 w 2356"/>
              <a:gd name="T15" fmla="*/ 79 h 2134"/>
              <a:gd name="T16" fmla="*/ 1390 w 2356"/>
              <a:gd name="T17" fmla="*/ 15 h 2134"/>
              <a:gd name="T18" fmla="*/ 1570 w 2356"/>
              <a:gd name="T19" fmla="*/ 55 h 2134"/>
              <a:gd name="T20" fmla="*/ 1652 w 2356"/>
              <a:gd name="T21" fmla="*/ 79 h 2134"/>
              <a:gd name="T22" fmla="*/ 1701 w 2356"/>
              <a:gd name="T23" fmla="*/ 221 h 2134"/>
              <a:gd name="T24" fmla="*/ 1692 w 2356"/>
              <a:gd name="T25" fmla="*/ 371 h 2134"/>
              <a:gd name="T26" fmla="*/ 1815 w 2356"/>
              <a:gd name="T27" fmla="*/ 458 h 2134"/>
              <a:gd name="T28" fmla="*/ 1905 w 2356"/>
              <a:gd name="T29" fmla="*/ 569 h 2134"/>
              <a:gd name="T30" fmla="*/ 2060 w 2356"/>
              <a:gd name="T31" fmla="*/ 703 h 2134"/>
              <a:gd name="T32" fmla="*/ 2183 w 2356"/>
              <a:gd name="T33" fmla="*/ 679 h 2134"/>
              <a:gd name="T34" fmla="*/ 2281 w 2356"/>
              <a:gd name="T35" fmla="*/ 751 h 2134"/>
              <a:gd name="T36" fmla="*/ 2338 w 2356"/>
              <a:gd name="T37" fmla="*/ 845 h 2134"/>
              <a:gd name="T38" fmla="*/ 2183 w 2356"/>
              <a:gd name="T39" fmla="*/ 972 h 2134"/>
              <a:gd name="T40" fmla="*/ 2044 w 2356"/>
              <a:gd name="T41" fmla="*/ 1035 h 2134"/>
              <a:gd name="T42" fmla="*/ 2142 w 2356"/>
              <a:gd name="T43" fmla="*/ 1122 h 2134"/>
              <a:gd name="T44" fmla="*/ 2191 w 2356"/>
              <a:gd name="T45" fmla="*/ 1209 h 2134"/>
              <a:gd name="T46" fmla="*/ 2199 w 2356"/>
              <a:gd name="T47" fmla="*/ 1312 h 2134"/>
              <a:gd name="T48" fmla="*/ 2314 w 2356"/>
              <a:gd name="T49" fmla="*/ 1375 h 2134"/>
              <a:gd name="T50" fmla="*/ 2101 w 2356"/>
              <a:gd name="T51" fmla="*/ 1437 h 2134"/>
              <a:gd name="T52" fmla="*/ 2052 w 2356"/>
              <a:gd name="T53" fmla="*/ 1706 h 2134"/>
              <a:gd name="T54" fmla="*/ 2044 w 2356"/>
              <a:gd name="T55" fmla="*/ 1841 h 2134"/>
              <a:gd name="T56" fmla="*/ 1848 w 2356"/>
              <a:gd name="T57" fmla="*/ 1817 h 2134"/>
              <a:gd name="T58" fmla="*/ 1742 w 2356"/>
              <a:gd name="T59" fmla="*/ 1849 h 2134"/>
              <a:gd name="T60" fmla="*/ 1594 w 2356"/>
              <a:gd name="T61" fmla="*/ 1864 h 2134"/>
              <a:gd name="T62" fmla="*/ 1464 w 2356"/>
              <a:gd name="T63" fmla="*/ 1864 h 2134"/>
              <a:gd name="T64" fmla="*/ 1349 w 2356"/>
              <a:gd name="T65" fmla="*/ 1951 h 2134"/>
              <a:gd name="T66" fmla="*/ 1186 w 2356"/>
              <a:gd name="T67" fmla="*/ 1912 h 2134"/>
              <a:gd name="T68" fmla="*/ 916 w 2356"/>
              <a:gd name="T69" fmla="*/ 1904 h 2134"/>
              <a:gd name="T70" fmla="*/ 581 w 2356"/>
              <a:gd name="T71" fmla="*/ 1951 h 2134"/>
              <a:gd name="T72" fmla="*/ 442 w 2356"/>
              <a:gd name="T73" fmla="*/ 1975 h 2134"/>
              <a:gd name="T74" fmla="*/ 393 w 2356"/>
              <a:gd name="T75" fmla="*/ 2054 h 2134"/>
              <a:gd name="T76" fmla="*/ 270 w 2356"/>
              <a:gd name="T77" fmla="*/ 2109 h 2134"/>
              <a:gd name="T78" fmla="*/ 205 w 2356"/>
              <a:gd name="T79" fmla="*/ 1967 h 2134"/>
              <a:gd name="T80" fmla="*/ 66 w 2356"/>
              <a:gd name="T81" fmla="*/ 1872 h 2134"/>
              <a:gd name="T82" fmla="*/ 172 w 2356"/>
              <a:gd name="T83" fmla="*/ 1706 h 2134"/>
              <a:gd name="T84" fmla="*/ 180 w 2356"/>
              <a:gd name="T85" fmla="*/ 1532 h 2134"/>
              <a:gd name="T86" fmla="*/ 107 w 2356"/>
              <a:gd name="T87" fmla="*/ 1382 h 2134"/>
              <a:gd name="T88" fmla="*/ 74 w 2356"/>
              <a:gd name="T89" fmla="*/ 1146 h 2134"/>
              <a:gd name="T90" fmla="*/ 295 w 2356"/>
              <a:gd name="T91" fmla="*/ 1075 h 2134"/>
              <a:gd name="T92" fmla="*/ 385 w 2356"/>
              <a:gd name="T93" fmla="*/ 1004 h 2134"/>
              <a:gd name="T94" fmla="*/ 483 w 2356"/>
              <a:gd name="T95" fmla="*/ 917 h 2134"/>
              <a:gd name="T96" fmla="*/ 548 w 2356"/>
              <a:gd name="T97" fmla="*/ 909 h 2134"/>
              <a:gd name="T98" fmla="*/ 499 w 2356"/>
              <a:gd name="T99" fmla="*/ 814 h 2134"/>
              <a:gd name="T100" fmla="*/ 491 w 2356"/>
              <a:gd name="T101" fmla="*/ 648 h 2134"/>
              <a:gd name="T102" fmla="*/ 597 w 2356"/>
              <a:gd name="T103" fmla="*/ 513 h 2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356" h="2134">
                <a:moveTo>
                  <a:pt x="662" y="521"/>
                </a:moveTo>
                <a:lnTo>
                  <a:pt x="654" y="482"/>
                </a:lnTo>
                <a:lnTo>
                  <a:pt x="687" y="466"/>
                </a:lnTo>
                <a:lnTo>
                  <a:pt x="679" y="434"/>
                </a:lnTo>
                <a:lnTo>
                  <a:pt x="621" y="442"/>
                </a:lnTo>
                <a:lnTo>
                  <a:pt x="597" y="434"/>
                </a:lnTo>
                <a:lnTo>
                  <a:pt x="597" y="395"/>
                </a:lnTo>
                <a:lnTo>
                  <a:pt x="613" y="355"/>
                </a:lnTo>
                <a:lnTo>
                  <a:pt x="605" y="284"/>
                </a:lnTo>
                <a:cubicBezTo>
                  <a:pt x="605" y="284"/>
                  <a:pt x="589" y="284"/>
                  <a:pt x="613" y="268"/>
                </a:cubicBezTo>
                <a:cubicBezTo>
                  <a:pt x="646" y="260"/>
                  <a:pt x="662" y="260"/>
                  <a:pt x="662" y="260"/>
                </a:cubicBezTo>
                <a:lnTo>
                  <a:pt x="671" y="213"/>
                </a:lnTo>
                <a:lnTo>
                  <a:pt x="695" y="189"/>
                </a:lnTo>
                <a:cubicBezTo>
                  <a:pt x="695" y="189"/>
                  <a:pt x="687" y="189"/>
                  <a:pt x="720" y="189"/>
                </a:cubicBezTo>
                <a:lnTo>
                  <a:pt x="826" y="189"/>
                </a:lnTo>
                <a:lnTo>
                  <a:pt x="842" y="166"/>
                </a:lnTo>
                <a:lnTo>
                  <a:pt x="826" y="126"/>
                </a:lnTo>
                <a:lnTo>
                  <a:pt x="867" y="86"/>
                </a:lnTo>
                <a:lnTo>
                  <a:pt x="875" y="31"/>
                </a:lnTo>
                <a:lnTo>
                  <a:pt x="916" y="7"/>
                </a:lnTo>
                <a:cubicBezTo>
                  <a:pt x="916" y="7"/>
                  <a:pt x="940" y="31"/>
                  <a:pt x="948" y="31"/>
                </a:cubicBezTo>
                <a:cubicBezTo>
                  <a:pt x="957" y="31"/>
                  <a:pt x="965" y="39"/>
                  <a:pt x="973" y="31"/>
                </a:cubicBezTo>
                <a:cubicBezTo>
                  <a:pt x="981" y="31"/>
                  <a:pt x="989" y="15"/>
                  <a:pt x="989" y="15"/>
                </a:cubicBezTo>
                <a:lnTo>
                  <a:pt x="1030" y="0"/>
                </a:lnTo>
                <a:lnTo>
                  <a:pt x="1055" y="7"/>
                </a:lnTo>
                <a:lnTo>
                  <a:pt x="1071" y="39"/>
                </a:lnTo>
                <a:lnTo>
                  <a:pt x="1112" y="39"/>
                </a:lnTo>
                <a:lnTo>
                  <a:pt x="1120" y="23"/>
                </a:lnTo>
                <a:lnTo>
                  <a:pt x="1177" y="7"/>
                </a:lnTo>
                <a:lnTo>
                  <a:pt x="1243" y="7"/>
                </a:lnTo>
                <a:lnTo>
                  <a:pt x="1251" y="55"/>
                </a:lnTo>
                <a:lnTo>
                  <a:pt x="1251" y="79"/>
                </a:lnTo>
                <a:cubicBezTo>
                  <a:pt x="1251" y="79"/>
                  <a:pt x="1267" y="102"/>
                  <a:pt x="1284" y="94"/>
                </a:cubicBezTo>
                <a:cubicBezTo>
                  <a:pt x="1292" y="94"/>
                  <a:pt x="1325" y="86"/>
                  <a:pt x="1333" y="71"/>
                </a:cubicBezTo>
                <a:cubicBezTo>
                  <a:pt x="1333" y="55"/>
                  <a:pt x="1341" y="39"/>
                  <a:pt x="1357" y="31"/>
                </a:cubicBezTo>
                <a:cubicBezTo>
                  <a:pt x="1374" y="31"/>
                  <a:pt x="1365" y="23"/>
                  <a:pt x="1390" y="15"/>
                </a:cubicBezTo>
                <a:cubicBezTo>
                  <a:pt x="1423" y="7"/>
                  <a:pt x="1447" y="0"/>
                  <a:pt x="1447" y="0"/>
                </a:cubicBezTo>
                <a:lnTo>
                  <a:pt x="1521" y="15"/>
                </a:lnTo>
                <a:lnTo>
                  <a:pt x="1545" y="39"/>
                </a:lnTo>
                <a:lnTo>
                  <a:pt x="1570" y="55"/>
                </a:lnTo>
                <a:lnTo>
                  <a:pt x="1594" y="47"/>
                </a:lnTo>
                <a:lnTo>
                  <a:pt x="1603" y="63"/>
                </a:lnTo>
                <a:lnTo>
                  <a:pt x="1635" y="47"/>
                </a:lnTo>
                <a:lnTo>
                  <a:pt x="1652" y="79"/>
                </a:lnTo>
                <a:lnTo>
                  <a:pt x="1652" y="142"/>
                </a:lnTo>
                <a:lnTo>
                  <a:pt x="1652" y="166"/>
                </a:lnTo>
                <a:lnTo>
                  <a:pt x="1652" y="189"/>
                </a:lnTo>
                <a:lnTo>
                  <a:pt x="1701" y="221"/>
                </a:lnTo>
                <a:lnTo>
                  <a:pt x="1725" y="245"/>
                </a:lnTo>
                <a:lnTo>
                  <a:pt x="1717" y="284"/>
                </a:lnTo>
                <a:lnTo>
                  <a:pt x="1717" y="308"/>
                </a:lnTo>
                <a:lnTo>
                  <a:pt x="1692" y="371"/>
                </a:lnTo>
                <a:lnTo>
                  <a:pt x="1750" y="387"/>
                </a:lnTo>
                <a:lnTo>
                  <a:pt x="1782" y="419"/>
                </a:lnTo>
                <a:lnTo>
                  <a:pt x="1815" y="419"/>
                </a:lnTo>
                <a:lnTo>
                  <a:pt x="1815" y="458"/>
                </a:lnTo>
                <a:cubicBezTo>
                  <a:pt x="1815" y="458"/>
                  <a:pt x="1799" y="482"/>
                  <a:pt x="1823" y="482"/>
                </a:cubicBezTo>
                <a:cubicBezTo>
                  <a:pt x="1848" y="490"/>
                  <a:pt x="1856" y="490"/>
                  <a:pt x="1856" y="490"/>
                </a:cubicBezTo>
                <a:lnTo>
                  <a:pt x="1864" y="513"/>
                </a:lnTo>
                <a:lnTo>
                  <a:pt x="1905" y="569"/>
                </a:lnTo>
                <a:lnTo>
                  <a:pt x="1995" y="585"/>
                </a:lnTo>
                <a:lnTo>
                  <a:pt x="2036" y="600"/>
                </a:lnTo>
                <a:lnTo>
                  <a:pt x="2052" y="632"/>
                </a:lnTo>
                <a:lnTo>
                  <a:pt x="2060" y="703"/>
                </a:lnTo>
                <a:lnTo>
                  <a:pt x="2101" y="703"/>
                </a:lnTo>
                <a:lnTo>
                  <a:pt x="2126" y="679"/>
                </a:lnTo>
                <a:lnTo>
                  <a:pt x="2150" y="672"/>
                </a:lnTo>
                <a:lnTo>
                  <a:pt x="2183" y="679"/>
                </a:lnTo>
                <a:lnTo>
                  <a:pt x="2224" y="687"/>
                </a:lnTo>
                <a:lnTo>
                  <a:pt x="2265" y="687"/>
                </a:lnTo>
                <a:lnTo>
                  <a:pt x="2248" y="727"/>
                </a:lnTo>
                <a:lnTo>
                  <a:pt x="2281" y="751"/>
                </a:lnTo>
                <a:lnTo>
                  <a:pt x="2314" y="759"/>
                </a:lnTo>
                <a:lnTo>
                  <a:pt x="2355" y="774"/>
                </a:lnTo>
                <a:lnTo>
                  <a:pt x="2355" y="822"/>
                </a:lnTo>
                <a:lnTo>
                  <a:pt x="2338" y="845"/>
                </a:lnTo>
                <a:lnTo>
                  <a:pt x="2306" y="853"/>
                </a:lnTo>
                <a:cubicBezTo>
                  <a:pt x="2306" y="853"/>
                  <a:pt x="2322" y="893"/>
                  <a:pt x="2306" y="901"/>
                </a:cubicBezTo>
                <a:cubicBezTo>
                  <a:pt x="2297" y="909"/>
                  <a:pt x="2240" y="956"/>
                  <a:pt x="2240" y="956"/>
                </a:cubicBezTo>
                <a:lnTo>
                  <a:pt x="2183" y="972"/>
                </a:lnTo>
                <a:lnTo>
                  <a:pt x="2134" y="956"/>
                </a:lnTo>
                <a:cubicBezTo>
                  <a:pt x="2134" y="956"/>
                  <a:pt x="2126" y="948"/>
                  <a:pt x="2093" y="956"/>
                </a:cubicBezTo>
                <a:cubicBezTo>
                  <a:pt x="2060" y="972"/>
                  <a:pt x="2060" y="980"/>
                  <a:pt x="2060" y="980"/>
                </a:cubicBezTo>
                <a:lnTo>
                  <a:pt x="2044" y="1035"/>
                </a:lnTo>
                <a:lnTo>
                  <a:pt x="2044" y="1059"/>
                </a:lnTo>
                <a:lnTo>
                  <a:pt x="2077" y="1083"/>
                </a:lnTo>
                <a:lnTo>
                  <a:pt x="2118" y="1091"/>
                </a:lnTo>
                <a:lnTo>
                  <a:pt x="2142" y="1122"/>
                </a:lnTo>
                <a:lnTo>
                  <a:pt x="2159" y="1146"/>
                </a:lnTo>
                <a:lnTo>
                  <a:pt x="2142" y="1178"/>
                </a:lnTo>
                <a:lnTo>
                  <a:pt x="2159" y="1193"/>
                </a:lnTo>
                <a:lnTo>
                  <a:pt x="2191" y="1209"/>
                </a:lnTo>
                <a:lnTo>
                  <a:pt x="2175" y="1225"/>
                </a:lnTo>
                <a:lnTo>
                  <a:pt x="2199" y="1272"/>
                </a:lnTo>
                <a:lnTo>
                  <a:pt x="2216" y="1296"/>
                </a:lnTo>
                <a:lnTo>
                  <a:pt x="2199" y="1312"/>
                </a:lnTo>
                <a:lnTo>
                  <a:pt x="2224" y="1320"/>
                </a:lnTo>
                <a:lnTo>
                  <a:pt x="2257" y="1320"/>
                </a:lnTo>
                <a:lnTo>
                  <a:pt x="2257" y="1344"/>
                </a:lnTo>
                <a:lnTo>
                  <a:pt x="2314" y="1375"/>
                </a:lnTo>
                <a:lnTo>
                  <a:pt x="2297" y="1375"/>
                </a:lnTo>
                <a:lnTo>
                  <a:pt x="2232" y="1390"/>
                </a:lnTo>
                <a:lnTo>
                  <a:pt x="2199" y="1437"/>
                </a:lnTo>
                <a:lnTo>
                  <a:pt x="2101" y="1437"/>
                </a:lnTo>
                <a:lnTo>
                  <a:pt x="2085" y="1532"/>
                </a:lnTo>
                <a:lnTo>
                  <a:pt x="2060" y="1596"/>
                </a:lnTo>
                <a:lnTo>
                  <a:pt x="2036" y="1667"/>
                </a:lnTo>
                <a:lnTo>
                  <a:pt x="2052" y="1706"/>
                </a:lnTo>
                <a:lnTo>
                  <a:pt x="2077" y="1762"/>
                </a:lnTo>
                <a:lnTo>
                  <a:pt x="2126" y="1817"/>
                </a:lnTo>
                <a:lnTo>
                  <a:pt x="2077" y="1833"/>
                </a:lnTo>
                <a:lnTo>
                  <a:pt x="2044" y="1841"/>
                </a:lnTo>
                <a:lnTo>
                  <a:pt x="2011" y="1793"/>
                </a:lnTo>
                <a:lnTo>
                  <a:pt x="1962" y="1777"/>
                </a:lnTo>
                <a:lnTo>
                  <a:pt x="1905" y="1801"/>
                </a:lnTo>
                <a:lnTo>
                  <a:pt x="1848" y="1817"/>
                </a:lnTo>
                <a:lnTo>
                  <a:pt x="1832" y="1817"/>
                </a:lnTo>
                <a:lnTo>
                  <a:pt x="1815" y="1849"/>
                </a:lnTo>
                <a:lnTo>
                  <a:pt x="1766" y="1872"/>
                </a:lnTo>
                <a:cubicBezTo>
                  <a:pt x="1766" y="1872"/>
                  <a:pt x="1750" y="1856"/>
                  <a:pt x="1742" y="1849"/>
                </a:cubicBezTo>
                <a:cubicBezTo>
                  <a:pt x="1733" y="1841"/>
                  <a:pt x="1709" y="1825"/>
                  <a:pt x="1709" y="1825"/>
                </a:cubicBezTo>
                <a:cubicBezTo>
                  <a:pt x="1709" y="1825"/>
                  <a:pt x="1701" y="1809"/>
                  <a:pt x="1693" y="1801"/>
                </a:cubicBezTo>
                <a:cubicBezTo>
                  <a:pt x="1684" y="1801"/>
                  <a:pt x="1635" y="1833"/>
                  <a:pt x="1635" y="1833"/>
                </a:cubicBezTo>
                <a:cubicBezTo>
                  <a:pt x="1635" y="1833"/>
                  <a:pt x="1594" y="1856"/>
                  <a:pt x="1594" y="1864"/>
                </a:cubicBezTo>
                <a:cubicBezTo>
                  <a:pt x="1603" y="1864"/>
                  <a:pt x="1594" y="1904"/>
                  <a:pt x="1594" y="1904"/>
                </a:cubicBezTo>
                <a:lnTo>
                  <a:pt x="1537" y="1856"/>
                </a:lnTo>
                <a:lnTo>
                  <a:pt x="1496" y="1888"/>
                </a:lnTo>
                <a:lnTo>
                  <a:pt x="1464" y="1864"/>
                </a:lnTo>
                <a:lnTo>
                  <a:pt x="1447" y="1856"/>
                </a:lnTo>
                <a:lnTo>
                  <a:pt x="1398" y="1912"/>
                </a:lnTo>
                <a:lnTo>
                  <a:pt x="1366" y="1896"/>
                </a:lnTo>
                <a:lnTo>
                  <a:pt x="1349" y="1951"/>
                </a:lnTo>
                <a:lnTo>
                  <a:pt x="1308" y="1920"/>
                </a:lnTo>
                <a:cubicBezTo>
                  <a:pt x="1308" y="1920"/>
                  <a:pt x="1267" y="1912"/>
                  <a:pt x="1259" y="1912"/>
                </a:cubicBezTo>
                <a:cubicBezTo>
                  <a:pt x="1251" y="1912"/>
                  <a:pt x="1227" y="1943"/>
                  <a:pt x="1227" y="1943"/>
                </a:cubicBezTo>
                <a:lnTo>
                  <a:pt x="1186" y="1912"/>
                </a:lnTo>
                <a:lnTo>
                  <a:pt x="1153" y="1888"/>
                </a:lnTo>
                <a:cubicBezTo>
                  <a:pt x="1153" y="1888"/>
                  <a:pt x="1063" y="1896"/>
                  <a:pt x="1055" y="1896"/>
                </a:cubicBezTo>
                <a:cubicBezTo>
                  <a:pt x="1047" y="1896"/>
                  <a:pt x="989" y="1888"/>
                  <a:pt x="989" y="1888"/>
                </a:cubicBezTo>
                <a:lnTo>
                  <a:pt x="916" y="1904"/>
                </a:lnTo>
                <a:lnTo>
                  <a:pt x="810" y="1904"/>
                </a:lnTo>
                <a:lnTo>
                  <a:pt x="712" y="1912"/>
                </a:lnTo>
                <a:lnTo>
                  <a:pt x="638" y="1912"/>
                </a:lnTo>
                <a:lnTo>
                  <a:pt x="581" y="1951"/>
                </a:lnTo>
                <a:lnTo>
                  <a:pt x="523" y="1959"/>
                </a:lnTo>
                <a:lnTo>
                  <a:pt x="458" y="1967"/>
                </a:lnTo>
                <a:lnTo>
                  <a:pt x="450" y="1967"/>
                </a:lnTo>
                <a:lnTo>
                  <a:pt x="442" y="1975"/>
                </a:lnTo>
                <a:lnTo>
                  <a:pt x="417" y="1991"/>
                </a:lnTo>
                <a:lnTo>
                  <a:pt x="417" y="1999"/>
                </a:lnTo>
                <a:lnTo>
                  <a:pt x="401" y="2015"/>
                </a:lnTo>
                <a:lnTo>
                  <a:pt x="393" y="2054"/>
                </a:lnTo>
                <a:cubicBezTo>
                  <a:pt x="385" y="2070"/>
                  <a:pt x="368" y="2086"/>
                  <a:pt x="360" y="2102"/>
                </a:cubicBezTo>
                <a:cubicBezTo>
                  <a:pt x="360" y="2102"/>
                  <a:pt x="335" y="2094"/>
                  <a:pt x="335" y="2109"/>
                </a:cubicBezTo>
                <a:lnTo>
                  <a:pt x="335" y="2117"/>
                </a:lnTo>
                <a:cubicBezTo>
                  <a:pt x="311" y="2125"/>
                  <a:pt x="270" y="2109"/>
                  <a:pt x="270" y="2109"/>
                </a:cubicBezTo>
                <a:lnTo>
                  <a:pt x="221" y="2133"/>
                </a:lnTo>
                <a:cubicBezTo>
                  <a:pt x="221" y="2125"/>
                  <a:pt x="205" y="2094"/>
                  <a:pt x="205" y="2094"/>
                </a:cubicBezTo>
                <a:lnTo>
                  <a:pt x="213" y="2038"/>
                </a:lnTo>
                <a:cubicBezTo>
                  <a:pt x="213" y="2030"/>
                  <a:pt x="205" y="1967"/>
                  <a:pt x="205" y="1967"/>
                </a:cubicBezTo>
                <a:lnTo>
                  <a:pt x="205" y="1936"/>
                </a:lnTo>
                <a:lnTo>
                  <a:pt x="156" y="1904"/>
                </a:lnTo>
                <a:cubicBezTo>
                  <a:pt x="156" y="1904"/>
                  <a:pt x="98" y="1896"/>
                  <a:pt x="82" y="1896"/>
                </a:cubicBezTo>
                <a:cubicBezTo>
                  <a:pt x="74" y="1896"/>
                  <a:pt x="66" y="1872"/>
                  <a:pt x="66" y="1872"/>
                </a:cubicBezTo>
                <a:lnTo>
                  <a:pt x="74" y="1849"/>
                </a:lnTo>
                <a:lnTo>
                  <a:pt x="98" y="1777"/>
                </a:lnTo>
                <a:lnTo>
                  <a:pt x="139" y="1722"/>
                </a:lnTo>
                <a:lnTo>
                  <a:pt x="172" y="1706"/>
                </a:lnTo>
                <a:cubicBezTo>
                  <a:pt x="172" y="1706"/>
                  <a:pt x="205" y="1659"/>
                  <a:pt x="213" y="1651"/>
                </a:cubicBezTo>
                <a:cubicBezTo>
                  <a:pt x="221" y="1651"/>
                  <a:pt x="213" y="1611"/>
                  <a:pt x="205" y="1611"/>
                </a:cubicBezTo>
                <a:lnTo>
                  <a:pt x="205" y="1572"/>
                </a:lnTo>
                <a:cubicBezTo>
                  <a:pt x="205" y="1556"/>
                  <a:pt x="180" y="1532"/>
                  <a:pt x="180" y="1532"/>
                </a:cubicBezTo>
                <a:lnTo>
                  <a:pt x="172" y="1469"/>
                </a:lnTo>
                <a:lnTo>
                  <a:pt x="156" y="1453"/>
                </a:lnTo>
                <a:lnTo>
                  <a:pt x="156" y="1445"/>
                </a:lnTo>
                <a:lnTo>
                  <a:pt x="107" y="1382"/>
                </a:lnTo>
                <a:lnTo>
                  <a:pt x="66" y="1296"/>
                </a:lnTo>
                <a:cubicBezTo>
                  <a:pt x="66" y="1296"/>
                  <a:pt x="17" y="1217"/>
                  <a:pt x="8" y="1185"/>
                </a:cubicBezTo>
                <a:lnTo>
                  <a:pt x="0" y="1162"/>
                </a:lnTo>
                <a:lnTo>
                  <a:pt x="74" y="1146"/>
                </a:lnTo>
                <a:lnTo>
                  <a:pt x="156" y="1114"/>
                </a:lnTo>
                <a:lnTo>
                  <a:pt x="205" y="1122"/>
                </a:lnTo>
                <a:lnTo>
                  <a:pt x="262" y="1114"/>
                </a:lnTo>
                <a:lnTo>
                  <a:pt x="295" y="1075"/>
                </a:lnTo>
                <a:lnTo>
                  <a:pt x="335" y="1075"/>
                </a:lnTo>
                <a:lnTo>
                  <a:pt x="319" y="1019"/>
                </a:lnTo>
                <a:cubicBezTo>
                  <a:pt x="319" y="1019"/>
                  <a:pt x="327" y="996"/>
                  <a:pt x="335" y="1004"/>
                </a:cubicBezTo>
                <a:lnTo>
                  <a:pt x="385" y="1004"/>
                </a:lnTo>
                <a:lnTo>
                  <a:pt x="401" y="972"/>
                </a:lnTo>
                <a:lnTo>
                  <a:pt x="401" y="956"/>
                </a:lnTo>
                <a:lnTo>
                  <a:pt x="458" y="940"/>
                </a:lnTo>
                <a:lnTo>
                  <a:pt x="483" y="917"/>
                </a:lnTo>
                <a:lnTo>
                  <a:pt x="499" y="932"/>
                </a:lnTo>
                <a:lnTo>
                  <a:pt x="491" y="964"/>
                </a:lnTo>
                <a:lnTo>
                  <a:pt x="532" y="956"/>
                </a:lnTo>
                <a:lnTo>
                  <a:pt x="548" y="909"/>
                </a:lnTo>
                <a:lnTo>
                  <a:pt x="532" y="901"/>
                </a:lnTo>
                <a:lnTo>
                  <a:pt x="491" y="885"/>
                </a:lnTo>
                <a:cubicBezTo>
                  <a:pt x="491" y="885"/>
                  <a:pt x="474" y="893"/>
                  <a:pt x="474" y="877"/>
                </a:cubicBezTo>
                <a:cubicBezTo>
                  <a:pt x="483" y="853"/>
                  <a:pt x="499" y="814"/>
                  <a:pt x="499" y="814"/>
                </a:cubicBezTo>
                <a:lnTo>
                  <a:pt x="491" y="766"/>
                </a:lnTo>
                <a:lnTo>
                  <a:pt x="483" y="711"/>
                </a:lnTo>
                <a:lnTo>
                  <a:pt x="491" y="679"/>
                </a:lnTo>
                <a:lnTo>
                  <a:pt x="491" y="648"/>
                </a:lnTo>
                <a:lnTo>
                  <a:pt x="507" y="616"/>
                </a:lnTo>
                <a:lnTo>
                  <a:pt x="573" y="593"/>
                </a:lnTo>
                <a:lnTo>
                  <a:pt x="573" y="537"/>
                </a:lnTo>
                <a:lnTo>
                  <a:pt x="597" y="513"/>
                </a:lnTo>
                <a:lnTo>
                  <a:pt x="662" y="521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94" name="Freeform 86">
            <a:extLst>
              <a:ext uri="{FF2B5EF4-FFF2-40B4-BE49-F238E27FC236}">
                <a16:creationId xmlns:a16="http://schemas.microsoft.com/office/drawing/2014/main" id="{373B4895-EC5A-CEBB-2641-1A8B6377A6E7}"/>
              </a:ext>
            </a:extLst>
          </p:cNvPr>
          <p:cNvSpPr>
            <a:spLocks noChangeArrowheads="1"/>
          </p:cNvSpPr>
          <p:nvPr>
            <p:custDataLst>
              <p:tags r:id="rId86"/>
            </p:custDataLst>
          </p:nvPr>
        </p:nvSpPr>
        <p:spPr bwMode="auto">
          <a:xfrm>
            <a:off x="9092335" y="3984678"/>
            <a:ext cx="516196" cy="490839"/>
          </a:xfrm>
          <a:custGeom>
            <a:avLst/>
            <a:gdLst>
              <a:gd name="T0" fmla="*/ 892 w 1257"/>
              <a:gd name="T1" fmla="*/ 1137 h 1193"/>
              <a:gd name="T2" fmla="*/ 867 w 1257"/>
              <a:gd name="T3" fmla="*/ 1075 h 1193"/>
              <a:gd name="T4" fmla="*/ 908 w 1257"/>
              <a:gd name="T5" fmla="*/ 996 h 1193"/>
              <a:gd name="T6" fmla="*/ 948 w 1257"/>
              <a:gd name="T7" fmla="*/ 910 h 1193"/>
              <a:gd name="T8" fmla="*/ 932 w 1257"/>
              <a:gd name="T9" fmla="*/ 816 h 1193"/>
              <a:gd name="T10" fmla="*/ 924 w 1257"/>
              <a:gd name="T11" fmla="*/ 690 h 1193"/>
              <a:gd name="T12" fmla="*/ 997 w 1257"/>
              <a:gd name="T13" fmla="*/ 722 h 1193"/>
              <a:gd name="T14" fmla="*/ 1037 w 1257"/>
              <a:gd name="T15" fmla="*/ 706 h 1193"/>
              <a:gd name="T16" fmla="*/ 1102 w 1257"/>
              <a:gd name="T17" fmla="*/ 706 h 1193"/>
              <a:gd name="T18" fmla="*/ 1159 w 1257"/>
              <a:gd name="T19" fmla="*/ 675 h 1193"/>
              <a:gd name="T20" fmla="*/ 1256 w 1257"/>
              <a:gd name="T21" fmla="*/ 651 h 1193"/>
              <a:gd name="T22" fmla="*/ 1159 w 1257"/>
              <a:gd name="T23" fmla="*/ 604 h 1193"/>
              <a:gd name="T24" fmla="*/ 1143 w 1257"/>
              <a:gd name="T25" fmla="*/ 494 h 1193"/>
              <a:gd name="T26" fmla="*/ 1062 w 1257"/>
              <a:gd name="T27" fmla="*/ 486 h 1193"/>
              <a:gd name="T28" fmla="*/ 1013 w 1257"/>
              <a:gd name="T29" fmla="*/ 423 h 1193"/>
              <a:gd name="T30" fmla="*/ 989 w 1257"/>
              <a:gd name="T31" fmla="*/ 376 h 1193"/>
              <a:gd name="T32" fmla="*/ 940 w 1257"/>
              <a:gd name="T33" fmla="*/ 345 h 1193"/>
              <a:gd name="T34" fmla="*/ 875 w 1257"/>
              <a:gd name="T35" fmla="*/ 298 h 1193"/>
              <a:gd name="T36" fmla="*/ 835 w 1257"/>
              <a:gd name="T37" fmla="*/ 251 h 1193"/>
              <a:gd name="T38" fmla="*/ 811 w 1257"/>
              <a:gd name="T39" fmla="*/ 164 h 1193"/>
              <a:gd name="T40" fmla="*/ 754 w 1257"/>
              <a:gd name="T41" fmla="*/ 102 h 1193"/>
              <a:gd name="T42" fmla="*/ 665 w 1257"/>
              <a:gd name="T43" fmla="*/ 62 h 1193"/>
              <a:gd name="T44" fmla="*/ 559 w 1257"/>
              <a:gd name="T45" fmla="*/ 110 h 1193"/>
              <a:gd name="T46" fmla="*/ 527 w 1257"/>
              <a:gd name="T47" fmla="*/ 86 h 1193"/>
              <a:gd name="T48" fmla="*/ 519 w 1257"/>
              <a:gd name="T49" fmla="*/ 55 h 1193"/>
              <a:gd name="T50" fmla="*/ 470 w 1257"/>
              <a:gd name="T51" fmla="*/ 62 h 1193"/>
              <a:gd name="T52" fmla="*/ 430 w 1257"/>
              <a:gd name="T53" fmla="*/ 47 h 1193"/>
              <a:gd name="T54" fmla="*/ 341 w 1257"/>
              <a:gd name="T55" fmla="*/ 23 h 1193"/>
              <a:gd name="T56" fmla="*/ 268 w 1257"/>
              <a:gd name="T57" fmla="*/ 8 h 1193"/>
              <a:gd name="T58" fmla="*/ 219 w 1257"/>
              <a:gd name="T59" fmla="*/ 47 h 1193"/>
              <a:gd name="T60" fmla="*/ 171 w 1257"/>
              <a:gd name="T61" fmla="*/ 86 h 1193"/>
              <a:gd name="T62" fmla="*/ 106 w 1257"/>
              <a:gd name="T63" fmla="*/ 110 h 1193"/>
              <a:gd name="T64" fmla="*/ 73 w 1257"/>
              <a:gd name="T65" fmla="*/ 125 h 1193"/>
              <a:gd name="T66" fmla="*/ 17 w 1257"/>
              <a:gd name="T67" fmla="*/ 149 h 1193"/>
              <a:gd name="T68" fmla="*/ 81 w 1257"/>
              <a:gd name="T69" fmla="*/ 172 h 1193"/>
              <a:gd name="T70" fmla="*/ 138 w 1257"/>
              <a:gd name="T71" fmla="*/ 188 h 1193"/>
              <a:gd name="T72" fmla="*/ 187 w 1257"/>
              <a:gd name="T73" fmla="*/ 235 h 1193"/>
              <a:gd name="T74" fmla="*/ 227 w 1257"/>
              <a:gd name="T75" fmla="*/ 274 h 1193"/>
              <a:gd name="T76" fmla="*/ 252 w 1257"/>
              <a:gd name="T77" fmla="*/ 321 h 1193"/>
              <a:gd name="T78" fmla="*/ 292 w 1257"/>
              <a:gd name="T79" fmla="*/ 368 h 1193"/>
              <a:gd name="T80" fmla="*/ 349 w 1257"/>
              <a:gd name="T81" fmla="*/ 416 h 1193"/>
              <a:gd name="T82" fmla="*/ 397 w 1257"/>
              <a:gd name="T83" fmla="*/ 463 h 1193"/>
              <a:gd name="T84" fmla="*/ 487 w 1257"/>
              <a:gd name="T85" fmla="*/ 533 h 1193"/>
              <a:gd name="T86" fmla="*/ 592 w 1257"/>
              <a:gd name="T87" fmla="*/ 612 h 1193"/>
              <a:gd name="T88" fmla="*/ 673 w 1257"/>
              <a:gd name="T89" fmla="*/ 729 h 1193"/>
              <a:gd name="T90" fmla="*/ 689 w 1257"/>
              <a:gd name="T91" fmla="*/ 792 h 1193"/>
              <a:gd name="T92" fmla="*/ 689 w 1257"/>
              <a:gd name="T93" fmla="*/ 871 h 1193"/>
              <a:gd name="T94" fmla="*/ 697 w 1257"/>
              <a:gd name="T95" fmla="*/ 941 h 1193"/>
              <a:gd name="T96" fmla="*/ 738 w 1257"/>
              <a:gd name="T97" fmla="*/ 1043 h 1193"/>
              <a:gd name="T98" fmla="*/ 762 w 1257"/>
              <a:gd name="T99" fmla="*/ 1122 h 1193"/>
              <a:gd name="T100" fmla="*/ 770 w 1257"/>
              <a:gd name="T101" fmla="*/ 1161 h 1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257" h="1193">
                <a:moveTo>
                  <a:pt x="802" y="1192"/>
                </a:moveTo>
                <a:lnTo>
                  <a:pt x="811" y="1161"/>
                </a:lnTo>
                <a:cubicBezTo>
                  <a:pt x="811" y="1161"/>
                  <a:pt x="835" y="1153"/>
                  <a:pt x="843" y="1153"/>
                </a:cubicBezTo>
                <a:cubicBezTo>
                  <a:pt x="851" y="1145"/>
                  <a:pt x="859" y="1153"/>
                  <a:pt x="867" y="1145"/>
                </a:cubicBezTo>
                <a:cubicBezTo>
                  <a:pt x="875" y="1145"/>
                  <a:pt x="892" y="1137"/>
                  <a:pt x="892" y="1137"/>
                </a:cubicBezTo>
                <a:lnTo>
                  <a:pt x="883" y="1137"/>
                </a:lnTo>
                <a:lnTo>
                  <a:pt x="883" y="1122"/>
                </a:lnTo>
                <a:lnTo>
                  <a:pt x="892" y="1106"/>
                </a:lnTo>
                <a:lnTo>
                  <a:pt x="859" y="1090"/>
                </a:lnTo>
                <a:lnTo>
                  <a:pt x="867" y="1075"/>
                </a:lnTo>
                <a:cubicBezTo>
                  <a:pt x="867" y="1075"/>
                  <a:pt x="859" y="1059"/>
                  <a:pt x="867" y="1059"/>
                </a:cubicBezTo>
                <a:cubicBezTo>
                  <a:pt x="875" y="1059"/>
                  <a:pt x="875" y="1035"/>
                  <a:pt x="875" y="1035"/>
                </a:cubicBezTo>
                <a:lnTo>
                  <a:pt x="884" y="1020"/>
                </a:lnTo>
                <a:lnTo>
                  <a:pt x="900" y="1020"/>
                </a:lnTo>
                <a:cubicBezTo>
                  <a:pt x="900" y="1020"/>
                  <a:pt x="900" y="1004"/>
                  <a:pt x="908" y="996"/>
                </a:cubicBezTo>
                <a:lnTo>
                  <a:pt x="916" y="988"/>
                </a:lnTo>
                <a:lnTo>
                  <a:pt x="908" y="965"/>
                </a:lnTo>
                <a:cubicBezTo>
                  <a:pt x="908" y="965"/>
                  <a:pt x="892" y="941"/>
                  <a:pt x="900" y="941"/>
                </a:cubicBezTo>
                <a:cubicBezTo>
                  <a:pt x="908" y="941"/>
                  <a:pt x="916" y="933"/>
                  <a:pt x="916" y="933"/>
                </a:cubicBezTo>
                <a:cubicBezTo>
                  <a:pt x="916" y="933"/>
                  <a:pt x="940" y="910"/>
                  <a:pt x="948" y="910"/>
                </a:cubicBezTo>
                <a:cubicBezTo>
                  <a:pt x="948" y="910"/>
                  <a:pt x="965" y="894"/>
                  <a:pt x="965" y="886"/>
                </a:cubicBezTo>
                <a:cubicBezTo>
                  <a:pt x="956" y="879"/>
                  <a:pt x="948" y="871"/>
                  <a:pt x="948" y="871"/>
                </a:cubicBezTo>
                <a:lnTo>
                  <a:pt x="956" y="839"/>
                </a:lnTo>
                <a:cubicBezTo>
                  <a:pt x="956" y="839"/>
                  <a:pt x="965" y="824"/>
                  <a:pt x="956" y="824"/>
                </a:cubicBezTo>
                <a:cubicBezTo>
                  <a:pt x="948" y="816"/>
                  <a:pt x="932" y="816"/>
                  <a:pt x="932" y="816"/>
                </a:cubicBezTo>
                <a:lnTo>
                  <a:pt x="916" y="800"/>
                </a:lnTo>
                <a:lnTo>
                  <a:pt x="916" y="777"/>
                </a:lnTo>
                <a:lnTo>
                  <a:pt x="900" y="753"/>
                </a:lnTo>
                <a:lnTo>
                  <a:pt x="900" y="729"/>
                </a:lnTo>
                <a:cubicBezTo>
                  <a:pt x="908" y="729"/>
                  <a:pt x="924" y="698"/>
                  <a:pt x="924" y="690"/>
                </a:cubicBezTo>
                <a:cubicBezTo>
                  <a:pt x="932" y="690"/>
                  <a:pt x="965" y="659"/>
                  <a:pt x="965" y="659"/>
                </a:cubicBezTo>
                <a:lnTo>
                  <a:pt x="981" y="698"/>
                </a:lnTo>
                <a:lnTo>
                  <a:pt x="981" y="729"/>
                </a:lnTo>
                <a:cubicBezTo>
                  <a:pt x="981" y="729"/>
                  <a:pt x="973" y="745"/>
                  <a:pt x="981" y="745"/>
                </a:cubicBezTo>
                <a:cubicBezTo>
                  <a:pt x="997" y="737"/>
                  <a:pt x="997" y="722"/>
                  <a:pt x="997" y="722"/>
                </a:cubicBezTo>
                <a:lnTo>
                  <a:pt x="1005" y="714"/>
                </a:lnTo>
                <a:cubicBezTo>
                  <a:pt x="1005" y="714"/>
                  <a:pt x="989" y="690"/>
                  <a:pt x="997" y="690"/>
                </a:cubicBezTo>
                <a:cubicBezTo>
                  <a:pt x="1005" y="690"/>
                  <a:pt x="1005" y="675"/>
                  <a:pt x="1005" y="690"/>
                </a:cubicBezTo>
                <a:cubicBezTo>
                  <a:pt x="1013" y="698"/>
                  <a:pt x="1013" y="714"/>
                  <a:pt x="1021" y="706"/>
                </a:cubicBezTo>
                <a:cubicBezTo>
                  <a:pt x="1037" y="706"/>
                  <a:pt x="1037" y="714"/>
                  <a:pt x="1037" y="706"/>
                </a:cubicBezTo>
                <a:cubicBezTo>
                  <a:pt x="1046" y="698"/>
                  <a:pt x="1046" y="690"/>
                  <a:pt x="1046" y="690"/>
                </a:cubicBezTo>
                <a:lnTo>
                  <a:pt x="1054" y="682"/>
                </a:lnTo>
                <a:cubicBezTo>
                  <a:pt x="1054" y="682"/>
                  <a:pt x="1054" y="698"/>
                  <a:pt x="1062" y="698"/>
                </a:cubicBezTo>
                <a:lnTo>
                  <a:pt x="1086" y="698"/>
                </a:lnTo>
                <a:lnTo>
                  <a:pt x="1102" y="706"/>
                </a:lnTo>
                <a:cubicBezTo>
                  <a:pt x="1102" y="706"/>
                  <a:pt x="1110" y="706"/>
                  <a:pt x="1110" y="698"/>
                </a:cubicBezTo>
                <a:lnTo>
                  <a:pt x="1110" y="682"/>
                </a:lnTo>
                <a:lnTo>
                  <a:pt x="1127" y="675"/>
                </a:lnTo>
                <a:lnTo>
                  <a:pt x="1127" y="651"/>
                </a:lnTo>
                <a:lnTo>
                  <a:pt x="1159" y="675"/>
                </a:lnTo>
                <a:lnTo>
                  <a:pt x="1167" y="698"/>
                </a:lnTo>
                <a:lnTo>
                  <a:pt x="1183" y="690"/>
                </a:lnTo>
                <a:lnTo>
                  <a:pt x="1191" y="667"/>
                </a:lnTo>
                <a:cubicBezTo>
                  <a:pt x="1191" y="667"/>
                  <a:pt x="1216" y="667"/>
                  <a:pt x="1224" y="659"/>
                </a:cubicBezTo>
                <a:cubicBezTo>
                  <a:pt x="1232" y="659"/>
                  <a:pt x="1256" y="651"/>
                  <a:pt x="1256" y="651"/>
                </a:cubicBezTo>
                <a:cubicBezTo>
                  <a:pt x="1256" y="643"/>
                  <a:pt x="1240" y="635"/>
                  <a:pt x="1232" y="643"/>
                </a:cubicBezTo>
                <a:cubicBezTo>
                  <a:pt x="1224" y="643"/>
                  <a:pt x="1208" y="651"/>
                  <a:pt x="1199" y="643"/>
                </a:cubicBezTo>
                <a:cubicBezTo>
                  <a:pt x="1199" y="635"/>
                  <a:pt x="1183" y="620"/>
                  <a:pt x="1183" y="620"/>
                </a:cubicBezTo>
                <a:lnTo>
                  <a:pt x="1167" y="620"/>
                </a:lnTo>
                <a:cubicBezTo>
                  <a:pt x="1167" y="620"/>
                  <a:pt x="1151" y="612"/>
                  <a:pt x="1159" y="604"/>
                </a:cubicBezTo>
                <a:cubicBezTo>
                  <a:pt x="1167" y="596"/>
                  <a:pt x="1175" y="596"/>
                  <a:pt x="1175" y="596"/>
                </a:cubicBezTo>
                <a:cubicBezTo>
                  <a:pt x="1175" y="596"/>
                  <a:pt x="1167" y="580"/>
                  <a:pt x="1167" y="572"/>
                </a:cubicBezTo>
                <a:cubicBezTo>
                  <a:pt x="1167" y="565"/>
                  <a:pt x="1167" y="549"/>
                  <a:pt x="1159" y="541"/>
                </a:cubicBezTo>
                <a:lnTo>
                  <a:pt x="1143" y="510"/>
                </a:lnTo>
                <a:lnTo>
                  <a:pt x="1143" y="494"/>
                </a:lnTo>
                <a:lnTo>
                  <a:pt x="1127" y="502"/>
                </a:lnTo>
                <a:lnTo>
                  <a:pt x="1110" y="486"/>
                </a:lnTo>
                <a:cubicBezTo>
                  <a:pt x="1110" y="486"/>
                  <a:pt x="1094" y="486"/>
                  <a:pt x="1094" y="494"/>
                </a:cubicBezTo>
                <a:cubicBezTo>
                  <a:pt x="1086" y="494"/>
                  <a:pt x="1078" y="486"/>
                  <a:pt x="1078" y="486"/>
                </a:cubicBezTo>
                <a:lnTo>
                  <a:pt x="1062" y="486"/>
                </a:lnTo>
                <a:lnTo>
                  <a:pt x="1046" y="486"/>
                </a:lnTo>
                <a:cubicBezTo>
                  <a:pt x="1037" y="486"/>
                  <a:pt x="1021" y="478"/>
                  <a:pt x="1013" y="478"/>
                </a:cubicBezTo>
                <a:lnTo>
                  <a:pt x="1013" y="463"/>
                </a:lnTo>
                <a:cubicBezTo>
                  <a:pt x="1021" y="455"/>
                  <a:pt x="1021" y="447"/>
                  <a:pt x="1021" y="447"/>
                </a:cubicBezTo>
                <a:cubicBezTo>
                  <a:pt x="1021" y="447"/>
                  <a:pt x="1021" y="423"/>
                  <a:pt x="1013" y="423"/>
                </a:cubicBezTo>
                <a:lnTo>
                  <a:pt x="989" y="423"/>
                </a:lnTo>
                <a:lnTo>
                  <a:pt x="973" y="416"/>
                </a:lnTo>
                <a:lnTo>
                  <a:pt x="997" y="408"/>
                </a:lnTo>
                <a:lnTo>
                  <a:pt x="989" y="392"/>
                </a:lnTo>
                <a:lnTo>
                  <a:pt x="989" y="376"/>
                </a:lnTo>
                <a:cubicBezTo>
                  <a:pt x="989" y="368"/>
                  <a:pt x="981" y="361"/>
                  <a:pt x="981" y="361"/>
                </a:cubicBezTo>
                <a:lnTo>
                  <a:pt x="981" y="329"/>
                </a:lnTo>
                <a:lnTo>
                  <a:pt x="965" y="329"/>
                </a:lnTo>
                <a:lnTo>
                  <a:pt x="948" y="321"/>
                </a:lnTo>
                <a:lnTo>
                  <a:pt x="940" y="345"/>
                </a:lnTo>
                <a:lnTo>
                  <a:pt x="924" y="353"/>
                </a:lnTo>
                <a:lnTo>
                  <a:pt x="916" y="329"/>
                </a:lnTo>
                <a:lnTo>
                  <a:pt x="900" y="321"/>
                </a:lnTo>
                <a:lnTo>
                  <a:pt x="892" y="321"/>
                </a:lnTo>
                <a:lnTo>
                  <a:pt x="875" y="298"/>
                </a:lnTo>
                <a:lnTo>
                  <a:pt x="859" y="298"/>
                </a:lnTo>
                <a:cubicBezTo>
                  <a:pt x="859" y="298"/>
                  <a:pt x="851" y="321"/>
                  <a:pt x="843" y="306"/>
                </a:cubicBezTo>
                <a:cubicBezTo>
                  <a:pt x="835" y="298"/>
                  <a:pt x="835" y="274"/>
                  <a:pt x="835" y="274"/>
                </a:cubicBezTo>
                <a:lnTo>
                  <a:pt x="827" y="266"/>
                </a:lnTo>
                <a:lnTo>
                  <a:pt x="835" y="251"/>
                </a:lnTo>
                <a:lnTo>
                  <a:pt x="835" y="227"/>
                </a:lnTo>
                <a:lnTo>
                  <a:pt x="827" y="212"/>
                </a:lnTo>
                <a:cubicBezTo>
                  <a:pt x="827" y="204"/>
                  <a:pt x="819" y="188"/>
                  <a:pt x="819" y="188"/>
                </a:cubicBezTo>
                <a:lnTo>
                  <a:pt x="827" y="172"/>
                </a:lnTo>
                <a:lnTo>
                  <a:pt x="811" y="164"/>
                </a:lnTo>
                <a:lnTo>
                  <a:pt x="811" y="133"/>
                </a:lnTo>
                <a:lnTo>
                  <a:pt x="786" y="125"/>
                </a:lnTo>
                <a:cubicBezTo>
                  <a:pt x="786" y="125"/>
                  <a:pt x="786" y="117"/>
                  <a:pt x="778" y="110"/>
                </a:cubicBezTo>
                <a:lnTo>
                  <a:pt x="762" y="94"/>
                </a:lnTo>
                <a:cubicBezTo>
                  <a:pt x="762" y="94"/>
                  <a:pt x="754" y="94"/>
                  <a:pt x="754" y="102"/>
                </a:cubicBezTo>
                <a:cubicBezTo>
                  <a:pt x="746" y="110"/>
                  <a:pt x="746" y="125"/>
                  <a:pt x="738" y="125"/>
                </a:cubicBezTo>
                <a:cubicBezTo>
                  <a:pt x="738" y="125"/>
                  <a:pt x="746" y="125"/>
                  <a:pt x="722" y="125"/>
                </a:cubicBezTo>
                <a:cubicBezTo>
                  <a:pt x="705" y="117"/>
                  <a:pt x="705" y="117"/>
                  <a:pt x="697" y="110"/>
                </a:cubicBezTo>
                <a:cubicBezTo>
                  <a:pt x="689" y="110"/>
                  <a:pt x="673" y="94"/>
                  <a:pt x="673" y="94"/>
                </a:cubicBezTo>
                <a:lnTo>
                  <a:pt x="665" y="62"/>
                </a:lnTo>
                <a:lnTo>
                  <a:pt x="649" y="62"/>
                </a:lnTo>
                <a:cubicBezTo>
                  <a:pt x="649" y="62"/>
                  <a:pt x="673" y="70"/>
                  <a:pt x="641" y="70"/>
                </a:cubicBezTo>
                <a:lnTo>
                  <a:pt x="576" y="70"/>
                </a:lnTo>
                <a:lnTo>
                  <a:pt x="568" y="86"/>
                </a:lnTo>
                <a:cubicBezTo>
                  <a:pt x="568" y="86"/>
                  <a:pt x="559" y="102"/>
                  <a:pt x="559" y="110"/>
                </a:cubicBezTo>
                <a:cubicBezTo>
                  <a:pt x="559" y="110"/>
                  <a:pt x="568" y="117"/>
                  <a:pt x="559" y="110"/>
                </a:cubicBezTo>
                <a:cubicBezTo>
                  <a:pt x="559" y="102"/>
                  <a:pt x="551" y="102"/>
                  <a:pt x="551" y="94"/>
                </a:cubicBezTo>
                <a:lnTo>
                  <a:pt x="551" y="86"/>
                </a:lnTo>
                <a:cubicBezTo>
                  <a:pt x="551" y="78"/>
                  <a:pt x="535" y="70"/>
                  <a:pt x="535" y="70"/>
                </a:cubicBezTo>
                <a:lnTo>
                  <a:pt x="527" y="86"/>
                </a:lnTo>
                <a:cubicBezTo>
                  <a:pt x="527" y="86"/>
                  <a:pt x="535" y="94"/>
                  <a:pt x="519" y="94"/>
                </a:cubicBezTo>
                <a:lnTo>
                  <a:pt x="511" y="102"/>
                </a:lnTo>
                <a:cubicBezTo>
                  <a:pt x="511" y="94"/>
                  <a:pt x="519" y="86"/>
                  <a:pt x="519" y="86"/>
                </a:cubicBezTo>
                <a:lnTo>
                  <a:pt x="527" y="70"/>
                </a:lnTo>
                <a:cubicBezTo>
                  <a:pt x="527" y="70"/>
                  <a:pt x="527" y="55"/>
                  <a:pt x="519" y="55"/>
                </a:cubicBezTo>
                <a:lnTo>
                  <a:pt x="495" y="55"/>
                </a:lnTo>
                <a:lnTo>
                  <a:pt x="487" y="62"/>
                </a:lnTo>
                <a:cubicBezTo>
                  <a:pt x="487" y="62"/>
                  <a:pt x="495" y="70"/>
                  <a:pt x="487" y="70"/>
                </a:cubicBezTo>
                <a:cubicBezTo>
                  <a:pt x="487" y="70"/>
                  <a:pt x="478" y="70"/>
                  <a:pt x="478" y="78"/>
                </a:cubicBezTo>
                <a:cubicBezTo>
                  <a:pt x="470" y="78"/>
                  <a:pt x="470" y="62"/>
                  <a:pt x="470" y="62"/>
                </a:cubicBezTo>
                <a:lnTo>
                  <a:pt x="462" y="55"/>
                </a:lnTo>
                <a:cubicBezTo>
                  <a:pt x="462" y="62"/>
                  <a:pt x="454" y="78"/>
                  <a:pt x="454" y="78"/>
                </a:cubicBezTo>
                <a:cubicBezTo>
                  <a:pt x="446" y="78"/>
                  <a:pt x="446" y="78"/>
                  <a:pt x="446" y="70"/>
                </a:cubicBezTo>
                <a:cubicBezTo>
                  <a:pt x="438" y="70"/>
                  <a:pt x="438" y="55"/>
                  <a:pt x="438" y="55"/>
                </a:cubicBezTo>
                <a:lnTo>
                  <a:pt x="430" y="47"/>
                </a:lnTo>
                <a:lnTo>
                  <a:pt x="397" y="47"/>
                </a:lnTo>
                <a:cubicBezTo>
                  <a:pt x="397" y="47"/>
                  <a:pt x="381" y="47"/>
                  <a:pt x="381" y="39"/>
                </a:cubicBezTo>
                <a:cubicBezTo>
                  <a:pt x="373" y="31"/>
                  <a:pt x="365" y="31"/>
                  <a:pt x="365" y="31"/>
                </a:cubicBezTo>
                <a:lnTo>
                  <a:pt x="357" y="23"/>
                </a:lnTo>
                <a:lnTo>
                  <a:pt x="341" y="23"/>
                </a:lnTo>
                <a:cubicBezTo>
                  <a:pt x="333" y="15"/>
                  <a:pt x="341" y="15"/>
                  <a:pt x="325" y="15"/>
                </a:cubicBezTo>
                <a:cubicBezTo>
                  <a:pt x="308" y="15"/>
                  <a:pt x="308" y="31"/>
                  <a:pt x="300" y="23"/>
                </a:cubicBezTo>
                <a:lnTo>
                  <a:pt x="284" y="23"/>
                </a:lnTo>
                <a:lnTo>
                  <a:pt x="276" y="15"/>
                </a:lnTo>
                <a:cubicBezTo>
                  <a:pt x="276" y="8"/>
                  <a:pt x="268" y="0"/>
                  <a:pt x="268" y="8"/>
                </a:cubicBezTo>
                <a:cubicBezTo>
                  <a:pt x="268" y="23"/>
                  <a:pt x="268" y="15"/>
                  <a:pt x="260" y="23"/>
                </a:cubicBezTo>
                <a:cubicBezTo>
                  <a:pt x="260" y="31"/>
                  <a:pt x="244" y="39"/>
                  <a:pt x="244" y="39"/>
                </a:cubicBezTo>
                <a:cubicBezTo>
                  <a:pt x="244" y="39"/>
                  <a:pt x="235" y="39"/>
                  <a:pt x="235" y="47"/>
                </a:cubicBezTo>
                <a:lnTo>
                  <a:pt x="227" y="55"/>
                </a:lnTo>
                <a:cubicBezTo>
                  <a:pt x="227" y="55"/>
                  <a:pt x="227" y="47"/>
                  <a:pt x="219" y="47"/>
                </a:cubicBezTo>
                <a:cubicBezTo>
                  <a:pt x="219" y="47"/>
                  <a:pt x="203" y="47"/>
                  <a:pt x="203" y="55"/>
                </a:cubicBezTo>
                <a:lnTo>
                  <a:pt x="203" y="70"/>
                </a:lnTo>
                <a:lnTo>
                  <a:pt x="195" y="78"/>
                </a:lnTo>
                <a:lnTo>
                  <a:pt x="179" y="86"/>
                </a:lnTo>
                <a:lnTo>
                  <a:pt x="171" y="86"/>
                </a:lnTo>
                <a:lnTo>
                  <a:pt x="146" y="86"/>
                </a:lnTo>
                <a:lnTo>
                  <a:pt x="130" y="86"/>
                </a:lnTo>
                <a:lnTo>
                  <a:pt x="130" y="94"/>
                </a:lnTo>
                <a:lnTo>
                  <a:pt x="122" y="102"/>
                </a:lnTo>
                <a:cubicBezTo>
                  <a:pt x="122" y="102"/>
                  <a:pt x="114" y="117"/>
                  <a:pt x="106" y="110"/>
                </a:cubicBezTo>
                <a:lnTo>
                  <a:pt x="98" y="110"/>
                </a:lnTo>
                <a:lnTo>
                  <a:pt x="81" y="102"/>
                </a:lnTo>
                <a:lnTo>
                  <a:pt x="73" y="110"/>
                </a:lnTo>
                <a:lnTo>
                  <a:pt x="65" y="110"/>
                </a:lnTo>
                <a:cubicBezTo>
                  <a:pt x="65" y="110"/>
                  <a:pt x="65" y="117"/>
                  <a:pt x="73" y="125"/>
                </a:cubicBezTo>
                <a:lnTo>
                  <a:pt x="73" y="141"/>
                </a:lnTo>
                <a:lnTo>
                  <a:pt x="65" y="149"/>
                </a:lnTo>
                <a:cubicBezTo>
                  <a:pt x="57" y="149"/>
                  <a:pt x="49" y="141"/>
                  <a:pt x="49" y="141"/>
                </a:cubicBezTo>
                <a:cubicBezTo>
                  <a:pt x="49" y="141"/>
                  <a:pt x="49" y="133"/>
                  <a:pt x="41" y="133"/>
                </a:cubicBezTo>
                <a:cubicBezTo>
                  <a:pt x="41" y="141"/>
                  <a:pt x="17" y="149"/>
                  <a:pt x="17" y="149"/>
                </a:cubicBezTo>
                <a:lnTo>
                  <a:pt x="17" y="164"/>
                </a:lnTo>
                <a:lnTo>
                  <a:pt x="0" y="172"/>
                </a:lnTo>
                <a:lnTo>
                  <a:pt x="65" y="172"/>
                </a:lnTo>
                <a:lnTo>
                  <a:pt x="73" y="164"/>
                </a:lnTo>
                <a:cubicBezTo>
                  <a:pt x="73" y="164"/>
                  <a:pt x="81" y="164"/>
                  <a:pt x="81" y="172"/>
                </a:cubicBezTo>
                <a:lnTo>
                  <a:pt x="98" y="180"/>
                </a:lnTo>
                <a:lnTo>
                  <a:pt x="122" y="172"/>
                </a:lnTo>
                <a:lnTo>
                  <a:pt x="122" y="180"/>
                </a:lnTo>
                <a:cubicBezTo>
                  <a:pt x="122" y="180"/>
                  <a:pt x="122" y="188"/>
                  <a:pt x="130" y="188"/>
                </a:cubicBezTo>
                <a:lnTo>
                  <a:pt x="138" y="188"/>
                </a:lnTo>
                <a:lnTo>
                  <a:pt x="138" y="204"/>
                </a:lnTo>
                <a:lnTo>
                  <a:pt x="162" y="204"/>
                </a:lnTo>
                <a:lnTo>
                  <a:pt x="162" y="212"/>
                </a:lnTo>
                <a:cubicBezTo>
                  <a:pt x="162" y="212"/>
                  <a:pt x="171" y="219"/>
                  <a:pt x="179" y="227"/>
                </a:cubicBezTo>
                <a:lnTo>
                  <a:pt x="187" y="235"/>
                </a:lnTo>
                <a:lnTo>
                  <a:pt x="195" y="243"/>
                </a:lnTo>
                <a:lnTo>
                  <a:pt x="203" y="251"/>
                </a:lnTo>
                <a:lnTo>
                  <a:pt x="211" y="259"/>
                </a:lnTo>
                <a:cubicBezTo>
                  <a:pt x="211" y="266"/>
                  <a:pt x="211" y="274"/>
                  <a:pt x="219" y="274"/>
                </a:cubicBezTo>
                <a:lnTo>
                  <a:pt x="227" y="274"/>
                </a:lnTo>
                <a:lnTo>
                  <a:pt x="227" y="282"/>
                </a:lnTo>
                <a:lnTo>
                  <a:pt x="235" y="290"/>
                </a:lnTo>
                <a:lnTo>
                  <a:pt x="244" y="298"/>
                </a:lnTo>
                <a:lnTo>
                  <a:pt x="244" y="306"/>
                </a:lnTo>
                <a:cubicBezTo>
                  <a:pt x="244" y="314"/>
                  <a:pt x="252" y="321"/>
                  <a:pt x="252" y="321"/>
                </a:cubicBezTo>
                <a:cubicBezTo>
                  <a:pt x="252" y="329"/>
                  <a:pt x="260" y="329"/>
                  <a:pt x="260" y="329"/>
                </a:cubicBezTo>
                <a:cubicBezTo>
                  <a:pt x="260" y="329"/>
                  <a:pt x="268" y="329"/>
                  <a:pt x="268" y="337"/>
                </a:cubicBezTo>
                <a:cubicBezTo>
                  <a:pt x="268" y="345"/>
                  <a:pt x="260" y="353"/>
                  <a:pt x="268" y="353"/>
                </a:cubicBezTo>
                <a:cubicBezTo>
                  <a:pt x="268" y="353"/>
                  <a:pt x="276" y="368"/>
                  <a:pt x="284" y="368"/>
                </a:cubicBezTo>
                <a:lnTo>
                  <a:pt x="292" y="368"/>
                </a:lnTo>
                <a:cubicBezTo>
                  <a:pt x="300" y="368"/>
                  <a:pt x="300" y="384"/>
                  <a:pt x="308" y="384"/>
                </a:cubicBezTo>
                <a:cubicBezTo>
                  <a:pt x="308" y="392"/>
                  <a:pt x="308" y="392"/>
                  <a:pt x="316" y="392"/>
                </a:cubicBezTo>
                <a:lnTo>
                  <a:pt x="325" y="392"/>
                </a:lnTo>
                <a:lnTo>
                  <a:pt x="325" y="400"/>
                </a:lnTo>
                <a:cubicBezTo>
                  <a:pt x="333" y="400"/>
                  <a:pt x="349" y="416"/>
                  <a:pt x="349" y="416"/>
                </a:cubicBezTo>
                <a:lnTo>
                  <a:pt x="357" y="423"/>
                </a:lnTo>
                <a:lnTo>
                  <a:pt x="373" y="423"/>
                </a:lnTo>
                <a:cubicBezTo>
                  <a:pt x="373" y="423"/>
                  <a:pt x="381" y="423"/>
                  <a:pt x="381" y="431"/>
                </a:cubicBezTo>
                <a:cubicBezTo>
                  <a:pt x="381" y="439"/>
                  <a:pt x="389" y="439"/>
                  <a:pt x="389" y="447"/>
                </a:cubicBezTo>
                <a:cubicBezTo>
                  <a:pt x="389" y="455"/>
                  <a:pt x="397" y="455"/>
                  <a:pt x="397" y="463"/>
                </a:cubicBezTo>
                <a:lnTo>
                  <a:pt x="406" y="478"/>
                </a:lnTo>
                <a:lnTo>
                  <a:pt x="454" y="494"/>
                </a:lnTo>
                <a:lnTo>
                  <a:pt x="462" y="510"/>
                </a:lnTo>
                <a:lnTo>
                  <a:pt x="470" y="525"/>
                </a:lnTo>
                <a:cubicBezTo>
                  <a:pt x="479" y="533"/>
                  <a:pt x="487" y="533"/>
                  <a:pt x="487" y="533"/>
                </a:cubicBezTo>
                <a:lnTo>
                  <a:pt x="511" y="557"/>
                </a:lnTo>
                <a:lnTo>
                  <a:pt x="535" y="565"/>
                </a:lnTo>
                <a:cubicBezTo>
                  <a:pt x="535" y="565"/>
                  <a:pt x="551" y="572"/>
                  <a:pt x="560" y="572"/>
                </a:cubicBezTo>
                <a:cubicBezTo>
                  <a:pt x="560" y="572"/>
                  <a:pt x="576" y="580"/>
                  <a:pt x="584" y="580"/>
                </a:cubicBezTo>
                <a:cubicBezTo>
                  <a:pt x="584" y="588"/>
                  <a:pt x="592" y="612"/>
                  <a:pt x="592" y="612"/>
                </a:cubicBezTo>
                <a:cubicBezTo>
                  <a:pt x="600" y="612"/>
                  <a:pt x="616" y="627"/>
                  <a:pt x="616" y="643"/>
                </a:cubicBezTo>
                <a:cubicBezTo>
                  <a:pt x="624" y="651"/>
                  <a:pt x="624" y="651"/>
                  <a:pt x="624" y="667"/>
                </a:cubicBezTo>
                <a:cubicBezTo>
                  <a:pt x="632" y="675"/>
                  <a:pt x="649" y="690"/>
                  <a:pt x="649" y="690"/>
                </a:cubicBezTo>
                <a:lnTo>
                  <a:pt x="657" y="706"/>
                </a:lnTo>
                <a:cubicBezTo>
                  <a:pt x="665" y="714"/>
                  <a:pt x="673" y="722"/>
                  <a:pt x="673" y="729"/>
                </a:cubicBezTo>
                <a:lnTo>
                  <a:pt x="673" y="737"/>
                </a:lnTo>
                <a:lnTo>
                  <a:pt x="673" y="745"/>
                </a:lnTo>
                <a:cubicBezTo>
                  <a:pt x="673" y="745"/>
                  <a:pt x="681" y="761"/>
                  <a:pt x="681" y="769"/>
                </a:cubicBezTo>
                <a:lnTo>
                  <a:pt x="689" y="784"/>
                </a:lnTo>
                <a:lnTo>
                  <a:pt x="689" y="792"/>
                </a:lnTo>
                <a:lnTo>
                  <a:pt x="697" y="816"/>
                </a:lnTo>
                <a:lnTo>
                  <a:pt x="689" y="831"/>
                </a:lnTo>
                <a:cubicBezTo>
                  <a:pt x="689" y="831"/>
                  <a:pt x="681" y="839"/>
                  <a:pt x="689" y="839"/>
                </a:cubicBezTo>
                <a:cubicBezTo>
                  <a:pt x="697" y="839"/>
                  <a:pt x="705" y="847"/>
                  <a:pt x="697" y="855"/>
                </a:cubicBezTo>
                <a:lnTo>
                  <a:pt x="689" y="871"/>
                </a:lnTo>
                <a:lnTo>
                  <a:pt x="689" y="879"/>
                </a:lnTo>
                <a:lnTo>
                  <a:pt x="681" y="894"/>
                </a:lnTo>
                <a:lnTo>
                  <a:pt x="697" y="902"/>
                </a:lnTo>
                <a:cubicBezTo>
                  <a:pt x="697" y="910"/>
                  <a:pt x="705" y="918"/>
                  <a:pt x="697" y="926"/>
                </a:cubicBezTo>
                <a:lnTo>
                  <a:pt x="697" y="941"/>
                </a:lnTo>
                <a:lnTo>
                  <a:pt x="697" y="957"/>
                </a:lnTo>
                <a:cubicBezTo>
                  <a:pt x="697" y="957"/>
                  <a:pt x="713" y="965"/>
                  <a:pt x="705" y="973"/>
                </a:cubicBezTo>
                <a:lnTo>
                  <a:pt x="705" y="988"/>
                </a:lnTo>
                <a:cubicBezTo>
                  <a:pt x="713" y="1004"/>
                  <a:pt x="730" y="1028"/>
                  <a:pt x="730" y="1028"/>
                </a:cubicBezTo>
                <a:lnTo>
                  <a:pt x="738" y="1043"/>
                </a:lnTo>
                <a:cubicBezTo>
                  <a:pt x="738" y="1051"/>
                  <a:pt x="730" y="1051"/>
                  <a:pt x="738" y="1059"/>
                </a:cubicBezTo>
                <a:cubicBezTo>
                  <a:pt x="738" y="1059"/>
                  <a:pt x="730" y="1067"/>
                  <a:pt x="738" y="1067"/>
                </a:cubicBezTo>
                <a:cubicBezTo>
                  <a:pt x="746" y="1075"/>
                  <a:pt x="754" y="1090"/>
                  <a:pt x="754" y="1090"/>
                </a:cubicBezTo>
                <a:lnTo>
                  <a:pt x="762" y="1098"/>
                </a:lnTo>
                <a:lnTo>
                  <a:pt x="762" y="1122"/>
                </a:lnTo>
                <a:cubicBezTo>
                  <a:pt x="762" y="1130"/>
                  <a:pt x="770" y="1130"/>
                  <a:pt x="762" y="1130"/>
                </a:cubicBezTo>
                <a:lnTo>
                  <a:pt x="754" y="1137"/>
                </a:lnTo>
                <a:lnTo>
                  <a:pt x="746" y="1153"/>
                </a:lnTo>
                <a:cubicBezTo>
                  <a:pt x="746" y="1153"/>
                  <a:pt x="754" y="1161"/>
                  <a:pt x="762" y="1161"/>
                </a:cubicBezTo>
                <a:lnTo>
                  <a:pt x="770" y="1161"/>
                </a:lnTo>
                <a:lnTo>
                  <a:pt x="786" y="1177"/>
                </a:lnTo>
                <a:lnTo>
                  <a:pt x="786" y="1192"/>
                </a:lnTo>
                <a:lnTo>
                  <a:pt x="802" y="1192"/>
                </a:lnTo>
              </a:path>
            </a:pathLst>
          </a:custGeom>
          <a:solidFill>
            <a:srgbClr val="EAEBED">
              <a:alpha val="50000"/>
            </a:srgbClr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95" name="Freeform 87">
            <a:extLst>
              <a:ext uri="{FF2B5EF4-FFF2-40B4-BE49-F238E27FC236}">
                <a16:creationId xmlns:a16="http://schemas.microsoft.com/office/drawing/2014/main" id="{EE866D90-636E-508C-F7B1-D568E4C3D18C}"/>
              </a:ext>
            </a:extLst>
          </p:cNvPr>
          <p:cNvSpPr>
            <a:spLocks noChangeArrowheads="1"/>
          </p:cNvSpPr>
          <p:nvPr>
            <p:custDataLst>
              <p:tags r:id="rId87"/>
            </p:custDataLst>
          </p:nvPr>
        </p:nvSpPr>
        <p:spPr bwMode="auto">
          <a:xfrm>
            <a:off x="9092335" y="3984678"/>
            <a:ext cx="516196" cy="490839"/>
          </a:xfrm>
          <a:custGeom>
            <a:avLst/>
            <a:gdLst>
              <a:gd name="T0" fmla="*/ 892 w 1257"/>
              <a:gd name="T1" fmla="*/ 1137 h 1193"/>
              <a:gd name="T2" fmla="*/ 867 w 1257"/>
              <a:gd name="T3" fmla="*/ 1075 h 1193"/>
              <a:gd name="T4" fmla="*/ 908 w 1257"/>
              <a:gd name="T5" fmla="*/ 996 h 1193"/>
              <a:gd name="T6" fmla="*/ 948 w 1257"/>
              <a:gd name="T7" fmla="*/ 910 h 1193"/>
              <a:gd name="T8" fmla="*/ 932 w 1257"/>
              <a:gd name="T9" fmla="*/ 816 h 1193"/>
              <a:gd name="T10" fmla="*/ 924 w 1257"/>
              <a:gd name="T11" fmla="*/ 690 h 1193"/>
              <a:gd name="T12" fmla="*/ 997 w 1257"/>
              <a:gd name="T13" fmla="*/ 722 h 1193"/>
              <a:gd name="T14" fmla="*/ 1037 w 1257"/>
              <a:gd name="T15" fmla="*/ 706 h 1193"/>
              <a:gd name="T16" fmla="*/ 1102 w 1257"/>
              <a:gd name="T17" fmla="*/ 706 h 1193"/>
              <a:gd name="T18" fmla="*/ 1159 w 1257"/>
              <a:gd name="T19" fmla="*/ 675 h 1193"/>
              <a:gd name="T20" fmla="*/ 1256 w 1257"/>
              <a:gd name="T21" fmla="*/ 651 h 1193"/>
              <a:gd name="T22" fmla="*/ 1159 w 1257"/>
              <a:gd name="T23" fmla="*/ 604 h 1193"/>
              <a:gd name="T24" fmla="*/ 1143 w 1257"/>
              <a:gd name="T25" fmla="*/ 494 h 1193"/>
              <a:gd name="T26" fmla="*/ 1062 w 1257"/>
              <a:gd name="T27" fmla="*/ 486 h 1193"/>
              <a:gd name="T28" fmla="*/ 1013 w 1257"/>
              <a:gd name="T29" fmla="*/ 423 h 1193"/>
              <a:gd name="T30" fmla="*/ 989 w 1257"/>
              <a:gd name="T31" fmla="*/ 376 h 1193"/>
              <a:gd name="T32" fmla="*/ 940 w 1257"/>
              <a:gd name="T33" fmla="*/ 345 h 1193"/>
              <a:gd name="T34" fmla="*/ 875 w 1257"/>
              <a:gd name="T35" fmla="*/ 298 h 1193"/>
              <a:gd name="T36" fmla="*/ 835 w 1257"/>
              <a:gd name="T37" fmla="*/ 251 h 1193"/>
              <a:gd name="T38" fmla="*/ 811 w 1257"/>
              <a:gd name="T39" fmla="*/ 164 h 1193"/>
              <a:gd name="T40" fmla="*/ 754 w 1257"/>
              <a:gd name="T41" fmla="*/ 102 h 1193"/>
              <a:gd name="T42" fmla="*/ 665 w 1257"/>
              <a:gd name="T43" fmla="*/ 62 h 1193"/>
              <a:gd name="T44" fmla="*/ 559 w 1257"/>
              <a:gd name="T45" fmla="*/ 110 h 1193"/>
              <a:gd name="T46" fmla="*/ 527 w 1257"/>
              <a:gd name="T47" fmla="*/ 86 h 1193"/>
              <a:gd name="T48" fmla="*/ 519 w 1257"/>
              <a:gd name="T49" fmla="*/ 55 h 1193"/>
              <a:gd name="T50" fmla="*/ 470 w 1257"/>
              <a:gd name="T51" fmla="*/ 62 h 1193"/>
              <a:gd name="T52" fmla="*/ 430 w 1257"/>
              <a:gd name="T53" fmla="*/ 47 h 1193"/>
              <a:gd name="T54" fmla="*/ 341 w 1257"/>
              <a:gd name="T55" fmla="*/ 23 h 1193"/>
              <a:gd name="T56" fmla="*/ 268 w 1257"/>
              <a:gd name="T57" fmla="*/ 8 h 1193"/>
              <a:gd name="T58" fmla="*/ 219 w 1257"/>
              <a:gd name="T59" fmla="*/ 47 h 1193"/>
              <a:gd name="T60" fmla="*/ 171 w 1257"/>
              <a:gd name="T61" fmla="*/ 86 h 1193"/>
              <a:gd name="T62" fmla="*/ 106 w 1257"/>
              <a:gd name="T63" fmla="*/ 110 h 1193"/>
              <a:gd name="T64" fmla="*/ 73 w 1257"/>
              <a:gd name="T65" fmla="*/ 125 h 1193"/>
              <a:gd name="T66" fmla="*/ 17 w 1257"/>
              <a:gd name="T67" fmla="*/ 149 h 1193"/>
              <a:gd name="T68" fmla="*/ 81 w 1257"/>
              <a:gd name="T69" fmla="*/ 172 h 1193"/>
              <a:gd name="T70" fmla="*/ 138 w 1257"/>
              <a:gd name="T71" fmla="*/ 188 h 1193"/>
              <a:gd name="T72" fmla="*/ 187 w 1257"/>
              <a:gd name="T73" fmla="*/ 235 h 1193"/>
              <a:gd name="T74" fmla="*/ 227 w 1257"/>
              <a:gd name="T75" fmla="*/ 274 h 1193"/>
              <a:gd name="T76" fmla="*/ 252 w 1257"/>
              <a:gd name="T77" fmla="*/ 321 h 1193"/>
              <a:gd name="T78" fmla="*/ 292 w 1257"/>
              <a:gd name="T79" fmla="*/ 368 h 1193"/>
              <a:gd name="T80" fmla="*/ 349 w 1257"/>
              <a:gd name="T81" fmla="*/ 416 h 1193"/>
              <a:gd name="T82" fmla="*/ 397 w 1257"/>
              <a:gd name="T83" fmla="*/ 463 h 1193"/>
              <a:gd name="T84" fmla="*/ 487 w 1257"/>
              <a:gd name="T85" fmla="*/ 533 h 1193"/>
              <a:gd name="T86" fmla="*/ 592 w 1257"/>
              <a:gd name="T87" fmla="*/ 612 h 1193"/>
              <a:gd name="T88" fmla="*/ 673 w 1257"/>
              <a:gd name="T89" fmla="*/ 729 h 1193"/>
              <a:gd name="T90" fmla="*/ 689 w 1257"/>
              <a:gd name="T91" fmla="*/ 792 h 1193"/>
              <a:gd name="T92" fmla="*/ 689 w 1257"/>
              <a:gd name="T93" fmla="*/ 871 h 1193"/>
              <a:gd name="T94" fmla="*/ 697 w 1257"/>
              <a:gd name="T95" fmla="*/ 941 h 1193"/>
              <a:gd name="T96" fmla="*/ 738 w 1257"/>
              <a:gd name="T97" fmla="*/ 1043 h 1193"/>
              <a:gd name="T98" fmla="*/ 762 w 1257"/>
              <a:gd name="T99" fmla="*/ 1122 h 1193"/>
              <a:gd name="T100" fmla="*/ 770 w 1257"/>
              <a:gd name="T101" fmla="*/ 1161 h 1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257" h="1193">
                <a:moveTo>
                  <a:pt x="802" y="1192"/>
                </a:moveTo>
                <a:lnTo>
                  <a:pt x="811" y="1161"/>
                </a:lnTo>
                <a:cubicBezTo>
                  <a:pt x="811" y="1161"/>
                  <a:pt x="835" y="1153"/>
                  <a:pt x="843" y="1153"/>
                </a:cubicBezTo>
                <a:cubicBezTo>
                  <a:pt x="851" y="1145"/>
                  <a:pt x="859" y="1153"/>
                  <a:pt x="867" y="1145"/>
                </a:cubicBezTo>
                <a:cubicBezTo>
                  <a:pt x="875" y="1145"/>
                  <a:pt x="892" y="1137"/>
                  <a:pt x="892" y="1137"/>
                </a:cubicBezTo>
                <a:lnTo>
                  <a:pt x="883" y="1137"/>
                </a:lnTo>
                <a:lnTo>
                  <a:pt x="883" y="1122"/>
                </a:lnTo>
                <a:lnTo>
                  <a:pt x="892" y="1106"/>
                </a:lnTo>
                <a:lnTo>
                  <a:pt x="859" y="1090"/>
                </a:lnTo>
                <a:lnTo>
                  <a:pt x="867" y="1075"/>
                </a:lnTo>
                <a:cubicBezTo>
                  <a:pt x="867" y="1075"/>
                  <a:pt x="859" y="1059"/>
                  <a:pt x="867" y="1059"/>
                </a:cubicBezTo>
                <a:cubicBezTo>
                  <a:pt x="875" y="1059"/>
                  <a:pt x="875" y="1035"/>
                  <a:pt x="875" y="1035"/>
                </a:cubicBezTo>
                <a:lnTo>
                  <a:pt x="884" y="1020"/>
                </a:lnTo>
                <a:lnTo>
                  <a:pt x="900" y="1020"/>
                </a:lnTo>
                <a:cubicBezTo>
                  <a:pt x="900" y="1020"/>
                  <a:pt x="900" y="1004"/>
                  <a:pt x="908" y="996"/>
                </a:cubicBezTo>
                <a:lnTo>
                  <a:pt x="916" y="988"/>
                </a:lnTo>
                <a:lnTo>
                  <a:pt x="908" y="965"/>
                </a:lnTo>
                <a:cubicBezTo>
                  <a:pt x="908" y="965"/>
                  <a:pt x="892" y="941"/>
                  <a:pt x="900" y="941"/>
                </a:cubicBezTo>
                <a:cubicBezTo>
                  <a:pt x="908" y="941"/>
                  <a:pt x="916" y="933"/>
                  <a:pt x="916" y="933"/>
                </a:cubicBezTo>
                <a:cubicBezTo>
                  <a:pt x="916" y="933"/>
                  <a:pt x="940" y="910"/>
                  <a:pt x="948" y="910"/>
                </a:cubicBezTo>
                <a:cubicBezTo>
                  <a:pt x="948" y="910"/>
                  <a:pt x="965" y="894"/>
                  <a:pt x="965" y="886"/>
                </a:cubicBezTo>
                <a:cubicBezTo>
                  <a:pt x="956" y="879"/>
                  <a:pt x="948" y="871"/>
                  <a:pt x="948" y="871"/>
                </a:cubicBezTo>
                <a:lnTo>
                  <a:pt x="956" y="839"/>
                </a:lnTo>
                <a:cubicBezTo>
                  <a:pt x="956" y="839"/>
                  <a:pt x="965" y="824"/>
                  <a:pt x="956" y="824"/>
                </a:cubicBezTo>
                <a:cubicBezTo>
                  <a:pt x="948" y="816"/>
                  <a:pt x="932" y="816"/>
                  <a:pt x="932" y="816"/>
                </a:cubicBezTo>
                <a:lnTo>
                  <a:pt x="916" y="800"/>
                </a:lnTo>
                <a:lnTo>
                  <a:pt x="916" y="777"/>
                </a:lnTo>
                <a:lnTo>
                  <a:pt x="900" y="753"/>
                </a:lnTo>
                <a:lnTo>
                  <a:pt x="900" y="729"/>
                </a:lnTo>
                <a:cubicBezTo>
                  <a:pt x="908" y="729"/>
                  <a:pt x="924" y="698"/>
                  <a:pt x="924" y="690"/>
                </a:cubicBezTo>
                <a:cubicBezTo>
                  <a:pt x="932" y="690"/>
                  <a:pt x="965" y="659"/>
                  <a:pt x="965" y="659"/>
                </a:cubicBezTo>
                <a:lnTo>
                  <a:pt x="981" y="698"/>
                </a:lnTo>
                <a:lnTo>
                  <a:pt x="981" y="729"/>
                </a:lnTo>
                <a:cubicBezTo>
                  <a:pt x="981" y="729"/>
                  <a:pt x="973" y="745"/>
                  <a:pt x="981" y="745"/>
                </a:cubicBezTo>
                <a:cubicBezTo>
                  <a:pt x="997" y="737"/>
                  <a:pt x="997" y="722"/>
                  <a:pt x="997" y="722"/>
                </a:cubicBezTo>
                <a:lnTo>
                  <a:pt x="1005" y="714"/>
                </a:lnTo>
                <a:cubicBezTo>
                  <a:pt x="1005" y="714"/>
                  <a:pt x="989" y="690"/>
                  <a:pt x="997" y="690"/>
                </a:cubicBezTo>
                <a:cubicBezTo>
                  <a:pt x="1005" y="690"/>
                  <a:pt x="1005" y="675"/>
                  <a:pt x="1005" y="690"/>
                </a:cubicBezTo>
                <a:cubicBezTo>
                  <a:pt x="1013" y="698"/>
                  <a:pt x="1013" y="714"/>
                  <a:pt x="1021" y="706"/>
                </a:cubicBezTo>
                <a:cubicBezTo>
                  <a:pt x="1037" y="706"/>
                  <a:pt x="1037" y="714"/>
                  <a:pt x="1037" y="706"/>
                </a:cubicBezTo>
                <a:cubicBezTo>
                  <a:pt x="1046" y="698"/>
                  <a:pt x="1046" y="690"/>
                  <a:pt x="1046" y="690"/>
                </a:cubicBezTo>
                <a:lnTo>
                  <a:pt x="1054" y="682"/>
                </a:lnTo>
                <a:cubicBezTo>
                  <a:pt x="1054" y="682"/>
                  <a:pt x="1054" y="698"/>
                  <a:pt x="1062" y="698"/>
                </a:cubicBezTo>
                <a:lnTo>
                  <a:pt x="1086" y="698"/>
                </a:lnTo>
                <a:lnTo>
                  <a:pt x="1102" y="706"/>
                </a:lnTo>
                <a:cubicBezTo>
                  <a:pt x="1102" y="706"/>
                  <a:pt x="1110" y="706"/>
                  <a:pt x="1110" y="698"/>
                </a:cubicBezTo>
                <a:lnTo>
                  <a:pt x="1110" y="682"/>
                </a:lnTo>
                <a:lnTo>
                  <a:pt x="1127" y="675"/>
                </a:lnTo>
                <a:lnTo>
                  <a:pt x="1127" y="651"/>
                </a:lnTo>
                <a:lnTo>
                  <a:pt x="1159" y="675"/>
                </a:lnTo>
                <a:lnTo>
                  <a:pt x="1167" y="698"/>
                </a:lnTo>
                <a:lnTo>
                  <a:pt x="1183" y="690"/>
                </a:lnTo>
                <a:lnTo>
                  <a:pt x="1191" y="667"/>
                </a:lnTo>
                <a:cubicBezTo>
                  <a:pt x="1191" y="667"/>
                  <a:pt x="1216" y="667"/>
                  <a:pt x="1224" y="659"/>
                </a:cubicBezTo>
                <a:cubicBezTo>
                  <a:pt x="1232" y="659"/>
                  <a:pt x="1256" y="651"/>
                  <a:pt x="1256" y="651"/>
                </a:cubicBezTo>
                <a:cubicBezTo>
                  <a:pt x="1256" y="643"/>
                  <a:pt x="1240" y="635"/>
                  <a:pt x="1232" y="643"/>
                </a:cubicBezTo>
                <a:cubicBezTo>
                  <a:pt x="1224" y="643"/>
                  <a:pt x="1208" y="651"/>
                  <a:pt x="1199" y="643"/>
                </a:cubicBezTo>
                <a:cubicBezTo>
                  <a:pt x="1199" y="635"/>
                  <a:pt x="1183" y="620"/>
                  <a:pt x="1183" y="620"/>
                </a:cubicBezTo>
                <a:lnTo>
                  <a:pt x="1167" y="620"/>
                </a:lnTo>
                <a:cubicBezTo>
                  <a:pt x="1167" y="620"/>
                  <a:pt x="1151" y="612"/>
                  <a:pt x="1159" y="604"/>
                </a:cubicBezTo>
                <a:cubicBezTo>
                  <a:pt x="1167" y="596"/>
                  <a:pt x="1175" y="596"/>
                  <a:pt x="1175" y="596"/>
                </a:cubicBezTo>
                <a:cubicBezTo>
                  <a:pt x="1175" y="596"/>
                  <a:pt x="1167" y="580"/>
                  <a:pt x="1167" y="572"/>
                </a:cubicBezTo>
                <a:cubicBezTo>
                  <a:pt x="1167" y="565"/>
                  <a:pt x="1167" y="549"/>
                  <a:pt x="1159" y="541"/>
                </a:cubicBezTo>
                <a:lnTo>
                  <a:pt x="1143" y="510"/>
                </a:lnTo>
                <a:lnTo>
                  <a:pt x="1143" y="494"/>
                </a:lnTo>
                <a:lnTo>
                  <a:pt x="1127" y="502"/>
                </a:lnTo>
                <a:lnTo>
                  <a:pt x="1110" y="486"/>
                </a:lnTo>
                <a:cubicBezTo>
                  <a:pt x="1110" y="486"/>
                  <a:pt x="1094" y="486"/>
                  <a:pt x="1094" y="494"/>
                </a:cubicBezTo>
                <a:cubicBezTo>
                  <a:pt x="1086" y="494"/>
                  <a:pt x="1078" y="486"/>
                  <a:pt x="1078" y="486"/>
                </a:cubicBezTo>
                <a:lnTo>
                  <a:pt x="1062" y="486"/>
                </a:lnTo>
                <a:lnTo>
                  <a:pt x="1046" y="486"/>
                </a:lnTo>
                <a:cubicBezTo>
                  <a:pt x="1037" y="486"/>
                  <a:pt x="1021" y="478"/>
                  <a:pt x="1013" y="478"/>
                </a:cubicBezTo>
                <a:lnTo>
                  <a:pt x="1013" y="463"/>
                </a:lnTo>
                <a:cubicBezTo>
                  <a:pt x="1021" y="455"/>
                  <a:pt x="1021" y="447"/>
                  <a:pt x="1021" y="447"/>
                </a:cubicBezTo>
                <a:cubicBezTo>
                  <a:pt x="1021" y="447"/>
                  <a:pt x="1021" y="423"/>
                  <a:pt x="1013" y="423"/>
                </a:cubicBezTo>
                <a:lnTo>
                  <a:pt x="989" y="423"/>
                </a:lnTo>
                <a:lnTo>
                  <a:pt x="973" y="416"/>
                </a:lnTo>
                <a:lnTo>
                  <a:pt x="997" y="408"/>
                </a:lnTo>
                <a:lnTo>
                  <a:pt x="989" y="392"/>
                </a:lnTo>
                <a:lnTo>
                  <a:pt x="989" y="376"/>
                </a:lnTo>
                <a:cubicBezTo>
                  <a:pt x="989" y="368"/>
                  <a:pt x="981" y="361"/>
                  <a:pt x="981" y="361"/>
                </a:cubicBezTo>
                <a:lnTo>
                  <a:pt x="981" y="329"/>
                </a:lnTo>
                <a:lnTo>
                  <a:pt x="965" y="329"/>
                </a:lnTo>
                <a:lnTo>
                  <a:pt x="948" y="321"/>
                </a:lnTo>
                <a:lnTo>
                  <a:pt x="940" y="345"/>
                </a:lnTo>
                <a:lnTo>
                  <a:pt x="924" y="353"/>
                </a:lnTo>
                <a:lnTo>
                  <a:pt x="916" y="329"/>
                </a:lnTo>
                <a:lnTo>
                  <a:pt x="900" y="321"/>
                </a:lnTo>
                <a:lnTo>
                  <a:pt x="892" y="321"/>
                </a:lnTo>
                <a:lnTo>
                  <a:pt x="875" y="298"/>
                </a:lnTo>
                <a:lnTo>
                  <a:pt x="859" y="298"/>
                </a:lnTo>
                <a:cubicBezTo>
                  <a:pt x="859" y="298"/>
                  <a:pt x="851" y="321"/>
                  <a:pt x="843" y="306"/>
                </a:cubicBezTo>
                <a:cubicBezTo>
                  <a:pt x="835" y="298"/>
                  <a:pt x="835" y="274"/>
                  <a:pt x="835" y="274"/>
                </a:cubicBezTo>
                <a:lnTo>
                  <a:pt x="827" y="266"/>
                </a:lnTo>
                <a:lnTo>
                  <a:pt x="835" y="251"/>
                </a:lnTo>
                <a:lnTo>
                  <a:pt x="835" y="227"/>
                </a:lnTo>
                <a:lnTo>
                  <a:pt x="827" y="212"/>
                </a:lnTo>
                <a:cubicBezTo>
                  <a:pt x="827" y="204"/>
                  <a:pt x="819" y="188"/>
                  <a:pt x="819" y="188"/>
                </a:cubicBezTo>
                <a:lnTo>
                  <a:pt x="827" y="172"/>
                </a:lnTo>
                <a:lnTo>
                  <a:pt x="811" y="164"/>
                </a:lnTo>
                <a:lnTo>
                  <a:pt x="811" y="133"/>
                </a:lnTo>
                <a:lnTo>
                  <a:pt x="786" y="125"/>
                </a:lnTo>
                <a:cubicBezTo>
                  <a:pt x="786" y="125"/>
                  <a:pt x="786" y="117"/>
                  <a:pt x="778" y="110"/>
                </a:cubicBezTo>
                <a:lnTo>
                  <a:pt x="762" y="94"/>
                </a:lnTo>
                <a:cubicBezTo>
                  <a:pt x="762" y="94"/>
                  <a:pt x="754" y="94"/>
                  <a:pt x="754" y="102"/>
                </a:cubicBezTo>
                <a:cubicBezTo>
                  <a:pt x="746" y="110"/>
                  <a:pt x="746" y="125"/>
                  <a:pt x="738" y="125"/>
                </a:cubicBezTo>
                <a:cubicBezTo>
                  <a:pt x="738" y="125"/>
                  <a:pt x="746" y="125"/>
                  <a:pt x="722" y="125"/>
                </a:cubicBezTo>
                <a:cubicBezTo>
                  <a:pt x="705" y="117"/>
                  <a:pt x="705" y="117"/>
                  <a:pt x="697" y="110"/>
                </a:cubicBezTo>
                <a:cubicBezTo>
                  <a:pt x="689" y="110"/>
                  <a:pt x="673" y="94"/>
                  <a:pt x="673" y="94"/>
                </a:cubicBezTo>
                <a:lnTo>
                  <a:pt x="665" y="62"/>
                </a:lnTo>
                <a:lnTo>
                  <a:pt x="649" y="62"/>
                </a:lnTo>
                <a:cubicBezTo>
                  <a:pt x="649" y="62"/>
                  <a:pt x="673" y="70"/>
                  <a:pt x="641" y="70"/>
                </a:cubicBezTo>
                <a:lnTo>
                  <a:pt x="576" y="70"/>
                </a:lnTo>
                <a:lnTo>
                  <a:pt x="568" y="86"/>
                </a:lnTo>
                <a:cubicBezTo>
                  <a:pt x="568" y="86"/>
                  <a:pt x="559" y="102"/>
                  <a:pt x="559" y="110"/>
                </a:cubicBezTo>
                <a:cubicBezTo>
                  <a:pt x="559" y="110"/>
                  <a:pt x="568" y="117"/>
                  <a:pt x="559" y="110"/>
                </a:cubicBezTo>
                <a:cubicBezTo>
                  <a:pt x="559" y="102"/>
                  <a:pt x="551" y="102"/>
                  <a:pt x="551" y="94"/>
                </a:cubicBezTo>
                <a:lnTo>
                  <a:pt x="551" y="86"/>
                </a:lnTo>
                <a:cubicBezTo>
                  <a:pt x="551" y="78"/>
                  <a:pt x="535" y="70"/>
                  <a:pt x="535" y="70"/>
                </a:cubicBezTo>
                <a:lnTo>
                  <a:pt x="527" y="86"/>
                </a:lnTo>
                <a:cubicBezTo>
                  <a:pt x="527" y="86"/>
                  <a:pt x="535" y="94"/>
                  <a:pt x="519" y="94"/>
                </a:cubicBezTo>
                <a:lnTo>
                  <a:pt x="511" y="102"/>
                </a:lnTo>
                <a:cubicBezTo>
                  <a:pt x="511" y="94"/>
                  <a:pt x="519" y="86"/>
                  <a:pt x="519" y="86"/>
                </a:cubicBezTo>
                <a:lnTo>
                  <a:pt x="527" y="70"/>
                </a:lnTo>
                <a:cubicBezTo>
                  <a:pt x="527" y="70"/>
                  <a:pt x="527" y="55"/>
                  <a:pt x="519" y="55"/>
                </a:cubicBezTo>
                <a:lnTo>
                  <a:pt x="495" y="55"/>
                </a:lnTo>
                <a:lnTo>
                  <a:pt x="487" y="62"/>
                </a:lnTo>
                <a:cubicBezTo>
                  <a:pt x="487" y="62"/>
                  <a:pt x="495" y="70"/>
                  <a:pt x="487" y="70"/>
                </a:cubicBezTo>
                <a:cubicBezTo>
                  <a:pt x="487" y="70"/>
                  <a:pt x="478" y="70"/>
                  <a:pt x="478" y="78"/>
                </a:cubicBezTo>
                <a:cubicBezTo>
                  <a:pt x="470" y="78"/>
                  <a:pt x="470" y="62"/>
                  <a:pt x="470" y="62"/>
                </a:cubicBezTo>
                <a:lnTo>
                  <a:pt x="462" y="55"/>
                </a:lnTo>
                <a:cubicBezTo>
                  <a:pt x="462" y="62"/>
                  <a:pt x="454" y="78"/>
                  <a:pt x="454" y="78"/>
                </a:cubicBezTo>
                <a:cubicBezTo>
                  <a:pt x="446" y="78"/>
                  <a:pt x="446" y="78"/>
                  <a:pt x="446" y="70"/>
                </a:cubicBezTo>
                <a:cubicBezTo>
                  <a:pt x="438" y="70"/>
                  <a:pt x="438" y="55"/>
                  <a:pt x="438" y="55"/>
                </a:cubicBezTo>
                <a:lnTo>
                  <a:pt x="430" y="47"/>
                </a:lnTo>
                <a:lnTo>
                  <a:pt x="397" y="47"/>
                </a:lnTo>
                <a:cubicBezTo>
                  <a:pt x="397" y="47"/>
                  <a:pt x="381" y="47"/>
                  <a:pt x="381" y="39"/>
                </a:cubicBezTo>
                <a:cubicBezTo>
                  <a:pt x="373" y="31"/>
                  <a:pt x="365" y="31"/>
                  <a:pt x="365" y="31"/>
                </a:cubicBezTo>
                <a:lnTo>
                  <a:pt x="357" y="23"/>
                </a:lnTo>
                <a:lnTo>
                  <a:pt x="341" y="23"/>
                </a:lnTo>
                <a:cubicBezTo>
                  <a:pt x="333" y="15"/>
                  <a:pt x="341" y="15"/>
                  <a:pt x="325" y="15"/>
                </a:cubicBezTo>
                <a:cubicBezTo>
                  <a:pt x="308" y="15"/>
                  <a:pt x="308" y="31"/>
                  <a:pt x="300" y="23"/>
                </a:cubicBezTo>
                <a:lnTo>
                  <a:pt x="284" y="23"/>
                </a:lnTo>
                <a:lnTo>
                  <a:pt x="276" y="15"/>
                </a:lnTo>
                <a:cubicBezTo>
                  <a:pt x="276" y="8"/>
                  <a:pt x="268" y="0"/>
                  <a:pt x="268" y="8"/>
                </a:cubicBezTo>
                <a:cubicBezTo>
                  <a:pt x="268" y="23"/>
                  <a:pt x="268" y="15"/>
                  <a:pt x="260" y="23"/>
                </a:cubicBezTo>
                <a:cubicBezTo>
                  <a:pt x="260" y="31"/>
                  <a:pt x="244" y="39"/>
                  <a:pt x="244" y="39"/>
                </a:cubicBezTo>
                <a:cubicBezTo>
                  <a:pt x="244" y="39"/>
                  <a:pt x="235" y="39"/>
                  <a:pt x="235" y="47"/>
                </a:cubicBezTo>
                <a:lnTo>
                  <a:pt x="227" y="55"/>
                </a:lnTo>
                <a:cubicBezTo>
                  <a:pt x="227" y="55"/>
                  <a:pt x="227" y="47"/>
                  <a:pt x="219" y="47"/>
                </a:cubicBezTo>
                <a:cubicBezTo>
                  <a:pt x="219" y="47"/>
                  <a:pt x="203" y="47"/>
                  <a:pt x="203" y="55"/>
                </a:cubicBezTo>
                <a:lnTo>
                  <a:pt x="203" y="70"/>
                </a:lnTo>
                <a:lnTo>
                  <a:pt x="195" y="78"/>
                </a:lnTo>
                <a:lnTo>
                  <a:pt x="179" y="86"/>
                </a:lnTo>
                <a:lnTo>
                  <a:pt x="171" y="86"/>
                </a:lnTo>
                <a:lnTo>
                  <a:pt x="146" y="86"/>
                </a:lnTo>
                <a:lnTo>
                  <a:pt x="130" y="86"/>
                </a:lnTo>
                <a:lnTo>
                  <a:pt x="130" y="94"/>
                </a:lnTo>
                <a:lnTo>
                  <a:pt x="122" y="102"/>
                </a:lnTo>
                <a:cubicBezTo>
                  <a:pt x="122" y="102"/>
                  <a:pt x="114" y="117"/>
                  <a:pt x="106" y="110"/>
                </a:cubicBezTo>
                <a:lnTo>
                  <a:pt x="98" y="110"/>
                </a:lnTo>
                <a:lnTo>
                  <a:pt x="81" y="102"/>
                </a:lnTo>
                <a:lnTo>
                  <a:pt x="73" y="110"/>
                </a:lnTo>
                <a:lnTo>
                  <a:pt x="65" y="110"/>
                </a:lnTo>
                <a:cubicBezTo>
                  <a:pt x="65" y="110"/>
                  <a:pt x="65" y="117"/>
                  <a:pt x="73" y="125"/>
                </a:cubicBezTo>
                <a:lnTo>
                  <a:pt x="73" y="141"/>
                </a:lnTo>
                <a:lnTo>
                  <a:pt x="65" y="149"/>
                </a:lnTo>
                <a:cubicBezTo>
                  <a:pt x="57" y="149"/>
                  <a:pt x="49" y="141"/>
                  <a:pt x="49" y="141"/>
                </a:cubicBezTo>
                <a:cubicBezTo>
                  <a:pt x="49" y="141"/>
                  <a:pt x="49" y="133"/>
                  <a:pt x="41" y="133"/>
                </a:cubicBezTo>
                <a:cubicBezTo>
                  <a:pt x="41" y="141"/>
                  <a:pt x="17" y="149"/>
                  <a:pt x="17" y="149"/>
                </a:cubicBezTo>
                <a:lnTo>
                  <a:pt x="17" y="164"/>
                </a:lnTo>
                <a:lnTo>
                  <a:pt x="0" y="172"/>
                </a:lnTo>
                <a:lnTo>
                  <a:pt x="65" y="172"/>
                </a:lnTo>
                <a:lnTo>
                  <a:pt x="73" y="164"/>
                </a:lnTo>
                <a:cubicBezTo>
                  <a:pt x="73" y="164"/>
                  <a:pt x="81" y="164"/>
                  <a:pt x="81" y="172"/>
                </a:cubicBezTo>
                <a:lnTo>
                  <a:pt x="98" y="180"/>
                </a:lnTo>
                <a:lnTo>
                  <a:pt x="122" y="172"/>
                </a:lnTo>
                <a:lnTo>
                  <a:pt x="122" y="180"/>
                </a:lnTo>
                <a:cubicBezTo>
                  <a:pt x="122" y="180"/>
                  <a:pt x="122" y="188"/>
                  <a:pt x="130" y="188"/>
                </a:cubicBezTo>
                <a:lnTo>
                  <a:pt x="138" y="188"/>
                </a:lnTo>
                <a:lnTo>
                  <a:pt x="138" y="204"/>
                </a:lnTo>
                <a:lnTo>
                  <a:pt x="162" y="204"/>
                </a:lnTo>
                <a:lnTo>
                  <a:pt x="162" y="212"/>
                </a:lnTo>
                <a:cubicBezTo>
                  <a:pt x="162" y="212"/>
                  <a:pt x="171" y="219"/>
                  <a:pt x="179" y="227"/>
                </a:cubicBezTo>
                <a:lnTo>
                  <a:pt x="187" y="235"/>
                </a:lnTo>
                <a:lnTo>
                  <a:pt x="195" y="243"/>
                </a:lnTo>
                <a:lnTo>
                  <a:pt x="203" y="251"/>
                </a:lnTo>
                <a:lnTo>
                  <a:pt x="211" y="259"/>
                </a:lnTo>
                <a:cubicBezTo>
                  <a:pt x="211" y="266"/>
                  <a:pt x="211" y="274"/>
                  <a:pt x="219" y="274"/>
                </a:cubicBezTo>
                <a:lnTo>
                  <a:pt x="227" y="274"/>
                </a:lnTo>
                <a:lnTo>
                  <a:pt x="227" y="282"/>
                </a:lnTo>
                <a:lnTo>
                  <a:pt x="235" y="290"/>
                </a:lnTo>
                <a:lnTo>
                  <a:pt x="244" y="298"/>
                </a:lnTo>
                <a:lnTo>
                  <a:pt x="244" y="306"/>
                </a:lnTo>
                <a:cubicBezTo>
                  <a:pt x="244" y="314"/>
                  <a:pt x="252" y="321"/>
                  <a:pt x="252" y="321"/>
                </a:cubicBezTo>
                <a:cubicBezTo>
                  <a:pt x="252" y="329"/>
                  <a:pt x="260" y="329"/>
                  <a:pt x="260" y="329"/>
                </a:cubicBezTo>
                <a:cubicBezTo>
                  <a:pt x="260" y="329"/>
                  <a:pt x="268" y="329"/>
                  <a:pt x="268" y="337"/>
                </a:cubicBezTo>
                <a:cubicBezTo>
                  <a:pt x="268" y="345"/>
                  <a:pt x="260" y="353"/>
                  <a:pt x="268" y="353"/>
                </a:cubicBezTo>
                <a:cubicBezTo>
                  <a:pt x="268" y="353"/>
                  <a:pt x="276" y="368"/>
                  <a:pt x="284" y="368"/>
                </a:cubicBezTo>
                <a:lnTo>
                  <a:pt x="292" y="368"/>
                </a:lnTo>
                <a:cubicBezTo>
                  <a:pt x="300" y="368"/>
                  <a:pt x="300" y="384"/>
                  <a:pt x="308" y="384"/>
                </a:cubicBezTo>
                <a:cubicBezTo>
                  <a:pt x="308" y="392"/>
                  <a:pt x="308" y="392"/>
                  <a:pt x="316" y="392"/>
                </a:cubicBezTo>
                <a:lnTo>
                  <a:pt x="325" y="392"/>
                </a:lnTo>
                <a:lnTo>
                  <a:pt x="325" y="400"/>
                </a:lnTo>
                <a:cubicBezTo>
                  <a:pt x="333" y="400"/>
                  <a:pt x="349" y="416"/>
                  <a:pt x="349" y="416"/>
                </a:cubicBezTo>
                <a:lnTo>
                  <a:pt x="357" y="423"/>
                </a:lnTo>
                <a:lnTo>
                  <a:pt x="373" y="423"/>
                </a:lnTo>
                <a:cubicBezTo>
                  <a:pt x="373" y="423"/>
                  <a:pt x="381" y="423"/>
                  <a:pt x="381" y="431"/>
                </a:cubicBezTo>
                <a:cubicBezTo>
                  <a:pt x="381" y="439"/>
                  <a:pt x="389" y="439"/>
                  <a:pt x="389" y="447"/>
                </a:cubicBezTo>
                <a:cubicBezTo>
                  <a:pt x="389" y="455"/>
                  <a:pt x="397" y="455"/>
                  <a:pt x="397" y="463"/>
                </a:cubicBezTo>
                <a:lnTo>
                  <a:pt x="406" y="478"/>
                </a:lnTo>
                <a:lnTo>
                  <a:pt x="454" y="494"/>
                </a:lnTo>
                <a:lnTo>
                  <a:pt x="462" y="510"/>
                </a:lnTo>
                <a:lnTo>
                  <a:pt x="470" y="525"/>
                </a:lnTo>
                <a:cubicBezTo>
                  <a:pt x="479" y="533"/>
                  <a:pt x="487" y="533"/>
                  <a:pt x="487" y="533"/>
                </a:cubicBezTo>
                <a:lnTo>
                  <a:pt x="511" y="557"/>
                </a:lnTo>
                <a:lnTo>
                  <a:pt x="535" y="565"/>
                </a:lnTo>
                <a:cubicBezTo>
                  <a:pt x="535" y="565"/>
                  <a:pt x="551" y="572"/>
                  <a:pt x="560" y="572"/>
                </a:cubicBezTo>
                <a:cubicBezTo>
                  <a:pt x="560" y="572"/>
                  <a:pt x="576" y="580"/>
                  <a:pt x="584" y="580"/>
                </a:cubicBezTo>
                <a:cubicBezTo>
                  <a:pt x="584" y="588"/>
                  <a:pt x="592" y="612"/>
                  <a:pt x="592" y="612"/>
                </a:cubicBezTo>
                <a:cubicBezTo>
                  <a:pt x="600" y="612"/>
                  <a:pt x="616" y="627"/>
                  <a:pt x="616" y="643"/>
                </a:cubicBezTo>
                <a:cubicBezTo>
                  <a:pt x="624" y="651"/>
                  <a:pt x="624" y="651"/>
                  <a:pt x="624" y="667"/>
                </a:cubicBezTo>
                <a:cubicBezTo>
                  <a:pt x="632" y="675"/>
                  <a:pt x="649" y="690"/>
                  <a:pt x="649" y="690"/>
                </a:cubicBezTo>
                <a:lnTo>
                  <a:pt x="657" y="706"/>
                </a:lnTo>
                <a:cubicBezTo>
                  <a:pt x="665" y="714"/>
                  <a:pt x="673" y="722"/>
                  <a:pt x="673" y="729"/>
                </a:cubicBezTo>
                <a:lnTo>
                  <a:pt x="673" y="737"/>
                </a:lnTo>
                <a:lnTo>
                  <a:pt x="673" y="745"/>
                </a:lnTo>
                <a:cubicBezTo>
                  <a:pt x="673" y="745"/>
                  <a:pt x="681" y="761"/>
                  <a:pt x="681" y="769"/>
                </a:cubicBezTo>
                <a:lnTo>
                  <a:pt x="689" y="784"/>
                </a:lnTo>
                <a:lnTo>
                  <a:pt x="689" y="792"/>
                </a:lnTo>
                <a:lnTo>
                  <a:pt x="697" y="816"/>
                </a:lnTo>
                <a:lnTo>
                  <a:pt x="689" y="831"/>
                </a:lnTo>
                <a:cubicBezTo>
                  <a:pt x="689" y="831"/>
                  <a:pt x="681" y="839"/>
                  <a:pt x="689" y="839"/>
                </a:cubicBezTo>
                <a:cubicBezTo>
                  <a:pt x="697" y="839"/>
                  <a:pt x="705" y="847"/>
                  <a:pt x="697" y="855"/>
                </a:cubicBezTo>
                <a:lnTo>
                  <a:pt x="689" y="871"/>
                </a:lnTo>
                <a:lnTo>
                  <a:pt x="689" y="879"/>
                </a:lnTo>
                <a:lnTo>
                  <a:pt x="681" y="894"/>
                </a:lnTo>
                <a:lnTo>
                  <a:pt x="697" y="902"/>
                </a:lnTo>
                <a:cubicBezTo>
                  <a:pt x="697" y="910"/>
                  <a:pt x="705" y="918"/>
                  <a:pt x="697" y="926"/>
                </a:cubicBezTo>
                <a:lnTo>
                  <a:pt x="697" y="941"/>
                </a:lnTo>
                <a:lnTo>
                  <a:pt x="697" y="957"/>
                </a:lnTo>
                <a:cubicBezTo>
                  <a:pt x="697" y="957"/>
                  <a:pt x="713" y="965"/>
                  <a:pt x="705" y="973"/>
                </a:cubicBezTo>
                <a:lnTo>
                  <a:pt x="705" y="988"/>
                </a:lnTo>
                <a:cubicBezTo>
                  <a:pt x="713" y="1004"/>
                  <a:pt x="730" y="1028"/>
                  <a:pt x="730" y="1028"/>
                </a:cubicBezTo>
                <a:lnTo>
                  <a:pt x="738" y="1043"/>
                </a:lnTo>
                <a:cubicBezTo>
                  <a:pt x="738" y="1051"/>
                  <a:pt x="730" y="1051"/>
                  <a:pt x="738" y="1059"/>
                </a:cubicBezTo>
                <a:cubicBezTo>
                  <a:pt x="738" y="1059"/>
                  <a:pt x="730" y="1067"/>
                  <a:pt x="738" y="1067"/>
                </a:cubicBezTo>
                <a:cubicBezTo>
                  <a:pt x="746" y="1075"/>
                  <a:pt x="754" y="1090"/>
                  <a:pt x="754" y="1090"/>
                </a:cubicBezTo>
                <a:lnTo>
                  <a:pt x="762" y="1098"/>
                </a:lnTo>
                <a:lnTo>
                  <a:pt x="762" y="1122"/>
                </a:lnTo>
                <a:cubicBezTo>
                  <a:pt x="762" y="1130"/>
                  <a:pt x="770" y="1130"/>
                  <a:pt x="762" y="1130"/>
                </a:cubicBezTo>
                <a:lnTo>
                  <a:pt x="754" y="1137"/>
                </a:lnTo>
                <a:lnTo>
                  <a:pt x="746" y="1153"/>
                </a:lnTo>
                <a:cubicBezTo>
                  <a:pt x="746" y="1153"/>
                  <a:pt x="754" y="1161"/>
                  <a:pt x="762" y="1161"/>
                </a:cubicBezTo>
                <a:lnTo>
                  <a:pt x="770" y="1161"/>
                </a:lnTo>
                <a:lnTo>
                  <a:pt x="786" y="1177"/>
                </a:lnTo>
                <a:lnTo>
                  <a:pt x="786" y="1192"/>
                </a:lnTo>
                <a:lnTo>
                  <a:pt x="802" y="119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96" name="Freeform 88">
            <a:extLst>
              <a:ext uri="{FF2B5EF4-FFF2-40B4-BE49-F238E27FC236}">
                <a16:creationId xmlns:a16="http://schemas.microsoft.com/office/drawing/2014/main" id="{C54C0067-7048-BC42-82D6-70F2833D37C2}"/>
              </a:ext>
            </a:extLst>
          </p:cNvPr>
          <p:cNvSpPr>
            <a:spLocks noChangeArrowheads="1"/>
          </p:cNvSpPr>
          <p:nvPr>
            <p:custDataLst>
              <p:tags r:id="rId88"/>
            </p:custDataLst>
          </p:nvPr>
        </p:nvSpPr>
        <p:spPr bwMode="auto">
          <a:xfrm>
            <a:off x="6257780" y="3712995"/>
            <a:ext cx="438314" cy="349564"/>
          </a:xfrm>
          <a:custGeom>
            <a:avLst/>
            <a:gdLst>
              <a:gd name="T0" fmla="*/ 224 w 1068"/>
              <a:gd name="T1" fmla="*/ 39 h 849"/>
              <a:gd name="T2" fmla="*/ 273 w 1068"/>
              <a:gd name="T3" fmla="*/ 55 h 849"/>
              <a:gd name="T4" fmla="*/ 331 w 1068"/>
              <a:gd name="T5" fmla="*/ 39 h 849"/>
              <a:gd name="T6" fmla="*/ 472 w 1068"/>
              <a:gd name="T7" fmla="*/ 63 h 849"/>
              <a:gd name="T8" fmla="*/ 530 w 1068"/>
              <a:gd name="T9" fmla="*/ 55 h 849"/>
              <a:gd name="T10" fmla="*/ 546 w 1068"/>
              <a:gd name="T11" fmla="*/ 8 h 849"/>
              <a:gd name="T12" fmla="*/ 579 w 1068"/>
              <a:gd name="T13" fmla="*/ 39 h 849"/>
              <a:gd name="T14" fmla="*/ 637 w 1068"/>
              <a:gd name="T15" fmla="*/ 8 h 849"/>
              <a:gd name="T16" fmla="*/ 654 w 1068"/>
              <a:gd name="T17" fmla="*/ 39 h 849"/>
              <a:gd name="T18" fmla="*/ 712 w 1068"/>
              <a:gd name="T19" fmla="*/ 24 h 849"/>
              <a:gd name="T20" fmla="*/ 736 w 1068"/>
              <a:gd name="T21" fmla="*/ 70 h 849"/>
              <a:gd name="T22" fmla="*/ 761 w 1068"/>
              <a:gd name="T23" fmla="*/ 94 h 849"/>
              <a:gd name="T24" fmla="*/ 811 w 1068"/>
              <a:gd name="T25" fmla="*/ 117 h 849"/>
              <a:gd name="T26" fmla="*/ 844 w 1068"/>
              <a:gd name="T27" fmla="*/ 140 h 849"/>
              <a:gd name="T28" fmla="*/ 935 w 1068"/>
              <a:gd name="T29" fmla="*/ 171 h 849"/>
              <a:gd name="T30" fmla="*/ 902 w 1068"/>
              <a:gd name="T31" fmla="*/ 234 h 849"/>
              <a:gd name="T32" fmla="*/ 861 w 1068"/>
              <a:gd name="T33" fmla="*/ 280 h 849"/>
              <a:gd name="T34" fmla="*/ 869 w 1068"/>
              <a:gd name="T35" fmla="*/ 335 h 849"/>
              <a:gd name="T36" fmla="*/ 943 w 1068"/>
              <a:gd name="T37" fmla="*/ 327 h 849"/>
              <a:gd name="T38" fmla="*/ 993 w 1068"/>
              <a:gd name="T39" fmla="*/ 358 h 849"/>
              <a:gd name="T40" fmla="*/ 1026 w 1068"/>
              <a:gd name="T41" fmla="*/ 389 h 849"/>
              <a:gd name="T42" fmla="*/ 1026 w 1068"/>
              <a:gd name="T43" fmla="*/ 443 h 849"/>
              <a:gd name="T44" fmla="*/ 1067 w 1068"/>
              <a:gd name="T45" fmla="*/ 475 h 849"/>
              <a:gd name="T46" fmla="*/ 1051 w 1068"/>
              <a:gd name="T47" fmla="*/ 521 h 849"/>
              <a:gd name="T48" fmla="*/ 1018 w 1068"/>
              <a:gd name="T49" fmla="*/ 545 h 849"/>
              <a:gd name="T50" fmla="*/ 993 w 1068"/>
              <a:gd name="T51" fmla="*/ 576 h 849"/>
              <a:gd name="T52" fmla="*/ 968 w 1068"/>
              <a:gd name="T53" fmla="*/ 583 h 849"/>
              <a:gd name="T54" fmla="*/ 927 w 1068"/>
              <a:gd name="T55" fmla="*/ 599 h 849"/>
              <a:gd name="T56" fmla="*/ 902 w 1068"/>
              <a:gd name="T57" fmla="*/ 638 h 849"/>
              <a:gd name="T58" fmla="*/ 869 w 1068"/>
              <a:gd name="T59" fmla="*/ 684 h 849"/>
              <a:gd name="T60" fmla="*/ 877 w 1068"/>
              <a:gd name="T61" fmla="*/ 716 h 849"/>
              <a:gd name="T62" fmla="*/ 885 w 1068"/>
              <a:gd name="T63" fmla="*/ 747 h 849"/>
              <a:gd name="T64" fmla="*/ 910 w 1068"/>
              <a:gd name="T65" fmla="*/ 786 h 849"/>
              <a:gd name="T66" fmla="*/ 885 w 1068"/>
              <a:gd name="T67" fmla="*/ 832 h 849"/>
              <a:gd name="T68" fmla="*/ 852 w 1068"/>
              <a:gd name="T69" fmla="*/ 840 h 849"/>
              <a:gd name="T70" fmla="*/ 794 w 1068"/>
              <a:gd name="T71" fmla="*/ 848 h 849"/>
              <a:gd name="T72" fmla="*/ 770 w 1068"/>
              <a:gd name="T73" fmla="*/ 809 h 849"/>
              <a:gd name="T74" fmla="*/ 745 w 1068"/>
              <a:gd name="T75" fmla="*/ 786 h 849"/>
              <a:gd name="T76" fmla="*/ 703 w 1068"/>
              <a:gd name="T77" fmla="*/ 754 h 849"/>
              <a:gd name="T78" fmla="*/ 654 w 1068"/>
              <a:gd name="T79" fmla="*/ 731 h 849"/>
              <a:gd name="T80" fmla="*/ 612 w 1068"/>
              <a:gd name="T81" fmla="*/ 692 h 849"/>
              <a:gd name="T82" fmla="*/ 621 w 1068"/>
              <a:gd name="T83" fmla="*/ 607 h 849"/>
              <a:gd name="T84" fmla="*/ 596 w 1068"/>
              <a:gd name="T85" fmla="*/ 568 h 849"/>
              <a:gd name="T86" fmla="*/ 571 w 1068"/>
              <a:gd name="T87" fmla="*/ 630 h 849"/>
              <a:gd name="T88" fmla="*/ 521 w 1068"/>
              <a:gd name="T89" fmla="*/ 653 h 849"/>
              <a:gd name="T90" fmla="*/ 422 w 1068"/>
              <a:gd name="T91" fmla="*/ 646 h 849"/>
              <a:gd name="T92" fmla="*/ 439 w 1068"/>
              <a:gd name="T93" fmla="*/ 591 h 849"/>
              <a:gd name="T94" fmla="*/ 430 w 1068"/>
              <a:gd name="T95" fmla="*/ 537 h 849"/>
              <a:gd name="T96" fmla="*/ 414 w 1068"/>
              <a:gd name="T97" fmla="*/ 506 h 849"/>
              <a:gd name="T98" fmla="*/ 372 w 1068"/>
              <a:gd name="T99" fmla="*/ 482 h 849"/>
              <a:gd name="T100" fmla="*/ 306 w 1068"/>
              <a:gd name="T101" fmla="*/ 490 h 849"/>
              <a:gd name="T102" fmla="*/ 281 w 1068"/>
              <a:gd name="T103" fmla="*/ 420 h 849"/>
              <a:gd name="T104" fmla="*/ 248 w 1068"/>
              <a:gd name="T105" fmla="*/ 397 h 849"/>
              <a:gd name="T106" fmla="*/ 190 w 1068"/>
              <a:gd name="T107" fmla="*/ 381 h 849"/>
              <a:gd name="T108" fmla="*/ 182 w 1068"/>
              <a:gd name="T109" fmla="*/ 311 h 849"/>
              <a:gd name="T110" fmla="*/ 116 w 1068"/>
              <a:gd name="T111" fmla="*/ 288 h 849"/>
              <a:gd name="T112" fmla="*/ 58 w 1068"/>
              <a:gd name="T113" fmla="*/ 296 h 849"/>
              <a:gd name="T114" fmla="*/ 17 w 1068"/>
              <a:gd name="T115" fmla="*/ 249 h 849"/>
              <a:gd name="T116" fmla="*/ 0 w 1068"/>
              <a:gd name="T117" fmla="*/ 171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68" h="849">
                <a:moveTo>
                  <a:pt x="8" y="140"/>
                </a:moveTo>
                <a:lnTo>
                  <a:pt x="174" y="47"/>
                </a:lnTo>
                <a:lnTo>
                  <a:pt x="224" y="39"/>
                </a:lnTo>
                <a:lnTo>
                  <a:pt x="248" y="39"/>
                </a:lnTo>
                <a:lnTo>
                  <a:pt x="257" y="31"/>
                </a:lnTo>
                <a:cubicBezTo>
                  <a:pt x="257" y="31"/>
                  <a:pt x="265" y="55"/>
                  <a:pt x="273" y="55"/>
                </a:cubicBezTo>
                <a:cubicBezTo>
                  <a:pt x="273" y="55"/>
                  <a:pt x="290" y="70"/>
                  <a:pt x="290" y="62"/>
                </a:cubicBezTo>
                <a:cubicBezTo>
                  <a:pt x="298" y="55"/>
                  <a:pt x="298" y="47"/>
                  <a:pt x="306" y="47"/>
                </a:cubicBezTo>
                <a:cubicBezTo>
                  <a:pt x="306" y="39"/>
                  <a:pt x="315" y="31"/>
                  <a:pt x="331" y="39"/>
                </a:cubicBezTo>
                <a:cubicBezTo>
                  <a:pt x="339" y="47"/>
                  <a:pt x="339" y="78"/>
                  <a:pt x="339" y="78"/>
                </a:cubicBezTo>
                <a:cubicBezTo>
                  <a:pt x="406" y="94"/>
                  <a:pt x="364" y="101"/>
                  <a:pt x="455" y="78"/>
                </a:cubicBezTo>
                <a:lnTo>
                  <a:pt x="472" y="63"/>
                </a:lnTo>
                <a:cubicBezTo>
                  <a:pt x="472" y="55"/>
                  <a:pt x="464" y="39"/>
                  <a:pt x="480" y="47"/>
                </a:cubicBezTo>
                <a:cubicBezTo>
                  <a:pt x="488" y="55"/>
                  <a:pt x="497" y="55"/>
                  <a:pt x="505" y="55"/>
                </a:cubicBezTo>
                <a:lnTo>
                  <a:pt x="530" y="55"/>
                </a:lnTo>
                <a:cubicBezTo>
                  <a:pt x="530" y="55"/>
                  <a:pt x="538" y="47"/>
                  <a:pt x="530" y="39"/>
                </a:cubicBezTo>
                <a:cubicBezTo>
                  <a:pt x="530" y="31"/>
                  <a:pt x="521" y="24"/>
                  <a:pt x="530" y="24"/>
                </a:cubicBezTo>
                <a:cubicBezTo>
                  <a:pt x="530" y="16"/>
                  <a:pt x="546" y="8"/>
                  <a:pt x="546" y="8"/>
                </a:cubicBezTo>
                <a:cubicBezTo>
                  <a:pt x="546" y="8"/>
                  <a:pt x="555" y="8"/>
                  <a:pt x="555" y="16"/>
                </a:cubicBezTo>
                <a:cubicBezTo>
                  <a:pt x="563" y="24"/>
                  <a:pt x="563" y="24"/>
                  <a:pt x="563" y="31"/>
                </a:cubicBezTo>
                <a:cubicBezTo>
                  <a:pt x="571" y="31"/>
                  <a:pt x="571" y="39"/>
                  <a:pt x="579" y="39"/>
                </a:cubicBezTo>
                <a:cubicBezTo>
                  <a:pt x="596" y="39"/>
                  <a:pt x="596" y="39"/>
                  <a:pt x="604" y="31"/>
                </a:cubicBezTo>
                <a:cubicBezTo>
                  <a:pt x="612" y="24"/>
                  <a:pt x="612" y="24"/>
                  <a:pt x="621" y="16"/>
                </a:cubicBezTo>
                <a:cubicBezTo>
                  <a:pt x="629" y="0"/>
                  <a:pt x="629" y="0"/>
                  <a:pt x="637" y="8"/>
                </a:cubicBezTo>
                <a:cubicBezTo>
                  <a:pt x="646" y="8"/>
                  <a:pt x="662" y="16"/>
                  <a:pt x="662" y="16"/>
                </a:cubicBezTo>
                <a:lnTo>
                  <a:pt x="646" y="31"/>
                </a:lnTo>
                <a:cubicBezTo>
                  <a:pt x="646" y="31"/>
                  <a:pt x="637" y="31"/>
                  <a:pt x="654" y="39"/>
                </a:cubicBezTo>
                <a:cubicBezTo>
                  <a:pt x="679" y="47"/>
                  <a:pt x="687" y="47"/>
                  <a:pt x="687" y="47"/>
                </a:cubicBezTo>
                <a:lnTo>
                  <a:pt x="703" y="24"/>
                </a:lnTo>
                <a:cubicBezTo>
                  <a:pt x="703" y="24"/>
                  <a:pt x="703" y="8"/>
                  <a:pt x="712" y="24"/>
                </a:cubicBezTo>
                <a:cubicBezTo>
                  <a:pt x="712" y="31"/>
                  <a:pt x="720" y="47"/>
                  <a:pt x="720" y="47"/>
                </a:cubicBezTo>
                <a:cubicBezTo>
                  <a:pt x="720" y="47"/>
                  <a:pt x="720" y="70"/>
                  <a:pt x="728" y="70"/>
                </a:cubicBezTo>
                <a:cubicBezTo>
                  <a:pt x="736" y="70"/>
                  <a:pt x="736" y="63"/>
                  <a:pt x="736" y="70"/>
                </a:cubicBezTo>
                <a:cubicBezTo>
                  <a:pt x="736" y="78"/>
                  <a:pt x="728" y="78"/>
                  <a:pt x="736" y="78"/>
                </a:cubicBezTo>
                <a:cubicBezTo>
                  <a:pt x="736" y="86"/>
                  <a:pt x="753" y="86"/>
                  <a:pt x="753" y="86"/>
                </a:cubicBezTo>
                <a:cubicBezTo>
                  <a:pt x="753" y="86"/>
                  <a:pt x="761" y="86"/>
                  <a:pt x="761" y="94"/>
                </a:cubicBezTo>
                <a:lnTo>
                  <a:pt x="761" y="109"/>
                </a:lnTo>
                <a:lnTo>
                  <a:pt x="786" y="109"/>
                </a:lnTo>
                <a:cubicBezTo>
                  <a:pt x="794" y="109"/>
                  <a:pt x="803" y="117"/>
                  <a:pt x="811" y="117"/>
                </a:cubicBezTo>
                <a:cubicBezTo>
                  <a:pt x="819" y="109"/>
                  <a:pt x="828" y="101"/>
                  <a:pt x="828" y="101"/>
                </a:cubicBezTo>
                <a:cubicBezTo>
                  <a:pt x="828" y="109"/>
                  <a:pt x="844" y="109"/>
                  <a:pt x="844" y="117"/>
                </a:cubicBezTo>
                <a:cubicBezTo>
                  <a:pt x="836" y="132"/>
                  <a:pt x="828" y="132"/>
                  <a:pt x="844" y="140"/>
                </a:cubicBezTo>
                <a:cubicBezTo>
                  <a:pt x="861" y="140"/>
                  <a:pt x="877" y="148"/>
                  <a:pt x="885" y="148"/>
                </a:cubicBezTo>
                <a:cubicBezTo>
                  <a:pt x="894" y="156"/>
                  <a:pt x="919" y="164"/>
                  <a:pt x="919" y="164"/>
                </a:cubicBezTo>
                <a:cubicBezTo>
                  <a:pt x="927" y="164"/>
                  <a:pt x="935" y="164"/>
                  <a:pt x="935" y="171"/>
                </a:cubicBezTo>
                <a:cubicBezTo>
                  <a:pt x="935" y="179"/>
                  <a:pt x="919" y="195"/>
                  <a:pt x="919" y="195"/>
                </a:cubicBezTo>
                <a:cubicBezTo>
                  <a:pt x="919" y="195"/>
                  <a:pt x="910" y="202"/>
                  <a:pt x="910" y="210"/>
                </a:cubicBezTo>
                <a:lnTo>
                  <a:pt x="902" y="234"/>
                </a:lnTo>
                <a:cubicBezTo>
                  <a:pt x="894" y="241"/>
                  <a:pt x="885" y="257"/>
                  <a:pt x="885" y="257"/>
                </a:cubicBezTo>
                <a:cubicBezTo>
                  <a:pt x="885" y="257"/>
                  <a:pt x="877" y="272"/>
                  <a:pt x="869" y="272"/>
                </a:cubicBezTo>
                <a:lnTo>
                  <a:pt x="861" y="280"/>
                </a:lnTo>
                <a:lnTo>
                  <a:pt x="861" y="304"/>
                </a:lnTo>
                <a:lnTo>
                  <a:pt x="869" y="319"/>
                </a:lnTo>
                <a:lnTo>
                  <a:pt x="869" y="335"/>
                </a:lnTo>
                <a:lnTo>
                  <a:pt x="902" y="327"/>
                </a:lnTo>
                <a:lnTo>
                  <a:pt x="910" y="335"/>
                </a:lnTo>
                <a:cubicBezTo>
                  <a:pt x="927" y="335"/>
                  <a:pt x="935" y="327"/>
                  <a:pt x="943" y="327"/>
                </a:cubicBezTo>
                <a:lnTo>
                  <a:pt x="960" y="342"/>
                </a:lnTo>
                <a:lnTo>
                  <a:pt x="968" y="350"/>
                </a:lnTo>
                <a:cubicBezTo>
                  <a:pt x="976" y="350"/>
                  <a:pt x="993" y="358"/>
                  <a:pt x="993" y="358"/>
                </a:cubicBezTo>
                <a:lnTo>
                  <a:pt x="993" y="381"/>
                </a:lnTo>
                <a:lnTo>
                  <a:pt x="1010" y="381"/>
                </a:lnTo>
                <a:cubicBezTo>
                  <a:pt x="1018" y="381"/>
                  <a:pt x="1026" y="389"/>
                  <a:pt x="1026" y="389"/>
                </a:cubicBezTo>
                <a:cubicBezTo>
                  <a:pt x="1026" y="389"/>
                  <a:pt x="1026" y="412"/>
                  <a:pt x="1018" y="412"/>
                </a:cubicBezTo>
                <a:cubicBezTo>
                  <a:pt x="1018" y="420"/>
                  <a:pt x="1010" y="428"/>
                  <a:pt x="1010" y="428"/>
                </a:cubicBezTo>
                <a:cubicBezTo>
                  <a:pt x="1010" y="428"/>
                  <a:pt x="1018" y="443"/>
                  <a:pt x="1026" y="443"/>
                </a:cubicBezTo>
                <a:lnTo>
                  <a:pt x="1043" y="443"/>
                </a:lnTo>
                <a:cubicBezTo>
                  <a:pt x="1051" y="443"/>
                  <a:pt x="1059" y="459"/>
                  <a:pt x="1059" y="459"/>
                </a:cubicBezTo>
                <a:cubicBezTo>
                  <a:pt x="1059" y="459"/>
                  <a:pt x="1067" y="468"/>
                  <a:pt x="1067" y="475"/>
                </a:cubicBezTo>
                <a:cubicBezTo>
                  <a:pt x="1067" y="483"/>
                  <a:pt x="1059" y="498"/>
                  <a:pt x="1059" y="498"/>
                </a:cubicBezTo>
                <a:lnTo>
                  <a:pt x="1059" y="513"/>
                </a:lnTo>
                <a:lnTo>
                  <a:pt x="1051" y="521"/>
                </a:lnTo>
                <a:lnTo>
                  <a:pt x="1034" y="521"/>
                </a:lnTo>
                <a:cubicBezTo>
                  <a:pt x="1034" y="521"/>
                  <a:pt x="1034" y="545"/>
                  <a:pt x="1026" y="545"/>
                </a:cubicBezTo>
                <a:lnTo>
                  <a:pt x="1018" y="545"/>
                </a:lnTo>
                <a:cubicBezTo>
                  <a:pt x="1010" y="545"/>
                  <a:pt x="1001" y="552"/>
                  <a:pt x="1001" y="552"/>
                </a:cubicBezTo>
                <a:lnTo>
                  <a:pt x="1001" y="560"/>
                </a:lnTo>
                <a:lnTo>
                  <a:pt x="993" y="576"/>
                </a:lnTo>
                <a:lnTo>
                  <a:pt x="985" y="576"/>
                </a:lnTo>
                <a:lnTo>
                  <a:pt x="976" y="576"/>
                </a:lnTo>
                <a:cubicBezTo>
                  <a:pt x="976" y="583"/>
                  <a:pt x="968" y="583"/>
                  <a:pt x="968" y="583"/>
                </a:cubicBezTo>
                <a:cubicBezTo>
                  <a:pt x="968" y="583"/>
                  <a:pt x="960" y="576"/>
                  <a:pt x="952" y="576"/>
                </a:cubicBezTo>
                <a:cubicBezTo>
                  <a:pt x="952" y="576"/>
                  <a:pt x="943" y="576"/>
                  <a:pt x="943" y="583"/>
                </a:cubicBezTo>
                <a:cubicBezTo>
                  <a:pt x="935" y="591"/>
                  <a:pt x="935" y="599"/>
                  <a:pt x="927" y="599"/>
                </a:cubicBezTo>
                <a:lnTo>
                  <a:pt x="919" y="607"/>
                </a:lnTo>
                <a:cubicBezTo>
                  <a:pt x="919" y="607"/>
                  <a:pt x="919" y="622"/>
                  <a:pt x="910" y="622"/>
                </a:cubicBezTo>
                <a:cubicBezTo>
                  <a:pt x="910" y="630"/>
                  <a:pt x="902" y="638"/>
                  <a:pt x="902" y="638"/>
                </a:cubicBezTo>
                <a:lnTo>
                  <a:pt x="902" y="646"/>
                </a:lnTo>
                <a:cubicBezTo>
                  <a:pt x="902" y="653"/>
                  <a:pt x="902" y="661"/>
                  <a:pt x="894" y="669"/>
                </a:cubicBezTo>
                <a:cubicBezTo>
                  <a:pt x="885" y="669"/>
                  <a:pt x="869" y="684"/>
                  <a:pt x="869" y="684"/>
                </a:cubicBezTo>
                <a:lnTo>
                  <a:pt x="869" y="692"/>
                </a:lnTo>
                <a:cubicBezTo>
                  <a:pt x="877" y="692"/>
                  <a:pt x="877" y="700"/>
                  <a:pt x="877" y="700"/>
                </a:cubicBezTo>
                <a:lnTo>
                  <a:pt x="877" y="716"/>
                </a:lnTo>
                <a:cubicBezTo>
                  <a:pt x="877" y="716"/>
                  <a:pt x="869" y="723"/>
                  <a:pt x="869" y="731"/>
                </a:cubicBezTo>
                <a:lnTo>
                  <a:pt x="877" y="731"/>
                </a:lnTo>
                <a:lnTo>
                  <a:pt x="885" y="747"/>
                </a:lnTo>
                <a:lnTo>
                  <a:pt x="894" y="762"/>
                </a:lnTo>
                <a:lnTo>
                  <a:pt x="902" y="762"/>
                </a:lnTo>
                <a:cubicBezTo>
                  <a:pt x="902" y="762"/>
                  <a:pt x="910" y="778"/>
                  <a:pt x="910" y="786"/>
                </a:cubicBezTo>
                <a:lnTo>
                  <a:pt x="910" y="801"/>
                </a:lnTo>
                <a:lnTo>
                  <a:pt x="894" y="817"/>
                </a:lnTo>
                <a:lnTo>
                  <a:pt x="885" y="832"/>
                </a:lnTo>
                <a:lnTo>
                  <a:pt x="877" y="832"/>
                </a:lnTo>
                <a:lnTo>
                  <a:pt x="861" y="832"/>
                </a:lnTo>
                <a:lnTo>
                  <a:pt x="852" y="840"/>
                </a:lnTo>
                <a:lnTo>
                  <a:pt x="836" y="840"/>
                </a:lnTo>
                <a:lnTo>
                  <a:pt x="819" y="848"/>
                </a:lnTo>
                <a:lnTo>
                  <a:pt x="794" y="848"/>
                </a:lnTo>
                <a:lnTo>
                  <a:pt x="786" y="832"/>
                </a:lnTo>
                <a:lnTo>
                  <a:pt x="778" y="817"/>
                </a:lnTo>
                <a:lnTo>
                  <a:pt x="770" y="809"/>
                </a:lnTo>
                <a:lnTo>
                  <a:pt x="761" y="809"/>
                </a:lnTo>
                <a:lnTo>
                  <a:pt x="736" y="801"/>
                </a:lnTo>
                <a:lnTo>
                  <a:pt x="745" y="786"/>
                </a:lnTo>
                <a:lnTo>
                  <a:pt x="736" y="770"/>
                </a:lnTo>
                <a:lnTo>
                  <a:pt x="720" y="770"/>
                </a:lnTo>
                <a:lnTo>
                  <a:pt x="703" y="754"/>
                </a:lnTo>
                <a:cubicBezTo>
                  <a:pt x="703" y="754"/>
                  <a:pt x="703" y="747"/>
                  <a:pt x="695" y="739"/>
                </a:cubicBezTo>
                <a:cubicBezTo>
                  <a:pt x="687" y="739"/>
                  <a:pt x="687" y="731"/>
                  <a:pt x="679" y="731"/>
                </a:cubicBezTo>
                <a:lnTo>
                  <a:pt x="654" y="731"/>
                </a:lnTo>
                <a:cubicBezTo>
                  <a:pt x="654" y="731"/>
                  <a:pt x="645" y="716"/>
                  <a:pt x="637" y="716"/>
                </a:cubicBezTo>
                <a:lnTo>
                  <a:pt x="604" y="716"/>
                </a:lnTo>
                <a:lnTo>
                  <a:pt x="612" y="692"/>
                </a:lnTo>
                <a:lnTo>
                  <a:pt x="612" y="653"/>
                </a:lnTo>
                <a:cubicBezTo>
                  <a:pt x="612" y="653"/>
                  <a:pt x="604" y="646"/>
                  <a:pt x="612" y="630"/>
                </a:cubicBezTo>
                <a:cubicBezTo>
                  <a:pt x="621" y="615"/>
                  <a:pt x="612" y="622"/>
                  <a:pt x="621" y="607"/>
                </a:cubicBezTo>
                <a:cubicBezTo>
                  <a:pt x="629" y="583"/>
                  <a:pt x="629" y="576"/>
                  <a:pt x="629" y="576"/>
                </a:cubicBezTo>
                <a:lnTo>
                  <a:pt x="612" y="568"/>
                </a:lnTo>
                <a:cubicBezTo>
                  <a:pt x="612" y="568"/>
                  <a:pt x="604" y="560"/>
                  <a:pt x="596" y="568"/>
                </a:cubicBezTo>
                <a:cubicBezTo>
                  <a:pt x="596" y="583"/>
                  <a:pt x="588" y="583"/>
                  <a:pt x="588" y="583"/>
                </a:cubicBezTo>
                <a:lnTo>
                  <a:pt x="571" y="607"/>
                </a:lnTo>
                <a:lnTo>
                  <a:pt x="571" y="630"/>
                </a:lnTo>
                <a:cubicBezTo>
                  <a:pt x="571" y="630"/>
                  <a:pt x="579" y="638"/>
                  <a:pt x="554" y="638"/>
                </a:cubicBezTo>
                <a:lnTo>
                  <a:pt x="521" y="638"/>
                </a:lnTo>
                <a:cubicBezTo>
                  <a:pt x="521" y="638"/>
                  <a:pt x="538" y="653"/>
                  <a:pt x="521" y="653"/>
                </a:cubicBezTo>
                <a:lnTo>
                  <a:pt x="472" y="653"/>
                </a:lnTo>
                <a:lnTo>
                  <a:pt x="455" y="638"/>
                </a:lnTo>
                <a:lnTo>
                  <a:pt x="422" y="646"/>
                </a:lnTo>
                <a:lnTo>
                  <a:pt x="422" y="622"/>
                </a:lnTo>
                <a:cubicBezTo>
                  <a:pt x="422" y="615"/>
                  <a:pt x="414" y="599"/>
                  <a:pt x="422" y="599"/>
                </a:cubicBezTo>
                <a:cubicBezTo>
                  <a:pt x="430" y="599"/>
                  <a:pt x="439" y="591"/>
                  <a:pt x="439" y="591"/>
                </a:cubicBezTo>
                <a:lnTo>
                  <a:pt x="430" y="568"/>
                </a:lnTo>
                <a:cubicBezTo>
                  <a:pt x="430" y="568"/>
                  <a:pt x="422" y="568"/>
                  <a:pt x="422" y="560"/>
                </a:cubicBezTo>
                <a:cubicBezTo>
                  <a:pt x="422" y="552"/>
                  <a:pt x="430" y="537"/>
                  <a:pt x="430" y="537"/>
                </a:cubicBezTo>
                <a:cubicBezTo>
                  <a:pt x="439" y="529"/>
                  <a:pt x="439" y="513"/>
                  <a:pt x="439" y="513"/>
                </a:cubicBezTo>
                <a:lnTo>
                  <a:pt x="430" y="513"/>
                </a:lnTo>
                <a:cubicBezTo>
                  <a:pt x="430" y="513"/>
                  <a:pt x="414" y="521"/>
                  <a:pt x="414" y="506"/>
                </a:cubicBezTo>
                <a:cubicBezTo>
                  <a:pt x="414" y="498"/>
                  <a:pt x="406" y="482"/>
                  <a:pt x="406" y="482"/>
                </a:cubicBezTo>
                <a:lnTo>
                  <a:pt x="389" y="475"/>
                </a:lnTo>
                <a:cubicBezTo>
                  <a:pt x="381" y="475"/>
                  <a:pt x="381" y="475"/>
                  <a:pt x="372" y="482"/>
                </a:cubicBezTo>
                <a:lnTo>
                  <a:pt x="348" y="475"/>
                </a:lnTo>
                <a:lnTo>
                  <a:pt x="323" y="475"/>
                </a:lnTo>
                <a:cubicBezTo>
                  <a:pt x="315" y="475"/>
                  <a:pt x="306" y="490"/>
                  <a:pt x="306" y="490"/>
                </a:cubicBezTo>
                <a:lnTo>
                  <a:pt x="290" y="467"/>
                </a:lnTo>
                <a:lnTo>
                  <a:pt x="298" y="443"/>
                </a:lnTo>
                <a:cubicBezTo>
                  <a:pt x="298" y="443"/>
                  <a:pt x="281" y="428"/>
                  <a:pt x="281" y="420"/>
                </a:cubicBezTo>
                <a:lnTo>
                  <a:pt x="273" y="405"/>
                </a:lnTo>
                <a:lnTo>
                  <a:pt x="257" y="405"/>
                </a:lnTo>
                <a:lnTo>
                  <a:pt x="248" y="397"/>
                </a:lnTo>
                <a:lnTo>
                  <a:pt x="223" y="397"/>
                </a:lnTo>
                <a:lnTo>
                  <a:pt x="207" y="397"/>
                </a:lnTo>
                <a:lnTo>
                  <a:pt x="190" y="381"/>
                </a:lnTo>
                <a:lnTo>
                  <a:pt x="190" y="358"/>
                </a:lnTo>
                <a:cubicBezTo>
                  <a:pt x="182" y="350"/>
                  <a:pt x="174" y="335"/>
                  <a:pt x="174" y="327"/>
                </a:cubicBezTo>
                <a:lnTo>
                  <a:pt x="182" y="311"/>
                </a:lnTo>
                <a:cubicBezTo>
                  <a:pt x="174" y="303"/>
                  <a:pt x="157" y="288"/>
                  <a:pt x="157" y="288"/>
                </a:cubicBezTo>
                <a:lnTo>
                  <a:pt x="149" y="272"/>
                </a:lnTo>
                <a:cubicBezTo>
                  <a:pt x="149" y="272"/>
                  <a:pt x="124" y="288"/>
                  <a:pt x="116" y="288"/>
                </a:cubicBezTo>
                <a:cubicBezTo>
                  <a:pt x="108" y="288"/>
                  <a:pt x="91" y="280"/>
                  <a:pt x="91" y="288"/>
                </a:cubicBezTo>
                <a:cubicBezTo>
                  <a:pt x="91" y="288"/>
                  <a:pt x="99" y="303"/>
                  <a:pt x="91" y="303"/>
                </a:cubicBezTo>
                <a:cubicBezTo>
                  <a:pt x="83" y="303"/>
                  <a:pt x="66" y="303"/>
                  <a:pt x="58" y="296"/>
                </a:cubicBezTo>
                <a:cubicBezTo>
                  <a:pt x="50" y="288"/>
                  <a:pt x="50" y="280"/>
                  <a:pt x="50" y="272"/>
                </a:cubicBezTo>
                <a:cubicBezTo>
                  <a:pt x="41" y="272"/>
                  <a:pt x="41" y="257"/>
                  <a:pt x="33" y="257"/>
                </a:cubicBezTo>
                <a:cubicBezTo>
                  <a:pt x="25" y="257"/>
                  <a:pt x="17" y="257"/>
                  <a:pt x="17" y="249"/>
                </a:cubicBezTo>
                <a:lnTo>
                  <a:pt x="17" y="210"/>
                </a:lnTo>
                <a:cubicBezTo>
                  <a:pt x="17" y="210"/>
                  <a:pt x="17" y="187"/>
                  <a:pt x="8" y="187"/>
                </a:cubicBezTo>
                <a:cubicBezTo>
                  <a:pt x="8" y="179"/>
                  <a:pt x="0" y="171"/>
                  <a:pt x="0" y="171"/>
                </a:cubicBezTo>
                <a:lnTo>
                  <a:pt x="0" y="148"/>
                </a:lnTo>
                <a:lnTo>
                  <a:pt x="8" y="140"/>
                </a:ln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97" name="Freeform 89">
            <a:extLst>
              <a:ext uri="{FF2B5EF4-FFF2-40B4-BE49-F238E27FC236}">
                <a16:creationId xmlns:a16="http://schemas.microsoft.com/office/drawing/2014/main" id="{2D49586D-C24A-1DA2-201E-1C8796ABED32}"/>
              </a:ext>
            </a:extLst>
          </p:cNvPr>
          <p:cNvSpPr>
            <a:spLocks noChangeArrowheads="1"/>
          </p:cNvSpPr>
          <p:nvPr>
            <p:custDataLst>
              <p:tags r:id="rId89"/>
            </p:custDataLst>
          </p:nvPr>
        </p:nvSpPr>
        <p:spPr bwMode="auto">
          <a:xfrm>
            <a:off x="6257780" y="3712995"/>
            <a:ext cx="438314" cy="349564"/>
          </a:xfrm>
          <a:custGeom>
            <a:avLst/>
            <a:gdLst>
              <a:gd name="T0" fmla="*/ 224 w 1068"/>
              <a:gd name="T1" fmla="*/ 39 h 849"/>
              <a:gd name="T2" fmla="*/ 273 w 1068"/>
              <a:gd name="T3" fmla="*/ 55 h 849"/>
              <a:gd name="T4" fmla="*/ 331 w 1068"/>
              <a:gd name="T5" fmla="*/ 39 h 849"/>
              <a:gd name="T6" fmla="*/ 472 w 1068"/>
              <a:gd name="T7" fmla="*/ 63 h 849"/>
              <a:gd name="T8" fmla="*/ 530 w 1068"/>
              <a:gd name="T9" fmla="*/ 55 h 849"/>
              <a:gd name="T10" fmla="*/ 546 w 1068"/>
              <a:gd name="T11" fmla="*/ 8 h 849"/>
              <a:gd name="T12" fmla="*/ 579 w 1068"/>
              <a:gd name="T13" fmla="*/ 39 h 849"/>
              <a:gd name="T14" fmla="*/ 637 w 1068"/>
              <a:gd name="T15" fmla="*/ 8 h 849"/>
              <a:gd name="T16" fmla="*/ 654 w 1068"/>
              <a:gd name="T17" fmla="*/ 39 h 849"/>
              <a:gd name="T18" fmla="*/ 712 w 1068"/>
              <a:gd name="T19" fmla="*/ 24 h 849"/>
              <a:gd name="T20" fmla="*/ 736 w 1068"/>
              <a:gd name="T21" fmla="*/ 70 h 849"/>
              <a:gd name="T22" fmla="*/ 761 w 1068"/>
              <a:gd name="T23" fmla="*/ 94 h 849"/>
              <a:gd name="T24" fmla="*/ 811 w 1068"/>
              <a:gd name="T25" fmla="*/ 117 h 849"/>
              <a:gd name="T26" fmla="*/ 844 w 1068"/>
              <a:gd name="T27" fmla="*/ 140 h 849"/>
              <a:gd name="T28" fmla="*/ 935 w 1068"/>
              <a:gd name="T29" fmla="*/ 171 h 849"/>
              <a:gd name="T30" fmla="*/ 902 w 1068"/>
              <a:gd name="T31" fmla="*/ 234 h 849"/>
              <a:gd name="T32" fmla="*/ 861 w 1068"/>
              <a:gd name="T33" fmla="*/ 280 h 849"/>
              <a:gd name="T34" fmla="*/ 869 w 1068"/>
              <a:gd name="T35" fmla="*/ 335 h 849"/>
              <a:gd name="T36" fmla="*/ 943 w 1068"/>
              <a:gd name="T37" fmla="*/ 327 h 849"/>
              <a:gd name="T38" fmla="*/ 993 w 1068"/>
              <a:gd name="T39" fmla="*/ 358 h 849"/>
              <a:gd name="T40" fmla="*/ 1026 w 1068"/>
              <a:gd name="T41" fmla="*/ 389 h 849"/>
              <a:gd name="T42" fmla="*/ 1026 w 1068"/>
              <a:gd name="T43" fmla="*/ 443 h 849"/>
              <a:gd name="T44" fmla="*/ 1067 w 1068"/>
              <a:gd name="T45" fmla="*/ 475 h 849"/>
              <a:gd name="T46" fmla="*/ 1051 w 1068"/>
              <a:gd name="T47" fmla="*/ 521 h 849"/>
              <a:gd name="T48" fmla="*/ 1018 w 1068"/>
              <a:gd name="T49" fmla="*/ 545 h 849"/>
              <a:gd name="T50" fmla="*/ 993 w 1068"/>
              <a:gd name="T51" fmla="*/ 576 h 849"/>
              <a:gd name="T52" fmla="*/ 968 w 1068"/>
              <a:gd name="T53" fmla="*/ 583 h 849"/>
              <a:gd name="T54" fmla="*/ 927 w 1068"/>
              <a:gd name="T55" fmla="*/ 599 h 849"/>
              <a:gd name="T56" fmla="*/ 902 w 1068"/>
              <a:gd name="T57" fmla="*/ 638 h 849"/>
              <a:gd name="T58" fmla="*/ 869 w 1068"/>
              <a:gd name="T59" fmla="*/ 684 h 849"/>
              <a:gd name="T60" fmla="*/ 877 w 1068"/>
              <a:gd name="T61" fmla="*/ 716 h 849"/>
              <a:gd name="T62" fmla="*/ 885 w 1068"/>
              <a:gd name="T63" fmla="*/ 747 h 849"/>
              <a:gd name="T64" fmla="*/ 910 w 1068"/>
              <a:gd name="T65" fmla="*/ 786 h 849"/>
              <a:gd name="T66" fmla="*/ 885 w 1068"/>
              <a:gd name="T67" fmla="*/ 832 h 849"/>
              <a:gd name="T68" fmla="*/ 852 w 1068"/>
              <a:gd name="T69" fmla="*/ 840 h 849"/>
              <a:gd name="T70" fmla="*/ 794 w 1068"/>
              <a:gd name="T71" fmla="*/ 848 h 849"/>
              <a:gd name="T72" fmla="*/ 770 w 1068"/>
              <a:gd name="T73" fmla="*/ 809 h 849"/>
              <a:gd name="T74" fmla="*/ 745 w 1068"/>
              <a:gd name="T75" fmla="*/ 786 h 849"/>
              <a:gd name="T76" fmla="*/ 703 w 1068"/>
              <a:gd name="T77" fmla="*/ 754 h 849"/>
              <a:gd name="T78" fmla="*/ 654 w 1068"/>
              <a:gd name="T79" fmla="*/ 731 h 849"/>
              <a:gd name="T80" fmla="*/ 612 w 1068"/>
              <a:gd name="T81" fmla="*/ 692 h 849"/>
              <a:gd name="T82" fmla="*/ 621 w 1068"/>
              <a:gd name="T83" fmla="*/ 607 h 849"/>
              <a:gd name="T84" fmla="*/ 596 w 1068"/>
              <a:gd name="T85" fmla="*/ 568 h 849"/>
              <a:gd name="T86" fmla="*/ 571 w 1068"/>
              <a:gd name="T87" fmla="*/ 630 h 849"/>
              <a:gd name="T88" fmla="*/ 521 w 1068"/>
              <a:gd name="T89" fmla="*/ 653 h 849"/>
              <a:gd name="T90" fmla="*/ 422 w 1068"/>
              <a:gd name="T91" fmla="*/ 646 h 849"/>
              <a:gd name="T92" fmla="*/ 439 w 1068"/>
              <a:gd name="T93" fmla="*/ 591 h 849"/>
              <a:gd name="T94" fmla="*/ 430 w 1068"/>
              <a:gd name="T95" fmla="*/ 537 h 849"/>
              <a:gd name="T96" fmla="*/ 414 w 1068"/>
              <a:gd name="T97" fmla="*/ 506 h 849"/>
              <a:gd name="T98" fmla="*/ 372 w 1068"/>
              <a:gd name="T99" fmla="*/ 482 h 849"/>
              <a:gd name="T100" fmla="*/ 306 w 1068"/>
              <a:gd name="T101" fmla="*/ 490 h 849"/>
              <a:gd name="T102" fmla="*/ 281 w 1068"/>
              <a:gd name="T103" fmla="*/ 420 h 849"/>
              <a:gd name="T104" fmla="*/ 248 w 1068"/>
              <a:gd name="T105" fmla="*/ 397 h 849"/>
              <a:gd name="T106" fmla="*/ 190 w 1068"/>
              <a:gd name="T107" fmla="*/ 381 h 849"/>
              <a:gd name="T108" fmla="*/ 182 w 1068"/>
              <a:gd name="T109" fmla="*/ 311 h 849"/>
              <a:gd name="T110" fmla="*/ 116 w 1068"/>
              <a:gd name="T111" fmla="*/ 288 h 849"/>
              <a:gd name="T112" fmla="*/ 58 w 1068"/>
              <a:gd name="T113" fmla="*/ 296 h 849"/>
              <a:gd name="T114" fmla="*/ 17 w 1068"/>
              <a:gd name="T115" fmla="*/ 249 h 849"/>
              <a:gd name="T116" fmla="*/ 0 w 1068"/>
              <a:gd name="T117" fmla="*/ 171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68" h="849">
                <a:moveTo>
                  <a:pt x="8" y="140"/>
                </a:moveTo>
                <a:lnTo>
                  <a:pt x="174" y="47"/>
                </a:lnTo>
                <a:lnTo>
                  <a:pt x="224" y="39"/>
                </a:lnTo>
                <a:lnTo>
                  <a:pt x="248" y="39"/>
                </a:lnTo>
                <a:lnTo>
                  <a:pt x="257" y="31"/>
                </a:lnTo>
                <a:cubicBezTo>
                  <a:pt x="257" y="31"/>
                  <a:pt x="265" y="55"/>
                  <a:pt x="273" y="55"/>
                </a:cubicBezTo>
                <a:cubicBezTo>
                  <a:pt x="273" y="55"/>
                  <a:pt x="290" y="70"/>
                  <a:pt x="290" y="62"/>
                </a:cubicBezTo>
                <a:cubicBezTo>
                  <a:pt x="298" y="55"/>
                  <a:pt x="298" y="47"/>
                  <a:pt x="306" y="47"/>
                </a:cubicBezTo>
                <a:cubicBezTo>
                  <a:pt x="306" y="39"/>
                  <a:pt x="315" y="31"/>
                  <a:pt x="331" y="39"/>
                </a:cubicBezTo>
                <a:cubicBezTo>
                  <a:pt x="339" y="47"/>
                  <a:pt x="339" y="78"/>
                  <a:pt x="339" y="78"/>
                </a:cubicBezTo>
                <a:cubicBezTo>
                  <a:pt x="406" y="94"/>
                  <a:pt x="364" y="101"/>
                  <a:pt x="455" y="78"/>
                </a:cubicBezTo>
                <a:lnTo>
                  <a:pt x="472" y="63"/>
                </a:lnTo>
                <a:cubicBezTo>
                  <a:pt x="472" y="55"/>
                  <a:pt x="464" y="39"/>
                  <a:pt x="480" y="47"/>
                </a:cubicBezTo>
                <a:cubicBezTo>
                  <a:pt x="488" y="55"/>
                  <a:pt x="497" y="55"/>
                  <a:pt x="505" y="55"/>
                </a:cubicBezTo>
                <a:lnTo>
                  <a:pt x="530" y="55"/>
                </a:lnTo>
                <a:cubicBezTo>
                  <a:pt x="530" y="55"/>
                  <a:pt x="538" y="47"/>
                  <a:pt x="530" y="39"/>
                </a:cubicBezTo>
                <a:cubicBezTo>
                  <a:pt x="530" y="31"/>
                  <a:pt x="521" y="24"/>
                  <a:pt x="530" y="24"/>
                </a:cubicBezTo>
                <a:cubicBezTo>
                  <a:pt x="530" y="16"/>
                  <a:pt x="546" y="8"/>
                  <a:pt x="546" y="8"/>
                </a:cubicBezTo>
                <a:cubicBezTo>
                  <a:pt x="546" y="8"/>
                  <a:pt x="555" y="8"/>
                  <a:pt x="555" y="16"/>
                </a:cubicBezTo>
                <a:cubicBezTo>
                  <a:pt x="563" y="24"/>
                  <a:pt x="563" y="24"/>
                  <a:pt x="563" y="31"/>
                </a:cubicBezTo>
                <a:cubicBezTo>
                  <a:pt x="571" y="31"/>
                  <a:pt x="571" y="39"/>
                  <a:pt x="579" y="39"/>
                </a:cubicBezTo>
                <a:cubicBezTo>
                  <a:pt x="596" y="39"/>
                  <a:pt x="596" y="39"/>
                  <a:pt x="604" y="31"/>
                </a:cubicBezTo>
                <a:cubicBezTo>
                  <a:pt x="612" y="24"/>
                  <a:pt x="612" y="24"/>
                  <a:pt x="621" y="16"/>
                </a:cubicBezTo>
                <a:cubicBezTo>
                  <a:pt x="629" y="0"/>
                  <a:pt x="629" y="0"/>
                  <a:pt x="637" y="8"/>
                </a:cubicBezTo>
                <a:cubicBezTo>
                  <a:pt x="646" y="8"/>
                  <a:pt x="662" y="16"/>
                  <a:pt x="662" y="16"/>
                </a:cubicBezTo>
                <a:lnTo>
                  <a:pt x="646" y="31"/>
                </a:lnTo>
                <a:cubicBezTo>
                  <a:pt x="646" y="31"/>
                  <a:pt x="637" y="31"/>
                  <a:pt x="654" y="39"/>
                </a:cubicBezTo>
                <a:cubicBezTo>
                  <a:pt x="679" y="47"/>
                  <a:pt x="687" y="47"/>
                  <a:pt x="687" y="47"/>
                </a:cubicBezTo>
                <a:lnTo>
                  <a:pt x="703" y="24"/>
                </a:lnTo>
                <a:cubicBezTo>
                  <a:pt x="703" y="24"/>
                  <a:pt x="703" y="8"/>
                  <a:pt x="712" y="24"/>
                </a:cubicBezTo>
                <a:cubicBezTo>
                  <a:pt x="712" y="31"/>
                  <a:pt x="720" y="47"/>
                  <a:pt x="720" y="47"/>
                </a:cubicBezTo>
                <a:cubicBezTo>
                  <a:pt x="720" y="47"/>
                  <a:pt x="720" y="70"/>
                  <a:pt x="728" y="70"/>
                </a:cubicBezTo>
                <a:cubicBezTo>
                  <a:pt x="736" y="70"/>
                  <a:pt x="736" y="63"/>
                  <a:pt x="736" y="70"/>
                </a:cubicBezTo>
                <a:cubicBezTo>
                  <a:pt x="736" y="78"/>
                  <a:pt x="728" y="78"/>
                  <a:pt x="736" y="78"/>
                </a:cubicBezTo>
                <a:cubicBezTo>
                  <a:pt x="736" y="86"/>
                  <a:pt x="753" y="86"/>
                  <a:pt x="753" y="86"/>
                </a:cubicBezTo>
                <a:cubicBezTo>
                  <a:pt x="753" y="86"/>
                  <a:pt x="761" y="86"/>
                  <a:pt x="761" y="94"/>
                </a:cubicBezTo>
                <a:lnTo>
                  <a:pt x="761" y="109"/>
                </a:lnTo>
                <a:lnTo>
                  <a:pt x="786" y="109"/>
                </a:lnTo>
                <a:cubicBezTo>
                  <a:pt x="794" y="109"/>
                  <a:pt x="803" y="117"/>
                  <a:pt x="811" y="117"/>
                </a:cubicBezTo>
                <a:cubicBezTo>
                  <a:pt x="819" y="109"/>
                  <a:pt x="828" y="101"/>
                  <a:pt x="828" y="101"/>
                </a:cubicBezTo>
                <a:cubicBezTo>
                  <a:pt x="828" y="109"/>
                  <a:pt x="844" y="109"/>
                  <a:pt x="844" y="117"/>
                </a:cubicBezTo>
                <a:cubicBezTo>
                  <a:pt x="836" y="132"/>
                  <a:pt x="828" y="132"/>
                  <a:pt x="844" y="140"/>
                </a:cubicBezTo>
                <a:cubicBezTo>
                  <a:pt x="861" y="140"/>
                  <a:pt x="877" y="148"/>
                  <a:pt x="885" y="148"/>
                </a:cubicBezTo>
                <a:cubicBezTo>
                  <a:pt x="894" y="156"/>
                  <a:pt x="919" y="164"/>
                  <a:pt x="919" y="164"/>
                </a:cubicBezTo>
                <a:cubicBezTo>
                  <a:pt x="927" y="164"/>
                  <a:pt x="935" y="164"/>
                  <a:pt x="935" y="171"/>
                </a:cubicBezTo>
                <a:cubicBezTo>
                  <a:pt x="935" y="179"/>
                  <a:pt x="919" y="195"/>
                  <a:pt x="919" y="195"/>
                </a:cubicBezTo>
                <a:cubicBezTo>
                  <a:pt x="919" y="195"/>
                  <a:pt x="910" y="202"/>
                  <a:pt x="910" y="210"/>
                </a:cubicBezTo>
                <a:lnTo>
                  <a:pt x="902" y="234"/>
                </a:lnTo>
                <a:cubicBezTo>
                  <a:pt x="894" y="241"/>
                  <a:pt x="885" y="257"/>
                  <a:pt x="885" y="257"/>
                </a:cubicBezTo>
                <a:cubicBezTo>
                  <a:pt x="885" y="257"/>
                  <a:pt x="877" y="272"/>
                  <a:pt x="869" y="272"/>
                </a:cubicBezTo>
                <a:lnTo>
                  <a:pt x="861" y="280"/>
                </a:lnTo>
                <a:lnTo>
                  <a:pt x="861" y="304"/>
                </a:lnTo>
                <a:lnTo>
                  <a:pt x="869" y="319"/>
                </a:lnTo>
                <a:lnTo>
                  <a:pt x="869" y="335"/>
                </a:lnTo>
                <a:lnTo>
                  <a:pt x="902" y="327"/>
                </a:lnTo>
                <a:lnTo>
                  <a:pt x="910" y="335"/>
                </a:lnTo>
                <a:cubicBezTo>
                  <a:pt x="927" y="335"/>
                  <a:pt x="935" y="327"/>
                  <a:pt x="943" y="327"/>
                </a:cubicBezTo>
                <a:lnTo>
                  <a:pt x="960" y="342"/>
                </a:lnTo>
                <a:lnTo>
                  <a:pt x="968" y="350"/>
                </a:lnTo>
                <a:cubicBezTo>
                  <a:pt x="976" y="350"/>
                  <a:pt x="993" y="358"/>
                  <a:pt x="993" y="358"/>
                </a:cubicBezTo>
                <a:lnTo>
                  <a:pt x="993" y="381"/>
                </a:lnTo>
                <a:lnTo>
                  <a:pt x="1010" y="381"/>
                </a:lnTo>
                <a:cubicBezTo>
                  <a:pt x="1018" y="381"/>
                  <a:pt x="1026" y="389"/>
                  <a:pt x="1026" y="389"/>
                </a:cubicBezTo>
                <a:cubicBezTo>
                  <a:pt x="1026" y="389"/>
                  <a:pt x="1026" y="412"/>
                  <a:pt x="1018" y="412"/>
                </a:cubicBezTo>
                <a:cubicBezTo>
                  <a:pt x="1018" y="420"/>
                  <a:pt x="1010" y="428"/>
                  <a:pt x="1010" y="428"/>
                </a:cubicBezTo>
                <a:cubicBezTo>
                  <a:pt x="1010" y="428"/>
                  <a:pt x="1018" y="443"/>
                  <a:pt x="1026" y="443"/>
                </a:cubicBezTo>
                <a:lnTo>
                  <a:pt x="1043" y="443"/>
                </a:lnTo>
                <a:cubicBezTo>
                  <a:pt x="1051" y="443"/>
                  <a:pt x="1059" y="459"/>
                  <a:pt x="1059" y="459"/>
                </a:cubicBezTo>
                <a:cubicBezTo>
                  <a:pt x="1059" y="459"/>
                  <a:pt x="1067" y="468"/>
                  <a:pt x="1067" y="475"/>
                </a:cubicBezTo>
                <a:cubicBezTo>
                  <a:pt x="1067" y="483"/>
                  <a:pt x="1059" y="498"/>
                  <a:pt x="1059" y="498"/>
                </a:cubicBezTo>
                <a:lnTo>
                  <a:pt x="1059" y="513"/>
                </a:lnTo>
                <a:lnTo>
                  <a:pt x="1051" y="521"/>
                </a:lnTo>
                <a:lnTo>
                  <a:pt x="1034" y="521"/>
                </a:lnTo>
                <a:cubicBezTo>
                  <a:pt x="1034" y="521"/>
                  <a:pt x="1034" y="545"/>
                  <a:pt x="1026" y="545"/>
                </a:cubicBezTo>
                <a:lnTo>
                  <a:pt x="1018" y="545"/>
                </a:lnTo>
                <a:cubicBezTo>
                  <a:pt x="1010" y="545"/>
                  <a:pt x="1001" y="552"/>
                  <a:pt x="1001" y="552"/>
                </a:cubicBezTo>
                <a:lnTo>
                  <a:pt x="1001" y="560"/>
                </a:lnTo>
                <a:lnTo>
                  <a:pt x="993" y="576"/>
                </a:lnTo>
                <a:lnTo>
                  <a:pt x="985" y="576"/>
                </a:lnTo>
                <a:lnTo>
                  <a:pt x="976" y="576"/>
                </a:lnTo>
                <a:cubicBezTo>
                  <a:pt x="976" y="583"/>
                  <a:pt x="968" y="583"/>
                  <a:pt x="968" y="583"/>
                </a:cubicBezTo>
                <a:cubicBezTo>
                  <a:pt x="968" y="583"/>
                  <a:pt x="960" y="576"/>
                  <a:pt x="952" y="576"/>
                </a:cubicBezTo>
                <a:cubicBezTo>
                  <a:pt x="952" y="576"/>
                  <a:pt x="943" y="576"/>
                  <a:pt x="943" y="583"/>
                </a:cubicBezTo>
                <a:cubicBezTo>
                  <a:pt x="935" y="591"/>
                  <a:pt x="935" y="599"/>
                  <a:pt x="927" y="599"/>
                </a:cubicBezTo>
                <a:lnTo>
                  <a:pt x="919" y="607"/>
                </a:lnTo>
                <a:cubicBezTo>
                  <a:pt x="919" y="607"/>
                  <a:pt x="919" y="622"/>
                  <a:pt x="910" y="622"/>
                </a:cubicBezTo>
                <a:cubicBezTo>
                  <a:pt x="910" y="630"/>
                  <a:pt x="902" y="638"/>
                  <a:pt x="902" y="638"/>
                </a:cubicBezTo>
                <a:lnTo>
                  <a:pt x="902" y="646"/>
                </a:lnTo>
                <a:cubicBezTo>
                  <a:pt x="902" y="653"/>
                  <a:pt x="902" y="661"/>
                  <a:pt x="894" y="669"/>
                </a:cubicBezTo>
                <a:cubicBezTo>
                  <a:pt x="885" y="669"/>
                  <a:pt x="869" y="684"/>
                  <a:pt x="869" y="684"/>
                </a:cubicBezTo>
                <a:lnTo>
                  <a:pt x="869" y="692"/>
                </a:lnTo>
                <a:cubicBezTo>
                  <a:pt x="877" y="692"/>
                  <a:pt x="877" y="700"/>
                  <a:pt x="877" y="700"/>
                </a:cubicBezTo>
                <a:lnTo>
                  <a:pt x="877" y="716"/>
                </a:lnTo>
                <a:cubicBezTo>
                  <a:pt x="877" y="716"/>
                  <a:pt x="869" y="723"/>
                  <a:pt x="869" y="731"/>
                </a:cubicBezTo>
                <a:lnTo>
                  <a:pt x="877" y="731"/>
                </a:lnTo>
                <a:lnTo>
                  <a:pt x="885" y="747"/>
                </a:lnTo>
                <a:lnTo>
                  <a:pt x="894" y="762"/>
                </a:lnTo>
                <a:lnTo>
                  <a:pt x="902" y="762"/>
                </a:lnTo>
                <a:cubicBezTo>
                  <a:pt x="902" y="762"/>
                  <a:pt x="910" y="778"/>
                  <a:pt x="910" y="786"/>
                </a:cubicBezTo>
                <a:lnTo>
                  <a:pt x="910" y="801"/>
                </a:lnTo>
                <a:lnTo>
                  <a:pt x="894" y="817"/>
                </a:lnTo>
                <a:lnTo>
                  <a:pt x="885" y="832"/>
                </a:lnTo>
                <a:lnTo>
                  <a:pt x="877" y="832"/>
                </a:lnTo>
                <a:lnTo>
                  <a:pt x="861" y="832"/>
                </a:lnTo>
                <a:lnTo>
                  <a:pt x="852" y="840"/>
                </a:lnTo>
                <a:lnTo>
                  <a:pt x="836" y="840"/>
                </a:lnTo>
                <a:lnTo>
                  <a:pt x="819" y="848"/>
                </a:lnTo>
                <a:lnTo>
                  <a:pt x="794" y="848"/>
                </a:lnTo>
                <a:lnTo>
                  <a:pt x="786" y="832"/>
                </a:lnTo>
                <a:lnTo>
                  <a:pt x="778" y="817"/>
                </a:lnTo>
                <a:lnTo>
                  <a:pt x="770" y="809"/>
                </a:lnTo>
                <a:lnTo>
                  <a:pt x="761" y="809"/>
                </a:lnTo>
                <a:lnTo>
                  <a:pt x="736" y="801"/>
                </a:lnTo>
                <a:lnTo>
                  <a:pt x="745" y="786"/>
                </a:lnTo>
                <a:lnTo>
                  <a:pt x="736" y="770"/>
                </a:lnTo>
                <a:lnTo>
                  <a:pt x="720" y="770"/>
                </a:lnTo>
                <a:lnTo>
                  <a:pt x="703" y="754"/>
                </a:lnTo>
                <a:cubicBezTo>
                  <a:pt x="703" y="754"/>
                  <a:pt x="703" y="747"/>
                  <a:pt x="695" y="739"/>
                </a:cubicBezTo>
                <a:cubicBezTo>
                  <a:pt x="687" y="739"/>
                  <a:pt x="687" y="731"/>
                  <a:pt x="679" y="731"/>
                </a:cubicBezTo>
                <a:lnTo>
                  <a:pt x="654" y="731"/>
                </a:lnTo>
                <a:cubicBezTo>
                  <a:pt x="654" y="731"/>
                  <a:pt x="645" y="716"/>
                  <a:pt x="637" y="716"/>
                </a:cubicBezTo>
                <a:lnTo>
                  <a:pt x="604" y="716"/>
                </a:lnTo>
                <a:lnTo>
                  <a:pt x="612" y="692"/>
                </a:lnTo>
                <a:lnTo>
                  <a:pt x="612" y="653"/>
                </a:lnTo>
                <a:cubicBezTo>
                  <a:pt x="612" y="653"/>
                  <a:pt x="604" y="646"/>
                  <a:pt x="612" y="630"/>
                </a:cubicBezTo>
                <a:cubicBezTo>
                  <a:pt x="621" y="615"/>
                  <a:pt x="612" y="622"/>
                  <a:pt x="621" y="607"/>
                </a:cubicBezTo>
                <a:cubicBezTo>
                  <a:pt x="629" y="583"/>
                  <a:pt x="629" y="576"/>
                  <a:pt x="629" y="576"/>
                </a:cubicBezTo>
                <a:lnTo>
                  <a:pt x="612" y="568"/>
                </a:lnTo>
                <a:cubicBezTo>
                  <a:pt x="612" y="568"/>
                  <a:pt x="604" y="560"/>
                  <a:pt x="596" y="568"/>
                </a:cubicBezTo>
                <a:cubicBezTo>
                  <a:pt x="596" y="583"/>
                  <a:pt x="588" y="583"/>
                  <a:pt x="588" y="583"/>
                </a:cubicBezTo>
                <a:lnTo>
                  <a:pt x="571" y="607"/>
                </a:lnTo>
                <a:lnTo>
                  <a:pt x="571" y="630"/>
                </a:lnTo>
                <a:cubicBezTo>
                  <a:pt x="571" y="630"/>
                  <a:pt x="579" y="638"/>
                  <a:pt x="554" y="638"/>
                </a:cubicBezTo>
                <a:lnTo>
                  <a:pt x="521" y="638"/>
                </a:lnTo>
                <a:cubicBezTo>
                  <a:pt x="521" y="638"/>
                  <a:pt x="538" y="653"/>
                  <a:pt x="521" y="653"/>
                </a:cubicBezTo>
                <a:lnTo>
                  <a:pt x="472" y="653"/>
                </a:lnTo>
                <a:lnTo>
                  <a:pt x="455" y="638"/>
                </a:lnTo>
                <a:lnTo>
                  <a:pt x="422" y="646"/>
                </a:lnTo>
                <a:lnTo>
                  <a:pt x="422" y="622"/>
                </a:lnTo>
                <a:cubicBezTo>
                  <a:pt x="422" y="615"/>
                  <a:pt x="414" y="599"/>
                  <a:pt x="422" y="599"/>
                </a:cubicBezTo>
                <a:cubicBezTo>
                  <a:pt x="430" y="599"/>
                  <a:pt x="439" y="591"/>
                  <a:pt x="439" y="591"/>
                </a:cubicBezTo>
                <a:lnTo>
                  <a:pt x="430" y="568"/>
                </a:lnTo>
                <a:cubicBezTo>
                  <a:pt x="430" y="568"/>
                  <a:pt x="422" y="568"/>
                  <a:pt x="422" y="560"/>
                </a:cubicBezTo>
                <a:cubicBezTo>
                  <a:pt x="422" y="552"/>
                  <a:pt x="430" y="537"/>
                  <a:pt x="430" y="537"/>
                </a:cubicBezTo>
                <a:cubicBezTo>
                  <a:pt x="439" y="529"/>
                  <a:pt x="439" y="513"/>
                  <a:pt x="439" y="513"/>
                </a:cubicBezTo>
                <a:lnTo>
                  <a:pt x="430" y="513"/>
                </a:lnTo>
                <a:cubicBezTo>
                  <a:pt x="430" y="513"/>
                  <a:pt x="414" y="521"/>
                  <a:pt x="414" y="506"/>
                </a:cubicBezTo>
                <a:cubicBezTo>
                  <a:pt x="414" y="498"/>
                  <a:pt x="406" y="482"/>
                  <a:pt x="406" y="482"/>
                </a:cubicBezTo>
                <a:lnTo>
                  <a:pt x="389" y="475"/>
                </a:lnTo>
                <a:cubicBezTo>
                  <a:pt x="381" y="475"/>
                  <a:pt x="381" y="475"/>
                  <a:pt x="372" y="482"/>
                </a:cubicBezTo>
                <a:lnTo>
                  <a:pt x="348" y="475"/>
                </a:lnTo>
                <a:lnTo>
                  <a:pt x="323" y="475"/>
                </a:lnTo>
                <a:cubicBezTo>
                  <a:pt x="315" y="475"/>
                  <a:pt x="306" y="490"/>
                  <a:pt x="306" y="490"/>
                </a:cubicBezTo>
                <a:lnTo>
                  <a:pt x="290" y="467"/>
                </a:lnTo>
                <a:lnTo>
                  <a:pt x="298" y="443"/>
                </a:lnTo>
                <a:cubicBezTo>
                  <a:pt x="298" y="443"/>
                  <a:pt x="281" y="428"/>
                  <a:pt x="281" y="420"/>
                </a:cubicBezTo>
                <a:lnTo>
                  <a:pt x="273" y="405"/>
                </a:lnTo>
                <a:lnTo>
                  <a:pt x="257" y="405"/>
                </a:lnTo>
                <a:lnTo>
                  <a:pt x="248" y="397"/>
                </a:lnTo>
                <a:lnTo>
                  <a:pt x="223" y="397"/>
                </a:lnTo>
                <a:lnTo>
                  <a:pt x="207" y="397"/>
                </a:lnTo>
                <a:lnTo>
                  <a:pt x="190" y="381"/>
                </a:lnTo>
                <a:lnTo>
                  <a:pt x="190" y="358"/>
                </a:lnTo>
                <a:cubicBezTo>
                  <a:pt x="182" y="350"/>
                  <a:pt x="174" y="335"/>
                  <a:pt x="174" y="327"/>
                </a:cubicBezTo>
                <a:lnTo>
                  <a:pt x="182" y="311"/>
                </a:lnTo>
                <a:cubicBezTo>
                  <a:pt x="174" y="303"/>
                  <a:pt x="157" y="288"/>
                  <a:pt x="157" y="288"/>
                </a:cubicBezTo>
                <a:lnTo>
                  <a:pt x="149" y="272"/>
                </a:lnTo>
                <a:cubicBezTo>
                  <a:pt x="149" y="272"/>
                  <a:pt x="124" y="288"/>
                  <a:pt x="116" y="288"/>
                </a:cubicBezTo>
                <a:cubicBezTo>
                  <a:pt x="108" y="288"/>
                  <a:pt x="91" y="280"/>
                  <a:pt x="91" y="288"/>
                </a:cubicBezTo>
                <a:cubicBezTo>
                  <a:pt x="91" y="288"/>
                  <a:pt x="99" y="303"/>
                  <a:pt x="91" y="303"/>
                </a:cubicBezTo>
                <a:cubicBezTo>
                  <a:pt x="83" y="303"/>
                  <a:pt x="66" y="303"/>
                  <a:pt x="58" y="296"/>
                </a:cubicBezTo>
                <a:cubicBezTo>
                  <a:pt x="50" y="288"/>
                  <a:pt x="50" y="280"/>
                  <a:pt x="50" y="272"/>
                </a:cubicBezTo>
                <a:cubicBezTo>
                  <a:pt x="41" y="272"/>
                  <a:pt x="41" y="257"/>
                  <a:pt x="33" y="257"/>
                </a:cubicBezTo>
                <a:cubicBezTo>
                  <a:pt x="25" y="257"/>
                  <a:pt x="17" y="257"/>
                  <a:pt x="17" y="249"/>
                </a:cubicBezTo>
                <a:lnTo>
                  <a:pt x="17" y="210"/>
                </a:lnTo>
                <a:cubicBezTo>
                  <a:pt x="17" y="210"/>
                  <a:pt x="17" y="187"/>
                  <a:pt x="8" y="187"/>
                </a:cubicBezTo>
                <a:cubicBezTo>
                  <a:pt x="8" y="179"/>
                  <a:pt x="0" y="171"/>
                  <a:pt x="0" y="171"/>
                </a:cubicBezTo>
                <a:lnTo>
                  <a:pt x="0" y="148"/>
                </a:lnTo>
                <a:lnTo>
                  <a:pt x="8" y="14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98" name="Freeform 90">
            <a:extLst>
              <a:ext uri="{FF2B5EF4-FFF2-40B4-BE49-F238E27FC236}">
                <a16:creationId xmlns:a16="http://schemas.microsoft.com/office/drawing/2014/main" id="{2B60DC26-8B35-F7A9-AC38-F9BE99845A94}"/>
              </a:ext>
            </a:extLst>
          </p:cNvPr>
          <p:cNvSpPr>
            <a:spLocks noChangeArrowheads="1"/>
          </p:cNvSpPr>
          <p:nvPr>
            <p:custDataLst>
              <p:tags r:id="rId90"/>
            </p:custDataLst>
          </p:nvPr>
        </p:nvSpPr>
        <p:spPr bwMode="auto">
          <a:xfrm>
            <a:off x="7353567" y="3790877"/>
            <a:ext cx="800558" cy="425637"/>
          </a:xfrm>
          <a:custGeom>
            <a:avLst/>
            <a:gdLst>
              <a:gd name="T0" fmla="*/ 455 w 1947"/>
              <a:gd name="T1" fmla="*/ 155 h 1037"/>
              <a:gd name="T2" fmla="*/ 503 w 1947"/>
              <a:gd name="T3" fmla="*/ 93 h 1037"/>
              <a:gd name="T4" fmla="*/ 592 w 1947"/>
              <a:gd name="T5" fmla="*/ 39 h 1037"/>
              <a:gd name="T6" fmla="*/ 690 w 1947"/>
              <a:gd name="T7" fmla="*/ 23 h 1037"/>
              <a:gd name="T8" fmla="*/ 706 w 1947"/>
              <a:gd name="T9" fmla="*/ 85 h 1037"/>
              <a:gd name="T10" fmla="*/ 771 w 1947"/>
              <a:gd name="T11" fmla="*/ 85 h 1037"/>
              <a:gd name="T12" fmla="*/ 803 w 1947"/>
              <a:gd name="T13" fmla="*/ 23 h 1037"/>
              <a:gd name="T14" fmla="*/ 860 w 1947"/>
              <a:gd name="T15" fmla="*/ 31 h 1037"/>
              <a:gd name="T16" fmla="*/ 909 w 1947"/>
              <a:gd name="T17" fmla="*/ 101 h 1037"/>
              <a:gd name="T18" fmla="*/ 981 w 1947"/>
              <a:gd name="T19" fmla="*/ 116 h 1037"/>
              <a:gd name="T20" fmla="*/ 1029 w 1947"/>
              <a:gd name="T21" fmla="*/ 124 h 1037"/>
              <a:gd name="T22" fmla="*/ 1102 w 1947"/>
              <a:gd name="T23" fmla="*/ 155 h 1037"/>
              <a:gd name="T24" fmla="*/ 1175 w 1947"/>
              <a:gd name="T25" fmla="*/ 132 h 1037"/>
              <a:gd name="T26" fmla="*/ 1167 w 1947"/>
              <a:gd name="T27" fmla="*/ 218 h 1037"/>
              <a:gd name="T28" fmla="*/ 1200 w 1947"/>
              <a:gd name="T29" fmla="*/ 272 h 1037"/>
              <a:gd name="T30" fmla="*/ 1265 w 1947"/>
              <a:gd name="T31" fmla="*/ 319 h 1037"/>
              <a:gd name="T32" fmla="*/ 1338 w 1947"/>
              <a:gd name="T33" fmla="*/ 303 h 1037"/>
              <a:gd name="T34" fmla="*/ 1354 w 1947"/>
              <a:gd name="T35" fmla="*/ 210 h 1037"/>
              <a:gd name="T36" fmla="*/ 1516 w 1947"/>
              <a:gd name="T37" fmla="*/ 257 h 1037"/>
              <a:gd name="T38" fmla="*/ 1597 w 1947"/>
              <a:gd name="T39" fmla="*/ 249 h 1037"/>
              <a:gd name="T40" fmla="*/ 1589 w 1947"/>
              <a:gd name="T41" fmla="*/ 319 h 1037"/>
              <a:gd name="T42" fmla="*/ 1670 w 1947"/>
              <a:gd name="T43" fmla="*/ 358 h 1037"/>
              <a:gd name="T44" fmla="*/ 1775 w 1947"/>
              <a:gd name="T45" fmla="*/ 373 h 1037"/>
              <a:gd name="T46" fmla="*/ 1881 w 1947"/>
              <a:gd name="T47" fmla="*/ 444 h 1037"/>
              <a:gd name="T48" fmla="*/ 1930 w 1947"/>
              <a:gd name="T49" fmla="*/ 498 h 1037"/>
              <a:gd name="T50" fmla="*/ 1897 w 1947"/>
              <a:gd name="T51" fmla="*/ 537 h 1037"/>
              <a:gd name="T52" fmla="*/ 1840 w 1947"/>
              <a:gd name="T53" fmla="*/ 560 h 1037"/>
              <a:gd name="T54" fmla="*/ 1808 w 1947"/>
              <a:gd name="T55" fmla="*/ 623 h 1037"/>
              <a:gd name="T56" fmla="*/ 1743 w 1947"/>
              <a:gd name="T57" fmla="*/ 693 h 1037"/>
              <a:gd name="T58" fmla="*/ 1702 w 1947"/>
              <a:gd name="T59" fmla="*/ 771 h 1037"/>
              <a:gd name="T60" fmla="*/ 1670 w 1947"/>
              <a:gd name="T61" fmla="*/ 817 h 1037"/>
              <a:gd name="T62" fmla="*/ 1638 w 1947"/>
              <a:gd name="T63" fmla="*/ 849 h 1037"/>
              <a:gd name="T64" fmla="*/ 1597 w 1947"/>
              <a:gd name="T65" fmla="*/ 864 h 1037"/>
              <a:gd name="T66" fmla="*/ 1556 w 1947"/>
              <a:gd name="T67" fmla="*/ 872 h 1037"/>
              <a:gd name="T68" fmla="*/ 1516 w 1947"/>
              <a:gd name="T69" fmla="*/ 856 h 1037"/>
              <a:gd name="T70" fmla="*/ 1475 w 1947"/>
              <a:gd name="T71" fmla="*/ 872 h 1037"/>
              <a:gd name="T72" fmla="*/ 1459 w 1947"/>
              <a:gd name="T73" fmla="*/ 911 h 1037"/>
              <a:gd name="T74" fmla="*/ 1451 w 1947"/>
              <a:gd name="T75" fmla="*/ 958 h 1037"/>
              <a:gd name="T76" fmla="*/ 1419 w 1947"/>
              <a:gd name="T77" fmla="*/ 911 h 1037"/>
              <a:gd name="T78" fmla="*/ 1289 w 1947"/>
              <a:gd name="T79" fmla="*/ 895 h 1037"/>
              <a:gd name="T80" fmla="*/ 1159 w 1947"/>
              <a:gd name="T81" fmla="*/ 903 h 1037"/>
              <a:gd name="T82" fmla="*/ 1046 w 1947"/>
              <a:gd name="T83" fmla="*/ 872 h 1037"/>
              <a:gd name="T84" fmla="*/ 940 w 1947"/>
              <a:gd name="T85" fmla="*/ 856 h 1037"/>
              <a:gd name="T86" fmla="*/ 860 w 1947"/>
              <a:gd name="T87" fmla="*/ 864 h 1037"/>
              <a:gd name="T88" fmla="*/ 820 w 1947"/>
              <a:gd name="T89" fmla="*/ 950 h 1037"/>
              <a:gd name="T90" fmla="*/ 755 w 1947"/>
              <a:gd name="T91" fmla="*/ 1028 h 1037"/>
              <a:gd name="T92" fmla="*/ 690 w 1947"/>
              <a:gd name="T93" fmla="*/ 1036 h 1037"/>
              <a:gd name="T94" fmla="*/ 568 w 1947"/>
              <a:gd name="T95" fmla="*/ 989 h 1037"/>
              <a:gd name="T96" fmla="*/ 487 w 1947"/>
              <a:gd name="T97" fmla="*/ 926 h 1037"/>
              <a:gd name="T98" fmla="*/ 406 w 1947"/>
              <a:gd name="T99" fmla="*/ 895 h 1037"/>
              <a:gd name="T100" fmla="*/ 341 w 1947"/>
              <a:gd name="T101" fmla="*/ 825 h 1037"/>
              <a:gd name="T102" fmla="*/ 276 w 1947"/>
              <a:gd name="T103" fmla="*/ 747 h 1037"/>
              <a:gd name="T104" fmla="*/ 171 w 1947"/>
              <a:gd name="T105" fmla="*/ 701 h 1037"/>
              <a:gd name="T106" fmla="*/ 114 w 1947"/>
              <a:gd name="T107" fmla="*/ 584 h 1037"/>
              <a:gd name="T108" fmla="*/ 114 w 1947"/>
              <a:gd name="T109" fmla="*/ 475 h 1037"/>
              <a:gd name="T110" fmla="*/ 9 w 1947"/>
              <a:gd name="T111" fmla="*/ 366 h 1037"/>
              <a:gd name="T112" fmla="*/ 49 w 1947"/>
              <a:gd name="T113" fmla="*/ 373 h 1037"/>
              <a:gd name="T114" fmla="*/ 114 w 1947"/>
              <a:gd name="T115" fmla="*/ 311 h 1037"/>
              <a:gd name="T116" fmla="*/ 236 w 1947"/>
              <a:gd name="T117" fmla="*/ 303 h 1037"/>
              <a:gd name="T118" fmla="*/ 317 w 1947"/>
              <a:gd name="T119" fmla="*/ 233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947" h="1037">
                <a:moveTo>
                  <a:pt x="349" y="210"/>
                </a:moveTo>
                <a:cubicBezTo>
                  <a:pt x="357" y="210"/>
                  <a:pt x="406" y="171"/>
                  <a:pt x="406" y="171"/>
                </a:cubicBezTo>
                <a:lnTo>
                  <a:pt x="455" y="155"/>
                </a:lnTo>
                <a:lnTo>
                  <a:pt x="471" y="140"/>
                </a:lnTo>
                <a:lnTo>
                  <a:pt x="487" y="109"/>
                </a:lnTo>
                <a:cubicBezTo>
                  <a:pt x="487" y="109"/>
                  <a:pt x="479" y="93"/>
                  <a:pt x="503" y="93"/>
                </a:cubicBezTo>
                <a:cubicBezTo>
                  <a:pt x="528" y="93"/>
                  <a:pt x="601" y="78"/>
                  <a:pt x="601" y="78"/>
                </a:cubicBezTo>
                <a:lnTo>
                  <a:pt x="609" y="62"/>
                </a:lnTo>
                <a:lnTo>
                  <a:pt x="592" y="39"/>
                </a:lnTo>
                <a:lnTo>
                  <a:pt x="592" y="7"/>
                </a:lnTo>
                <a:cubicBezTo>
                  <a:pt x="601" y="0"/>
                  <a:pt x="633" y="0"/>
                  <a:pt x="649" y="0"/>
                </a:cubicBezTo>
                <a:cubicBezTo>
                  <a:pt x="665" y="7"/>
                  <a:pt x="682" y="15"/>
                  <a:pt x="690" y="23"/>
                </a:cubicBezTo>
                <a:lnTo>
                  <a:pt x="690" y="39"/>
                </a:lnTo>
                <a:lnTo>
                  <a:pt x="690" y="70"/>
                </a:lnTo>
                <a:cubicBezTo>
                  <a:pt x="690" y="70"/>
                  <a:pt x="698" y="78"/>
                  <a:pt x="706" y="85"/>
                </a:cubicBezTo>
                <a:cubicBezTo>
                  <a:pt x="722" y="85"/>
                  <a:pt x="738" y="101"/>
                  <a:pt x="738" y="93"/>
                </a:cubicBezTo>
                <a:cubicBezTo>
                  <a:pt x="738" y="93"/>
                  <a:pt x="747" y="85"/>
                  <a:pt x="755" y="78"/>
                </a:cubicBezTo>
                <a:cubicBezTo>
                  <a:pt x="755" y="93"/>
                  <a:pt x="763" y="85"/>
                  <a:pt x="771" y="85"/>
                </a:cubicBezTo>
                <a:cubicBezTo>
                  <a:pt x="779" y="85"/>
                  <a:pt x="811" y="70"/>
                  <a:pt x="811" y="70"/>
                </a:cubicBezTo>
                <a:lnTo>
                  <a:pt x="803" y="46"/>
                </a:lnTo>
                <a:lnTo>
                  <a:pt x="803" y="23"/>
                </a:lnTo>
                <a:lnTo>
                  <a:pt x="811" y="15"/>
                </a:lnTo>
                <a:cubicBezTo>
                  <a:pt x="820" y="15"/>
                  <a:pt x="836" y="23"/>
                  <a:pt x="836" y="23"/>
                </a:cubicBezTo>
                <a:cubicBezTo>
                  <a:pt x="836" y="23"/>
                  <a:pt x="852" y="31"/>
                  <a:pt x="860" y="31"/>
                </a:cubicBezTo>
                <a:cubicBezTo>
                  <a:pt x="876" y="31"/>
                  <a:pt x="868" y="46"/>
                  <a:pt x="868" y="46"/>
                </a:cubicBezTo>
                <a:cubicBezTo>
                  <a:pt x="868" y="46"/>
                  <a:pt x="876" y="70"/>
                  <a:pt x="893" y="78"/>
                </a:cubicBezTo>
                <a:cubicBezTo>
                  <a:pt x="909" y="85"/>
                  <a:pt x="909" y="93"/>
                  <a:pt x="909" y="101"/>
                </a:cubicBezTo>
                <a:lnTo>
                  <a:pt x="933" y="101"/>
                </a:lnTo>
                <a:lnTo>
                  <a:pt x="956" y="93"/>
                </a:lnTo>
                <a:cubicBezTo>
                  <a:pt x="956" y="93"/>
                  <a:pt x="973" y="101"/>
                  <a:pt x="981" y="116"/>
                </a:cubicBezTo>
                <a:cubicBezTo>
                  <a:pt x="981" y="124"/>
                  <a:pt x="1005" y="124"/>
                  <a:pt x="1013" y="116"/>
                </a:cubicBezTo>
                <a:lnTo>
                  <a:pt x="1021" y="116"/>
                </a:lnTo>
                <a:lnTo>
                  <a:pt x="1029" y="124"/>
                </a:lnTo>
                <a:cubicBezTo>
                  <a:pt x="1029" y="124"/>
                  <a:pt x="1046" y="155"/>
                  <a:pt x="1070" y="132"/>
                </a:cubicBezTo>
                <a:cubicBezTo>
                  <a:pt x="1094" y="109"/>
                  <a:pt x="1078" y="132"/>
                  <a:pt x="1078" y="132"/>
                </a:cubicBezTo>
                <a:cubicBezTo>
                  <a:pt x="1078" y="132"/>
                  <a:pt x="1094" y="155"/>
                  <a:pt x="1102" y="155"/>
                </a:cubicBezTo>
                <a:lnTo>
                  <a:pt x="1119" y="155"/>
                </a:lnTo>
                <a:lnTo>
                  <a:pt x="1151" y="140"/>
                </a:lnTo>
                <a:lnTo>
                  <a:pt x="1175" y="132"/>
                </a:lnTo>
                <a:cubicBezTo>
                  <a:pt x="1175" y="132"/>
                  <a:pt x="1200" y="132"/>
                  <a:pt x="1192" y="171"/>
                </a:cubicBezTo>
                <a:cubicBezTo>
                  <a:pt x="1192" y="202"/>
                  <a:pt x="1183" y="194"/>
                  <a:pt x="1183" y="194"/>
                </a:cubicBezTo>
                <a:lnTo>
                  <a:pt x="1167" y="218"/>
                </a:lnTo>
                <a:lnTo>
                  <a:pt x="1167" y="241"/>
                </a:lnTo>
                <a:lnTo>
                  <a:pt x="1183" y="241"/>
                </a:lnTo>
                <a:cubicBezTo>
                  <a:pt x="1192" y="241"/>
                  <a:pt x="1200" y="272"/>
                  <a:pt x="1200" y="272"/>
                </a:cubicBezTo>
                <a:lnTo>
                  <a:pt x="1224" y="280"/>
                </a:lnTo>
                <a:cubicBezTo>
                  <a:pt x="1224" y="280"/>
                  <a:pt x="1232" y="288"/>
                  <a:pt x="1248" y="296"/>
                </a:cubicBezTo>
                <a:cubicBezTo>
                  <a:pt x="1256" y="303"/>
                  <a:pt x="1265" y="319"/>
                  <a:pt x="1265" y="319"/>
                </a:cubicBezTo>
                <a:cubicBezTo>
                  <a:pt x="1265" y="319"/>
                  <a:pt x="1273" y="350"/>
                  <a:pt x="1281" y="358"/>
                </a:cubicBezTo>
                <a:cubicBezTo>
                  <a:pt x="1281" y="373"/>
                  <a:pt x="1329" y="342"/>
                  <a:pt x="1329" y="342"/>
                </a:cubicBezTo>
                <a:lnTo>
                  <a:pt x="1338" y="303"/>
                </a:lnTo>
                <a:lnTo>
                  <a:pt x="1386" y="288"/>
                </a:lnTo>
                <a:lnTo>
                  <a:pt x="1370" y="241"/>
                </a:lnTo>
                <a:lnTo>
                  <a:pt x="1354" y="210"/>
                </a:lnTo>
                <a:cubicBezTo>
                  <a:pt x="1354" y="210"/>
                  <a:pt x="1386" y="218"/>
                  <a:pt x="1394" y="210"/>
                </a:cubicBezTo>
                <a:cubicBezTo>
                  <a:pt x="1402" y="210"/>
                  <a:pt x="1427" y="218"/>
                  <a:pt x="1427" y="218"/>
                </a:cubicBezTo>
                <a:lnTo>
                  <a:pt x="1516" y="257"/>
                </a:lnTo>
                <a:cubicBezTo>
                  <a:pt x="1516" y="257"/>
                  <a:pt x="1540" y="249"/>
                  <a:pt x="1557" y="249"/>
                </a:cubicBezTo>
                <a:cubicBezTo>
                  <a:pt x="1573" y="241"/>
                  <a:pt x="1573" y="226"/>
                  <a:pt x="1573" y="226"/>
                </a:cubicBezTo>
                <a:cubicBezTo>
                  <a:pt x="1573" y="226"/>
                  <a:pt x="1581" y="233"/>
                  <a:pt x="1597" y="249"/>
                </a:cubicBezTo>
                <a:cubicBezTo>
                  <a:pt x="1605" y="272"/>
                  <a:pt x="1589" y="264"/>
                  <a:pt x="1589" y="272"/>
                </a:cubicBezTo>
                <a:cubicBezTo>
                  <a:pt x="1581" y="280"/>
                  <a:pt x="1565" y="303"/>
                  <a:pt x="1565" y="303"/>
                </a:cubicBezTo>
                <a:cubicBezTo>
                  <a:pt x="1565" y="303"/>
                  <a:pt x="1573" y="319"/>
                  <a:pt x="1589" y="319"/>
                </a:cubicBezTo>
                <a:cubicBezTo>
                  <a:pt x="1597" y="319"/>
                  <a:pt x="1589" y="327"/>
                  <a:pt x="1605" y="342"/>
                </a:cubicBezTo>
                <a:cubicBezTo>
                  <a:pt x="1613" y="350"/>
                  <a:pt x="1646" y="358"/>
                  <a:pt x="1646" y="358"/>
                </a:cubicBezTo>
                <a:lnTo>
                  <a:pt x="1670" y="358"/>
                </a:lnTo>
                <a:lnTo>
                  <a:pt x="1694" y="335"/>
                </a:lnTo>
                <a:cubicBezTo>
                  <a:pt x="1694" y="335"/>
                  <a:pt x="1719" y="342"/>
                  <a:pt x="1727" y="350"/>
                </a:cubicBezTo>
                <a:cubicBezTo>
                  <a:pt x="1735" y="358"/>
                  <a:pt x="1775" y="373"/>
                  <a:pt x="1775" y="373"/>
                </a:cubicBezTo>
                <a:lnTo>
                  <a:pt x="1840" y="358"/>
                </a:lnTo>
                <a:lnTo>
                  <a:pt x="1848" y="420"/>
                </a:lnTo>
                <a:cubicBezTo>
                  <a:pt x="1848" y="420"/>
                  <a:pt x="1865" y="420"/>
                  <a:pt x="1881" y="444"/>
                </a:cubicBezTo>
                <a:cubicBezTo>
                  <a:pt x="1897" y="459"/>
                  <a:pt x="1889" y="444"/>
                  <a:pt x="1889" y="444"/>
                </a:cubicBezTo>
                <a:cubicBezTo>
                  <a:pt x="1889" y="444"/>
                  <a:pt x="1921" y="459"/>
                  <a:pt x="1921" y="467"/>
                </a:cubicBezTo>
                <a:cubicBezTo>
                  <a:pt x="1921" y="483"/>
                  <a:pt x="1930" y="498"/>
                  <a:pt x="1930" y="498"/>
                </a:cubicBezTo>
                <a:lnTo>
                  <a:pt x="1946" y="529"/>
                </a:lnTo>
                <a:lnTo>
                  <a:pt x="1913" y="529"/>
                </a:lnTo>
                <a:cubicBezTo>
                  <a:pt x="1913" y="529"/>
                  <a:pt x="1905" y="537"/>
                  <a:pt x="1897" y="537"/>
                </a:cubicBezTo>
                <a:lnTo>
                  <a:pt x="1881" y="537"/>
                </a:lnTo>
                <a:lnTo>
                  <a:pt x="1857" y="545"/>
                </a:lnTo>
                <a:lnTo>
                  <a:pt x="1840" y="560"/>
                </a:lnTo>
                <a:lnTo>
                  <a:pt x="1824" y="576"/>
                </a:lnTo>
                <a:lnTo>
                  <a:pt x="1808" y="607"/>
                </a:lnTo>
                <a:lnTo>
                  <a:pt x="1808" y="623"/>
                </a:lnTo>
                <a:lnTo>
                  <a:pt x="1784" y="646"/>
                </a:lnTo>
                <a:cubicBezTo>
                  <a:pt x="1784" y="646"/>
                  <a:pt x="1759" y="662"/>
                  <a:pt x="1751" y="662"/>
                </a:cubicBezTo>
                <a:cubicBezTo>
                  <a:pt x="1743" y="662"/>
                  <a:pt x="1743" y="693"/>
                  <a:pt x="1743" y="693"/>
                </a:cubicBezTo>
                <a:lnTo>
                  <a:pt x="1751" y="716"/>
                </a:lnTo>
                <a:lnTo>
                  <a:pt x="1743" y="755"/>
                </a:lnTo>
                <a:lnTo>
                  <a:pt x="1702" y="771"/>
                </a:lnTo>
                <a:lnTo>
                  <a:pt x="1694" y="794"/>
                </a:lnTo>
                <a:lnTo>
                  <a:pt x="1686" y="810"/>
                </a:lnTo>
                <a:lnTo>
                  <a:pt x="1670" y="817"/>
                </a:lnTo>
                <a:cubicBezTo>
                  <a:pt x="1662" y="810"/>
                  <a:pt x="1662" y="833"/>
                  <a:pt x="1662" y="833"/>
                </a:cubicBezTo>
                <a:lnTo>
                  <a:pt x="1646" y="849"/>
                </a:lnTo>
                <a:lnTo>
                  <a:pt x="1638" y="849"/>
                </a:lnTo>
                <a:lnTo>
                  <a:pt x="1621" y="856"/>
                </a:lnTo>
                <a:cubicBezTo>
                  <a:pt x="1621" y="856"/>
                  <a:pt x="1613" y="864"/>
                  <a:pt x="1605" y="864"/>
                </a:cubicBezTo>
                <a:cubicBezTo>
                  <a:pt x="1605" y="872"/>
                  <a:pt x="1597" y="864"/>
                  <a:pt x="1597" y="864"/>
                </a:cubicBezTo>
                <a:cubicBezTo>
                  <a:pt x="1597" y="864"/>
                  <a:pt x="1581" y="856"/>
                  <a:pt x="1573" y="856"/>
                </a:cubicBezTo>
                <a:cubicBezTo>
                  <a:pt x="1573" y="856"/>
                  <a:pt x="1573" y="864"/>
                  <a:pt x="1565" y="864"/>
                </a:cubicBezTo>
                <a:lnTo>
                  <a:pt x="1556" y="872"/>
                </a:lnTo>
                <a:cubicBezTo>
                  <a:pt x="1556" y="872"/>
                  <a:pt x="1548" y="864"/>
                  <a:pt x="1540" y="864"/>
                </a:cubicBezTo>
                <a:cubicBezTo>
                  <a:pt x="1532" y="864"/>
                  <a:pt x="1532" y="856"/>
                  <a:pt x="1532" y="856"/>
                </a:cubicBezTo>
                <a:lnTo>
                  <a:pt x="1516" y="856"/>
                </a:lnTo>
                <a:lnTo>
                  <a:pt x="1500" y="856"/>
                </a:lnTo>
                <a:lnTo>
                  <a:pt x="1492" y="864"/>
                </a:lnTo>
                <a:lnTo>
                  <a:pt x="1475" y="872"/>
                </a:lnTo>
                <a:lnTo>
                  <a:pt x="1475" y="888"/>
                </a:lnTo>
                <a:cubicBezTo>
                  <a:pt x="1475" y="888"/>
                  <a:pt x="1475" y="895"/>
                  <a:pt x="1467" y="895"/>
                </a:cubicBezTo>
                <a:lnTo>
                  <a:pt x="1459" y="911"/>
                </a:lnTo>
                <a:cubicBezTo>
                  <a:pt x="1459" y="911"/>
                  <a:pt x="1459" y="934"/>
                  <a:pt x="1451" y="934"/>
                </a:cubicBezTo>
                <a:lnTo>
                  <a:pt x="1451" y="942"/>
                </a:lnTo>
                <a:lnTo>
                  <a:pt x="1451" y="958"/>
                </a:lnTo>
                <a:lnTo>
                  <a:pt x="1451" y="965"/>
                </a:lnTo>
                <a:lnTo>
                  <a:pt x="1435" y="958"/>
                </a:lnTo>
                <a:lnTo>
                  <a:pt x="1419" y="911"/>
                </a:lnTo>
                <a:cubicBezTo>
                  <a:pt x="1419" y="911"/>
                  <a:pt x="1394" y="919"/>
                  <a:pt x="1370" y="919"/>
                </a:cubicBezTo>
                <a:cubicBezTo>
                  <a:pt x="1346" y="911"/>
                  <a:pt x="1329" y="895"/>
                  <a:pt x="1321" y="895"/>
                </a:cubicBezTo>
                <a:cubicBezTo>
                  <a:pt x="1321" y="888"/>
                  <a:pt x="1289" y="895"/>
                  <a:pt x="1289" y="895"/>
                </a:cubicBezTo>
                <a:lnTo>
                  <a:pt x="1281" y="926"/>
                </a:lnTo>
                <a:lnTo>
                  <a:pt x="1192" y="919"/>
                </a:lnTo>
                <a:lnTo>
                  <a:pt x="1159" y="903"/>
                </a:lnTo>
                <a:lnTo>
                  <a:pt x="1102" y="880"/>
                </a:lnTo>
                <a:lnTo>
                  <a:pt x="1086" y="872"/>
                </a:lnTo>
                <a:lnTo>
                  <a:pt x="1046" y="872"/>
                </a:lnTo>
                <a:cubicBezTo>
                  <a:pt x="1037" y="872"/>
                  <a:pt x="1005" y="864"/>
                  <a:pt x="1005" y="864"/>
                </a:cubicBezTo>
                <a:cubicBezTo>
                  <a:pt x="1005" y="864"/>
                  <a:pt x="973" y="856"/>
                  <a:pt x="964" y="856"/>
                </a:cubicBezTo>
                <a:lnTo>
                  <a:pt x="940" y="856"/>
                </a:lnTo>
                <a:lnTo>
                  <a:pt x="901" y="849"/>
                </a:lnTo>
                <a:cubicBezTo>
                  <a:pt x="901" y="849"/>
                  <a:pt x="876" y="833"/>
                  <a:pt x="860" y="841"/>
                </a:cubicBezTo>
                <a:cubicBezTo>
                  <a:pt x="852" y="841"/>
                  <a:pt x="860" y="864"/>
                  <a:pt x="860" y="864"/>
                </a:cubicBezTo>
                <a:cubicBezTo>
                  <a:pt x="860" y="864"/>
                  <a:pt x="852" y="903"/>
                  <a:pt x="860" y="911"/>
                </a:cubicBezTo>
                <a:cubicBezTo>
                  <a:pt x="860" y="926"/>
                  <a:pt x="844" y="942"/>
                  <a:pt x="844" y="942"/>
                </a:cubicBezTo>
                <a:lnTo>
                  <a:pt x="820" y="950"/>
                </a:lnTo>
                <a:cubicBezTo>
                  <a:pt x="820" y="950"/>
                  <a:pt x="803" y="973"/>
                  <a:pt x="795" y="973"/>
                </a:cubicBezTo>
                <a:cubicBezTo>
                  <a:pt x="787" y="973"/>
                  <a:pt x="787" y="1020"/>
                  <a:pt x="787" y="1020"/>
                </a:cubicBezTo>
                <a:lnTo>
                  <a:pt x="755" y="1028"/>
                </a:lnTo>
                <a:lnTo>
                  <a:pt x="722" y="1004"/>
                </a:lnTo>
                <a:lnTo>
                  <a:pt x="698" y="1020"/>
                </a:lnTo>
                <a:lnTo>
                  <a:pt x="690" y="1036"/>
                </a:lnTo>
                <a:lnTo>
                  <a:pt x="649" y="1028"/>
                </a:lnTo>
                <a:cubicBezTo>
                  <a:pt x="641" y="1028"/>
                  <a:pt x="601" y="1020"/>
                  <a:pt x="601" y="1020"/>
                </a:cubicBezTo>
                <a:cubicBezTo>
                  <a:pt x="601" y="1020"/>
                  <a:pt x="576" y="997"/>
                  <a:pt x="568" y="989"/>
                </a:cubicBezTo>
                <a:cubicBezTo>
                  <a:pt x="560" y="981"/>
                  <a:pt x="528" y="965"/>
                  <a:pt x="519" y="958"/>
                </a:cubicBezTo>
                <a:cubicBezTo>
                  <a:pt x="511" y="958"/>
                  <a:pt x="511" y="950"/>
                  <a:pt x="511" y="950"/>
                </a:cubicBezTo>
                <a:cubicBezTo>
                  <a:pt x="495" y="934"/>
                  <a:pt x="503" y="934"/>
                  <a:pt x="487" y="926"/>
                </a:cubicBezTo>
                <a:cubicBezTo>
                  <a:pt x="471" y="919"/>
                  <a:pt x="455" y="919"/>
                  <a:pt x="455" y="911"/>
                </a:cubicBezTo>
                <a:cubicBezTo>
                  <a:pt x="455" y="903"/>
                  <a:pt x="463" y="888"/>
                  <a:pt x="446" y="888"/>
                </a:cubicBezTo>
                <a:cubicBezTo>
                  <a:pt x="422" y="895"/>
                  <a:pt x="414" y="903"/>
                  <a:pt x="406" y="895"/>
                </a:cubicBezTo>
                <a:cubicBezTo>
                  <a:pt x="390" y="880"/>
                  <a:pt x="390" y="880"/>
                  <a:pt x="382" y="864"/>
                </a:cubicBezTo>
                <a:cubicBezTo>
                  <a:pt x="382" y="849"/>
                  <a:pt x="382" y="833"/>
                  <a:pt x="365" y="833"/>
                </a:cubicBezTo>
                <a:cubicBezTo>
                  <a:pt x="349" y="833"/>
                  <a:pt x="341" y="825"/>
                  <a:pt x="341" y="825"/>
                </a:cubicBezTo>
                <a:cubicBezTo>
                  <a:pt x="341" y="825"/>
                  <a:pt x="333" y="833"/>
                  <a:pt x="325" y="817"/>
                </a:cubicBezTo>
                <a:cubicBezTo>
                  <a:pt x="317" y="794"/>
                  <a:pt x="341" y="810"/>
                  <a:pt x="317" y="779"/>
                </a:cubicBezTo>
                <a:cubicBezTo>
                  <a:pt x="284" y="755"/>
                  <a:pt x="292" y="763"/>
                  <a:pt x="276" y="747"/>
                </a:cubicBezTo>
                <a:cubicBezTo>
                  <a:pt x="260" y="732"/>
                  <a:pt x="211" y="747"/>
                  <a:pt x="211" y="747"/>
                </a:cubicBezTo>
                <a:cubicBezTo>
                  <a:pt x="211" y="747"/>
                  <a:pt x="211" y="740"/>
                  <a:pt x="195" y="724"/>
                </a:cubicBezTo>
                <a:cubicBezTo>
                  <a:pt x="179" y="708"/>
                  <a:pt x="187" y="716"/>
                  <a:pt x="171" y="701"/>
                </a:cubicBezTo>
                <a:cubicBezTo>
                  <a:pt x="155" y="677"/>
                  <a:pt x="155" y="685"/>
                  <a:pt x="155" y="662"/>
                </a:cubicBezTo>
                <a:cubicBezTo>
                  <a:pt x="146" y="638"/>
                  <a:pt x="155" y="631"/>
                  <a:pt x="138" y="615"/>
                </a:cubicBezTo>
                <a:cubicBezTo>
                  <a:pt x="122" y="599"/>
                  <a:pt x="114" y="584"/>
                  <a:pt x="114" y="584"/>
                </a:cubicBezTo>
                <a:cubicBezTo>
                  <a:pt x="114" y="584"/>
                  <a:pt x="98" y="568"/>
                  <a:pt x="114" y="545"/>
                </a:cubicBezTo>
                <a:cubicBezTo>
                  <a:pt x="130" y="529"/>
                  <a:pt x="130" y="529"/>
                  <a:pt x="130" y="514"/>
                </a:cubicBezTo>
                <a:cubicBezTo>
                  <a:pt x="130" y="506"/>
                  <a:pt x="138" y="490"/>
                  <a:pt x="114" y="475"/>
                </a:cubicBezTo>
                <a:cubicBezTo>
                  <a:pt x="90" y="459"/>
                  <a:pt x="90" y="459"/>
                  <a:pt x="65" y="444"/>
                </a:cubicBezTo>
                <a:cubicBezTo>
                  <a:pt x="49" y="436"/>
                  <a:pt x="41" y="436"/>
                  <a:pt x="33" y="428"/>
                </a:cubicBezTo>
                <a:cubicBezTo>
                  <a:pt x="25" y="420"/>
                  <a:pt x="9" y="366"/>
                  <a:pt x="9" y="366"/>
                </a:cubicBezTo>
                <a:lnTo>
                  <a:pt x="0" y="342"/>
                </a:lnTo>
                <a:lnTo>
                  <a:pt x="41" y="342"/>
                </a:lnTo>
                <a:lnTo>
                  <a:pt x="49" y="373"/>
                </a:lnTo>
                <a:lnTo>
                  <a:pt x="57" y="397"/>
                </a:lnTo>
                <a:lnTo>
                  <a:pt x="82" y="350"/>
                </a:lnTo>
                <a:lnTo>
                  <a:pt x="114" y="311"/>
                </a:lnTo>
                <a:lnTo>
                  <a:pt x="138" y="311"/>
                </a:lnTo>
                <a:cubicBezTo>
                  <a:pt x="155" y="311"/>
                  <a:pt x="179" y="296"/>
                  <a:pt x="187" y="296"/>
                </a:cubicBezTo>
                <a:cubicBezTo>
                  <a:pt x="203" y="296"/>
                  <a:pt x="228" y="303"/>
                  <a:pt x="236" y="303"/>
                </a:cubicBezTo>
                <a:cubicBezTo>
                  <a:pt x="252" y="296"/>
                  <a:pt x="260" y="296"/>
                  <a:pt x="260" y="280"/>
                </a:cubicBezTo>
                <a:cubicBezTo>
                  <a:pt x="268" y="272"/>
                  <a:pt x="252" y="257"/>
                  <a:pt x="284" y="249"/>
                </a:cubicBezTo>
                <a:cubicBezTo>
                  <a:pt x="309" y="233"/>
                  <a:pt x="317" y="233"/>
                  <a:pt x="317" y="233"/>
                </a:cubicBezTo>
                <a:lnTo>
                  <a:pt x="349" y="210"/>
                </a:ln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99" name="Freeform 91">
            <a:extLst>
              <a:ext uri="{FF2B5EF4-FFF2-40B4-BE49-F238E27FC236}">
                <a16:creationId xmlns:a16="http://schemas.microsoft.com/office/drawing/2014/main" id="{FD38F624-5435-6FF4-FCF7-C4B7CA063902}"/>
              </a:ext>
            </a:extLst>
          </p:cNvPr>
          <p:cNvSpPr>
            <a:spLocks noChangeArrowheads="1"/>
          </p:cNvSpPr>
          <p:nvPr>
            <p:custDataLst>
              <p:tags r:id="rId91"/>
            </p:custDataLst>
          </p:nvPr>
        </p:nvSpPr>
        <p:spPr bwMode="auto">
          <a:xfrm>
            <a:off x="7353567" y="3790877"/>
            <a:ext cx="800558" cy="425637"/>
          </a:xfrm>
          <a:custGeom>
            <a:avLst/>
            <a:gdLst>
              <a:gd name="T0" fmla="*/ 455 w 1947"/>
              <a:gd name="T1" fmla="*/ 155 h 1037"/>
              <a:gd name="T2" fmla="*/ 503 w 1947"/>
              <a:gd name="T3" fmla="*/ 93 h 1037"/>
              <a:gd name="T4" fmla="*/ 592 w 1947"/>
              <a:gd name="T5" fmla="*/ 39 h 1037"/>
              <a:gd name="T6" fmla="*/ 690 w 1947"/>
              <a:gd name="T7" fmla="*/ 23 h 1037"/>
              <a:gd name="T8" fmla="*/ 706 w 1947"/>
              <a:gd name="T9" fmla="*/ 85 h 1037"/>
              <a:gd name="T10" fmla="*/ 771 w 1947"/>
              <a:gd name="T11" fmla="*/ 85 h 1037"/>
              <a:gd name="T12" fmla="*/ 803 w 1947"/>
              <a:gd name="T13" fmla="*/ 23 h 1037"/>
              <a:gd name="T14" fmla="*/ 860 w 1947"/>
              <a:gd name="T15" fmla="*/ 31 h 1037"/>
              <a:gd name="T16" fmla="*/ 909 w 1947"/>
              <a:gd name="T17" fmla="*/ 101 h 1037"/>
              <a:gd name="T18" fmla="*/ 981 w 1947"/>
              <a:gd name="T19" fmla="*/ 116 h 1037"/>
              <a:gd name="T20" fmla="*/ 1029 w 1947"/>
              <a:gd name="T21" fmla="*/ 124 h 1037"/>
              <a:gd name="T22" fmla="*/ 1102 w 1947"/>
              <a:gd name="T23" fmla="*/ 155 h 1037"/>
              <a:gd name="T24" fmla="*/ 1175 w 1947"/>
              <a:gd name="T25" fmla="*/ 132 h 1037"/>
              <a:gd name="T26" fmla="*/ 1167 w 1947"/>
              <a:gd name="T27" fmla="*/ 218 h 1037"/>
              <a:gd name="T28" fmla="*/ 1200 w 1947"/>
              <a:gd name="T29" fmla="*/ 272 h 1037"/>
              <a:gd name="T30" fmla="*/ 1265 w 1947"/>
              <a:gd name="T31" fmla="*/ 319 h 1037"/>
              <a:gd name="T32" fmla="*/ 1338 w 1947"/>
              <a:gd name="T33" fmla="*/ 303 h 1037"/>
              <a:gd name="T34" fmla="*/ 1354 w 1947"/>
              <a:gd name="T35" fmla="*/ 210 h 1037"/>
              <a:gd name="T36" fmla="*/ 1516 w 1947"/>
              <a:gd name="T37" fmla="*/ 257 h 1037"/>
              <a:gd name="T38" fmla="*/ 1597 w 1947"/>
              <a:gd name="T39" fmla="*/ 249 h 1037"/>
              <a:gd name="T40" fmla="*/ 1589 w 1947"/>
              <a:gd name="T41" fmla="*/ 319 h 1037"/>
              <a:gd name="T42" fmla="*/ 1670 w 1947"/>
              <a:gd name="T43" fmla="*/ 358 h 1037"/>
              <a:gd name="T44" fmla="*/ 1775 w 1947"/>
              <a:gd name="T45" fmla="*/ 373 h 1037"/>
              <a:gd name="T46" fmla="*/ 1881 w 1947"/>
              <a:gd name="T47" fmla="*/ 444 h 1037"/>
              <a:gd name="T48" fmla="*/ 1930 w 1947"/>
              <a:gd name="T49" fmla="*/ 498 h 1037"/>
              <a:gd name="T50" fmla="*/ 1897 w 1947"/>
              <a:gd name="T51" fmla="*/ 537 h 1037"/>
              <a:gd name="T52" fmla="*/ 1840 w 1947"/>
              <a:gd name="T53" fmla="*/ 560 h 1037"/>
              <a:gd name="T54" fmla="*/ 1808 w 1947"/>
              <a:gd name="T55" fmla="*/ 623 h 1037"/>
              <a:gd name="T56" fmla="*/ 1743 w 1947"/>
              <a:gd name="T57" fmla="*/ 693 h 1037"/>
              <a:gd name="T58" fmla="*/ 1702 w 1947"/>
              <a:gd name="T59" fmla="*/ 771 h 1037"/>
              <a:gd name="T60" fmla="*/ 1670 w 1947"/>
              <a:gd name="T61" fmla="*/ 817 h 1037"/>
              <a:gd name="T62" fmla="*/ 1638 w 1947"/>
              <a:gd name="T63" fmla="*/ 849 h 1037"/>
              <a:gd name="T64" fmla="*/ 1597 w 1947"/>
              <a:gd name="T65" fmla="*/ 864 h 1037"/>
              <a:gd name="T66" fmla="*/ 1556 w 1947"/>
              <a:gd name="T67" fmla="*/ 872 h 1037"/>
              <a:gd name="T68" fmla="*/ 1516 w 1947"/>
              <a:gd name="T69" fmla="*/ 856 h 1037"/>
              <a:gd name="T70" fmla="*/ 1475 w 1947"/>
              <a:gd name="T71" fmla="*/ 872 h 1037"/>
              <a:gd name="T72" fmla="*/ 1459 w 1947"/>
              <a:gd name="T73" fmla="*/ 911 h 1037"/>
              <a:gd name="T74" fmla="*/ 1451 w 1947"/>
              <a:gd name="T75" fmla="*/ 958 h 1037"/>
              <a:gd name="T76" fmla="*/ 1419 w 1947"/>
              <a:gd name="T77" fmla="*/ 911 h 1037"/>
              <a:gd name="T78" fmla="*/ 1289 w 1947"/>
              <a:gd name="T79" fmla="*/ 895 h 1037"/>
              <a:gd name="T80" fmla="*/ 1159 w 1947"/>
              <a:gd name="T81" fmla="*/ 903 h 1037"/>
              <a:gd name="T82" fmla="*/ 1046 w 1947"/>
              <a:gd name="T83" fmla="*/ 872 h 1037"/>
              <a:gd name="T84" fmla="*/ 940 w 1947"/>
              <a:gd name="T85" fmla="*/ 856 h 1037"/>
              <a:gd name="T86" fmla="*/ 860 w 1947"/>
              <a:gd name="T87" fmla="*/ 864 h 1037"/>
              <a:gd name="T88" fmla="*/ 820 w 1947"/>
              <a:gd name="T89" fmla="*/ 950 h 1037"/>
              <a:gd name="T90" fmla="*/ 755 w 1947"/>
              <a:gd name="T91" fmla="*/ 1028 h 1037"/>
              <a:gd name="T92" fmla="*/ 690 w 1947"/>
              <a:gd name="T93" fmla="*/ 1036 h 1037"/>
              <a:gd name="T94" fmla="*/ 568 w 1947"/>
              <a:gd name="T95" fmla="*/ 989 h 1037"/>
              <a:gd name="T96" fmla="*/ 487 w 1947"/>
              <a:gd name="T97" fmla="*/ 926 h 1037"/>
              <a:gd name="T98" fmla="*/ 406 w 1947"/>
              <a:gd name="T99" fmla="*/ 895 h 1037"/>
              <a:gd name="T100" fmla="*/ 341 w 1947"/>
              <a:gd name="T101" fmla="*/ 825 h 1037"/>
              <a:gd name="T102" fmla="*/ 276 w 1947"/>
              <a:gd name="T103" fmla="*/ 747 h 1037"/>
              <a:gd name="T104" fmla="*/ 171 w 1947"/>
              <a:gd name="T105" fmla="*/ 701 h 1037"/>
              <a:gd name="T106" fmla="*/ 114 w 1947"/>
              <a:gd name="T107" fmla="*/ 584 h 1037"/>
              <a:gd name="T108" fmla="*/ 114 w 1947"/>
              <a:gd name="T109" fmla="*/ 475 h 1037"/>
              <a:gd name="T110" fmla="*/ 9 w 1947"/>
              <a:gd name="T111" fmla="*/ 366 h 1037"/>
              <a:gd name="T112" fmla="*/ 49 w 1947"/>
              <a:gd name="T113" fmla="*/ 373 h 1037"/>
              <a:gd name="T114" fmla="*/ 114 w 1947"/>
              <a:gd name="T115" fmla="*/ 311 h 1037"/>
              <a:gd name="T116" fmla="*/ 236 w 1947"/>
              <a:gd name="T117" fmla="*/ 303 h 1037"/>
              <a:gd name="T118" fmla="*/ 317 w 1947"/>
              <a:gd name="T119" fmla="*/ 233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947" h="1037">
                <a:moveTo>
                  <a:pt x="349" y="210"/>
                </a:moveTo>
                <a:cubicBezTo>
                  <a:pt x="357" y="210"/>
                  <a:pt x="406" y="171"/>
                  <a:pt x="406" y="171"/>
                </a:cubicBezTo>
                <a:lnTo>
                  <a:pt x="455" y="155"/>
                </a:lnTo>
                <a:lnTo>
                  <a:pt x="471" y="140"/>
                </a:lnTo>
                <a:lnTo>
                  <a:pt x="487" y="109"/>
                </a:lnTo>
                <a:cubicBezTo>
                  <a:pt x="487" y="109"/>
                  <a:pt x="479" y="93"/>
                  <a:pt x="503" y="93"/>
                </a:cubicBezTo>
                <a:cubicBezTo>
                  <a:pt x="528" y="93"/>
                  <a:pt x="601" y="78"/>
                  <a:pt x="601" y="78"/>
                </a:cubicBezTo>
                <a:lnTo>
                  <a:pt x="609" y="62"/>
                </a:lnTo>
                <a:lnTo>
                  <a:pt x="592" y="39"/>
                </a:lnTo>
                <a:lnTo>
                  <a:pt x="592" y="7"/>
                </a:lnTo>
                <a:cubicBezTo>
                  <a:pt x="601" y="0"/>
                  <a:pt x="633" y="0"/>
                  <a:pt x="649" y="0"/>
                </a:cubicBezTo>
                <a:cubicBezTo>
                  <a:pt x="665" y="7"/>
                  <a:pt x="682" y="15"/>
                  <a:pt x="690" y="23"/>
                </a:cubicBezTo>
                <a:lnTo>
                  <a:pt x="690" y="39"/>
                </a:lnTo>
                <a:lnTo>
                  <a:pt x="690" y="70"/>
                </a:lnTo>
                <a:cubicBezTo>
                  <a:pt x="690" y="70"/>
                  <a:pt x="698" y="78"/>
                  <a:pt x="706" y="85"/>
                </a:cubicBezTo>
                <a:cubicBezTo>
                  <a:pt x="722" y="85"/>
                  <a:pt x="738" y="101"/>
                  <a:pt x="738" y="93"/>
                </a:cubicBezTo>
                <a:cubicBezTo>
                  <a:pt x="738" y="93"/>
                  <a:pt x="747" y="85"/>
                  <a:pt x="755" y="78"/>
                </a:cubicBezTo>
                <a:cubicBezTo>
                  <a:pt x="755" y="93"/>
                  <a:pt x="763" y="85"/>
                  <a:pt x="771" y="85"/>
                </a:cubicBezTo>
                <a:cubicBezTo>
                  <a:pt x="779" y="85"/>
                  <a:pt x="811" y="70"/>
                  <a:pt x="811" y="70"/>
                </a:cubicBezTo>
                <a:lnTo>
                  <a:pt x="803" y="46"/>
                </a:lnTo>
                <a:lnTo>
                  <a:pt x="803" y="23"/>
                </a:lnTo>
                <a:lnTo>
                  <a:pt x="811" y="15"/>
                </a:lnTo>
                <a:cubicBezTo>
                  <a:pt x="820" y="15"/>
                  <a:pt x="836" y="23"/>
                  <a:pt x="836" y="23"/>
                </a:cubicBezTo>
                <a:cubicBezTo>
                  <a:pt x="836" y="23"/>
                  <a:pt x="852" y="31"/>
                  <a:pt x="860" y="31"/>
                </a:cubicBezTo>
                <a:cubicBezTo>
                  <a:pt x="876" y="31"/>
                  <a:pt x="868" y="46"/>
                  <a:pt x="868" y="46"/>
                </a:cubicBezTo>
                <a:cubicBezTo>
                  <a:pt x="868" y="46"/>
                  <a:pt x="876" y="70"/>
                  <a:pt x="893" y="78"/>
                </a:cubicBezTo>
                <a:cubicBezTo>
                  <a:pt x="909" y="85"/>
                  <a:pt x="909" y="93"/>
                  <a:pt x="909" y="101"/>
                </a:cubicBezTo>
                <a:lnTo>
                  <a:pt x="933" y="101"/>
                </a:lnTo>
                <a:lnTo>
                  <a:pt x="956" y="93"/>
                </a:lnTo>
                <a:cubicBezTo>
                  <a:pt x="956" y="93"/>
                  <a:pt x="973" y="101"/>
                  <a:pt x="981" y="116"/>
                </a:cubicBezTo>
                <a:cubicBezTo>
                  <a:pt x="981" y="124"/>
                  <a:pt x="1005" y="124"/>
                  <a:pt x="1013" y="116"/>
                </a:cubicBezTo>
                <a:lnTo>
                  <a:pt x="1021" y="116"/>
                </a:lnTo>
                <a:lnTo>
                  <a:pt x="1029" y="124"/>
                </a:lnTo>
                <a:cubicBezTo>
                  <a:pt x="1029" y="124"/>
                  <a:pt x="1046" y="155"/>
                  <a:pt x="1070" y="132"/>
                </a:cubicBezTo>
                <a:cubicBezTo>
                  <a:pt x="1094" y="109"/>
                  <a:pt x="1078" y="132"/>
                  <a:pt x="1078" y="132"/>
                </a:cubicBezTo>
                <a:cubicBezTo>
                  <a:pt x="1078" y="132"/>
                  <a:pt x="1094" y="155"/>
                  <a:pt x="1102" y="155"/>
                </a:cubicBezTo>
                <a:lnTo>
                  <a:pt x="1119" y="155"/>
                </a:lnTo>
                <a:lnTo>
                  <a:pt x="1151" y="140"/>
                </a:lnTo>
                <a:lnTo>
                  <a:pt x="1175" y="132"/>
                </a:lnTo>
                <a:cubicBezTo>
                  <a:pt x="1175" y="132"/>
                  <a:pt x="1200" y="132"/>
                  <a:pt x="1192" y="171"/>
                </a:cubicBezTo>
                <a:cubicBezTo>
                  <a:pt x="1192" y="202"/>
                  <a:pt x="1183" y="194"/>
                  <a:pt x="1183" y="194"/>
                </a:cubicBezTo>
                <a:lnTo>
                  <a:pt x="1167" y="218"/>
                </a:lnTo>
                <a:lnTo>
                  <a:pt x="1167" y="241"/>
                </a:lnTo>
                <a:lnTo>
                  <a:pt x="1183" y="241"/>
                </a:lnTo>
                <a:cubicBezTo>
                  <a:pt x="1192" y="241"/>
                  <a:pt x="1200" y="272"/>
                  <a:pt x="1200" y="272"/>
                </a:cubicBezTo>
                <a:lnTo>
                  <a:pt x="1224" y="280"/>
                </a:lnTo>
                <a:cubicBezTo>
                  <a:pt x="1224" y="280"/>
                  <a:pt x="1232" y="288"/>
                  <a:pt x="1248" y="296"/>
                </a:cubicBezTo>
                <a:cubicBezTo>
                  <a:pt x="1256" y="303"/>
                  <a:pt x="1265" y="319"/>
                  <a:pt x="1265" y="319"/>
                </a:cubicBezTo>
                <a:cubicBezTo>
                  <a:pt x="1265" y="319"/>
                  <a:pt x="1273" y="350"/>
                  <a:pt x="1281" y="358"/>
                </a:cubicBezTo>
                <a:cubicBezTo>
                  <a:pt x="1281" y="373"/>
                  <a:pt x="1329" y="342"/>
                  <a:pt x="1329" y="342"/>
                </a:cubicBezTo>
                <a:lnTo>
                  <a:pt x="1338" y="303"/>
                </a:lnTo>
                <a:lnTo>
                  <a:pt x="1386" y="288"/>
                </a:lnTo>
                <a:lnTo>
                  <a:pt x="1370" y="241"/>
                </a:lnTo>
                <a:lnTo>
                  <a:pt x="1354" y="210"/>
                </a:lnTo>
                <a:cubicBezTo>
                  <a:pt x="1354" y="210"/>
                  <a:pt x="1386" y="218"/>
                  <a:pt x="1394" y="210"/>
                </a:cubicBezTo>
                <a:cubicBezTo>
                  <a:pt x="1402" y="210"/>
                  <a:pt x="1427" y="218"/>
                  <a:pt x="1427" y="218"/>
                </a:cubicBezTo>
                <a:lnTo>
                  <a:pt x="1516" y="257"/>
                </a:lnTo>
                <a:cubicBezTo>
                  <a:pt x="1516" y="257"/>
                  <a:pt x="1540" y="249"/>
                  <a:pt x="1557" y="249"/>
                </a:cubicBezTo>
                <a:cubicBezTo>
                  <a:pt x="1573" y="241"/>
                  <a:pt x="1573" y="226"/>
                  <a:pt x="1573" y="226"/>
                </a:cubicBezTo>
                <a:cubicBezTo>
                  <a:pt x="1573" y="226"/>
                  <a:pt x="1581" y="233"/>
                  <a:pt x="1597" y="249"/>
                </a:cubicBezTo>
                <a:cubicBezTo>
                  <a:pt x="1605" y="272"/>
                  <a:pt x="1589" y="264"/>
                  <a:pt x="1589" y="272"/>
                </a:cubicBezTo>
                <a:cubicBezTo>
                  <a:pt x="1581" y="280"/>
                  <a:pt x="1565" y="303"/>
                  <a:pt x="1565" y="303"/>
                </a:cubicBezTo>
                <a:cubicBezTo>
                  <a:pt x="1565" y="303"/>
                  <a:pt x="1573" y="319"/>
                  <a:pt x="1589" y="319"/>
                </a:cubicBezTo>
                <a:cubicBezTo>
                  <a:pt x="1597" y="319"/>
                  <a:pt x="1589" y="327"/>
                  <a:pt x="1605" y="342"/>
                </a:cubicBezTo>
                <a:cubicBezTo>
                  <a:pt x="1613" y="350"/>
                  <a:pt x="1646" y="358"/>
                  <a:pt x="1646" y="358"/>
                </a:cubicBezTo>
                <a:lnTo>
                  <a:pt x="1670" y="358"/>
                </a:lnTo>
                <a:lnTo>
                  <a:pt x="1694" y="335"/>
                </a:lnTo>
                <a:cubicBezTo>
                  <a:pt x="1694" y="335"/>
                  <a:pt x="1719" y="342"/>
                  <a:pt x="1727" y="350"/>
                </a:cubicBezTo>
                <a:cubicBezTo>
                  <a:pt x="1735" y="358"/>
                  <a:pt x="1775" y="373"/>
                  <a:pt x="1775" y="373"/>
                </a:cubicBezTo>
                <a:lnTo>
                  <a:pt x="1840" y="358"/>
                </a:lnTo>
                <a:lnTo>
                  <a:pt x="1848" y="420"/>
                </a:lnTo>
                <a:cubicBezTo>
                  <a:pt x="1848" y="420"/>
                  <a:pt x="1865" y="420"/>
                  <a:pt x="1881" y="444"/>
                </a:cubicBezTo>
                <a:cubicBezTo>
                  <a:pt x="1897" y="459"/>
                  <a:pt x="1889" y="444"/>
                  <a:pt x="1889" y="444"/>
                </a:cubicBezTo>
                <a:cubicBezTo>
                  <a:pt x="1889" y="444"/>
                  <a:pt x="1921" y="459"/>
                  <a:pt x="1921" y="467"/>
                </a:cubicBezTo>
                <a:cubicBezTo>
                  <a:pt x="1921" y="483"/>
                  <a:pt x="1930" y="498"/>
                  <a:pt x="1930" y="498"/>
                </a:cubicBezTo>
                <a:lnTo>
                  <a:pt x="1946" y="529"/>
                </a:lnTo>
                <a:lnTo>
                  <a:pt x="1913" y="529"/>
                </a:lnTo>
                <a:cubicBezTo>
                  <a:pt x="1913" y="529"/>
                  <a:pt x="1905" y="537"/>
                  <a:pt x="1897" y="537"/>
                </a:cubicBezTo>
                <a:lnTo>
                  <a:pt x="1881" y="537"/>
                </a:lnTo>
                <a:lnTo>
                  <a:pt x="1857" y="545"/>
                </a:lnTo>
                <a:lnTo>
                  <a:pt x="1840" y="560"/>
                </a:lnTo>
                <a:lnTo>
                  <a:pt x="1824" y="576"/>
                </a:lnTo>
                <a:lnTo>
                  <a:pt x="1808" y="607"/>
                </a:lnTo>
                <a:lnTo>
                  <a:pt x="1808" y="623"/>
                </a:lnTo>
                <a:lnTo>
                  <a:pt x="1784" y="646"/>
                </a:lnTo>
                <a:cubicBezTo>
                  <a:pt x="1784" y="646"/>
                  <a:pt x="1759" y="662"/>
                  <a:pt x="1751" y="662"/>
                </a:cubicBezTo>
                <a:cubicBezTo>
                  <a:pt x="1743" y="662"/>
                  <a:pt x="1743" y="693"/>
                  <a:pt x="1743" y="693"/>
                </a:cubicBezTo>
                <a:lnTo>
                  <a:pt x="1751" y="716"/>
                </a:lnTo>
                <a:lnTo>
                  <a:pt x="1743" y="755"/>
                </a:lnTo>
                <a:lnTo>
                  <a:pt x="1702" y="771"/>
                </a:lnTo>
                <a:lnTo>
                  <a:pt x="1694" y="794"/>
                </a:lnTo>
                <a:lnTo>
                  <a:pt x="1686" y="810"/>
                </a:lnTo>
                <a:lnTo>
                  <a:pt x="1670" y="817"/>
                </a:lnTo>
                <a:cubicBezTo>
                  <a:pt x="1662" y="810"/>
                  <a:pt x="1662" y="833"/>
                  <a:pt x="1662" y="833"/>
                </a:cubicBezTo>
                <a:lnTo>
                  <a:pt x="1646" y="849"/>
                </a:lnTo>
                <a:lnTo>
                  <a:pt x="1638" y="849"/>
                </a:lnTo>
                <a:lnTo>
                  <a:pt x="1621" y="856"/>
                </a:lnTo>
                <a:cubicBezTo>
                  <a:pt x="1621" y="856"/>
                  <a:pt x="1613" y="864"/>
                  <a:pt x="1605" y="864"/>
                </a:cubicBezTo>
                <a:cubicBezTo>
                  <a:pt x="1605" y="872"/>
                  <a:pt x="1597" y="864"/>
                  <a:pt x="1597" y="864"/>
                </a:cubicBezTo>
                <a:cubicBezTo>
                  <a:pt x="1597" y="864"/>
                  <a:pt x="1581" y="856"/>
                  <a:pt x="1573" y="856"/>
                </a:cubicBezTo>
                <a:cubicBezTo>
                  <a:pt x="1573" y="856"/>
                  <a:pt x="1573" y="864"/>
                  <a:pt x="1565" y="864"/>
                </a:cubicBezTo>
                <a:lnTo>
                  <a:pt x="1556" y="872"/>
                </a:lnTo>
                <a:cubicBezTo>
                  <a:pt x="1556" y="872"/>
                  <a:pt x="1548" y="864"/>
                  <a:pt x="1540" y="864"/>
                </a:cubicBezTo>
                <a:cubicBezTo>
                  <a:pt x="1532" y="864"/>
                  <a:pt x="1532" y="856"/>
                  <a:pt x="1532" y="856"/>
                </a:cubicBezTo>
                <a:lnTo>
                  <a:pt x="1516" y="856"/>
                </a:lnTo>
                <a:lnTo>
                  <a:pt x="1500" y="856"/>
                </a:lnTo>
                <a:lnTo>
                  <a:pt x="1492" y="864"/>
                </a:lnTo>
                <a:lnTo>
                  <a:pt x="1475" y="872"/>
                </a:lnTo>
                <a:lnTo>
                  <a:pt x="1475" y="888"/>
                </a:lnTo>
                <a:cubicBezTo>
                  <a:pt x="1475" y="888"/>
                  <a:pt x="1475" y="895"/>
                  <a:pt x="1467" y="895"/>
                </a:cubicBezTo>
                <a:lnTo>
                  <a:pt x="1459" y="911"/>
                </a:lnTo>
                <a:cubicBezTo>
                  <a:pt x="1459" y="911"/>
                  <a:pt x="1459" y="934"/>
                  <a:pt x="1451" y="934"/>
                </a:cubicBezTo>
                <a:lnTo>
                  <a:pt x="1451" y="942"/>
                </a:lnTo>
                <a:lnTo>
                  <a:pt x="1451" y="958"/>
                </a:lnTo>
                <a:lnTo>
                  <a:pt x="1451" y="965"/>
                </a:lnTo>
                <a:lnTo>
                  <a:pt x="1435" y="958"/>
                </a:lnTo>
                <a:lnTo>
                  <a:pt x="1419" y="911"/>
                </a:lnTo>
                <a:cubicBezTo>
                  <a:pt x="1419" y="911"/>
                  <a:pt x="1394" y="919"/>
                  <a:pt x="1370" y="919"/>
                </a:cubicBezTo>
                <a:cubicBezTo>
                  <a:pt x="1346" y="911"/>
                  <a:pt x="1329" y="895"/>
                  <a:pt x="1321" y="895"/>
                </a:cubicBezTo>
                <a:cubicBezTo>
                  <a:pt x="1321" y="888"/>
                  <a:pt x="1289" y="895"/>
                  <a:pt x="1289" y="895"/>
                </a:cubicBezTo>
                <a:lnTo>
                  <a:pt x="1281" y="926"/>
                </a:lnTo>
                <a:lnTo>
                  <a:pt x="1192" y="919"/>
                </a:lnTo>
                <a:lnTo>
                  <a:pt x="1159" y="903"/>
                </a:lnTo>
                <a:lnTo>
                  <a:pt x="1102" y="880"/>
                </a:lnTo>
                <a:lnTo>
                  <a:pt x="1086" y="872"/>
                </a:lnTo>
                <a:lnTo>
                  <a:pt x="1046" y="872"/>
                </a:lnTo>
                <a:cubicBezTo>
                  <a:pt x="1037" y="872"/>
                  <a:pt x="1005" y="864"/>
                  <a:pt x="1005" y="864"/>
                </a:cubicBezTo>
                <a:cubicBezTo>
                  <a:pt x="1005" y="864"/>
                  <a:pt x="973" y="856"/>
                  <a:pt x="964" y="856"/>
                </a:cubicBezTo>
                <a:lnTo>
                  <a:pt x="940" y="856"/>
                </a:lnTo>
                <a:lnTo>
                  <a:pt x="901" y="849"/>
                </a:lnTo>
                <a:cubicBezTo>
                  <a:pt x="901" y="849"/>
                  <a:pt x="876" y="833"/>
                  <a:pt x="860" y="841"/>
                </a:cubicBezTo>
                <a:cubicBezTo>
                  <a:pt x="852" y="841"/>
                  <a:pt x="860" y="864"/>
                  <a:pt x="860" y="864"/>
                </a:cubicBezTo>
                <a:cubicBezTo>
                  <a:pt x="860" y="864"/>
                  <a:pt x="852" y="903"/>
                  <a:pt x="860" y="911"/>
                </a:cubicBezTo>
                <a:cubicBezTo>
                  <a:pt x="860" y="926"/>
                  <a:pt x="844" y="942"/>
                  <a:pt x="844" y="942"/>
                </a:cubicBezTo>
                <a:lnTo>
                  <a:pt x="820" y="950"/>
                </a:lnTo>
                <a:cubicBezTo>
                  <a:pt x="820" y="950"/>
                  <a:pt x="803" y="973"/>
                  <a:pt x="795" y="973"/>
                </a:cubicBezTo>
                <a:cubicBezTo>
                  <a:pt x="787" y="973"/>
                  <a:pt x="787" y="1020"/>
                  <a:pt x="787" y="1020"/>
                </a:cubicBezTo>
                <a:lnTo>
                  <a:pt x="755" y="1028"/>
                </a:lnTo>
                <a:lnTo>
                  <a:pt x="722" y="1004"/>
                </a:lnTo>
                <a:lnTo>
                  <a:pt x="698" y="1020"/>
                </a:lnTo>
                <a:lnTo>
                  <a:pt x="690" y="1036"/>
                </a:lnTo>
                <a:lnTo>
                  <a:pt x="649" y="1028"/>
                </a:lnTo>
                <a:cubicBezTo>
                  <a:pt x="641" y="1028"/>
                  <a:pt x="601" y="1020"/>
                  <a:pt x="601" y="1020"/>
                </a:cubicBezTo>
                <a:cubicBezTo>
                  <a:pt x="601" y="1020"/>
                  <a:pt x="576" y="997"/>
                  <a:pt x="568" y="989"/>
                </a:cubicBezTo>
                <a:cubicBezTo>
                  <a:pt x="560" y="981"/>
                  <a:pt x="528" y="965"/>
                  <a:pt x="519" y="958"/>
                </a:cubicBezTo>
                <a:cubicBezTo>
                  <a:pt x="511" y="958"/>
                  <a:pt x="511" y="950"/>
                  <a:pt x="511" y="950"/>
                </a:cubicBezTo>
                <a:cubicBezTo>
                  <a:pt x="495" y="934"/>
                  <a:pt x="503" y="934"/>
                  <a:pt x="487" y="926"/>
                </a:cubicBezTo>
                <a:cubicBezTo>
                  <a:pt x="471" y="919"/>
                  <a:pt x="455" y="919"/>
                  <a:pt x="455" y="911"/>
                </a:cubicBezTo>
                <a:cubicBezTo>
                  <a:pt x="455" y="903"/>
                  <a:pt x="463" y="888"/>
                  <a:pt x="446" y="888"/>
                </a:cubicBezTo>
                <a:cubicBezTo>
                  <a:pt x="422" y="895"/>
                  <a:pt x="414" y="903"/>
                  <a:pt x="406" y="895"/>
                </a:cubicBezTo>
                <a:cubicBezTo>
                  <a:pt x="390" y="880"/>
                  <a:pt x="390" y="880"/>
                  <a:pt x="382" y="864"/>
                </a:cubicBezTo>
                <a:cubicBezTo>
                  <a:pt x="382" y="849"/>
                  <a:pt x="382" y="833"/>
                  <a:pt x="365" y="833"/>
                </a:cubicBezTo>
                <a:cubicBezTo>
                  <a:pt x="349" y="833"/>
                  <a:pt x="341" y="825"/>
                  <a:pt x="341" y="825"/>
                </a:cubicBezTo>
                <a:cubicBezTo>
                  <a:pt x="341" y="825"/>
                  <a:pt x="333" y="833"/>
                  <a:pt x="325" y="817"/>
                </a:cubicBezTo>
                <a:cubicBezTo>
                  <a:pt x="317" y="794"/>
                  <a:pt x="341" y="810"/>
                  <a:pt x="317" y="779"/>
                </a:cubicBezTo>
                <a:cubicBezTo>
                  <a:pt x="284" y="755"/>
                  <a:pt x="292" y="763"/>
                  <a:pt x="276" y="747"/>
                </a:cubicBezTo>
                <a:cubicBezTo>
                  <a:pt x="260" y="732"/>
                  <a:pt x="211" y="747"/>
                  <a:pt x="211" y="747"/>
                </a:cubicBezTo>
                <a:cubicBezTo>
                  <a:pt x="211" y="747"/>
                  <a:pt x="211" y="740"/>
                  <a:pt x="195" y="724"/>
                </a:cubicBezTo>
                <a:cubicBezTo>
                  <a:pt x="179" y="708"/>
                  <a:pt x="187" y="716"/>
                  <a:pt x="171" y="701"/>
                </a:cubicBezTo>
                <a:cubicBezTo>
                  <a:pt x="155" y="677"/>
                  <a:pt x="155" y="685"/>
                  <a:pt x="155" y="662"/>
                </a:cubicBezTo>
                <a:cubicBezTo>
                  <a:pt x="146" y="638"/>
                  <a:pt x="155" y="631"/>
                  <a:pt x="138" y="615"/>
                </a:cubicBezTo>
                <a:cubicBezTo>
                  <a:pt x="122" y="599"/>
                  <a:pt x="114" y="584"/>
                  <a:pt x="114" y="584"/>
                </a:cubicBezTo>
                <a:cubicBezTo>
                  <a:pt x="114" y="584"/>
                  <a:pt x="98" y="568"/>
                  <a:pt x="114" y="545"/>
                </a:cubicBezTo>
                <a:cubicBezTo>
                  <a:pt x="130" y="529"/>
                  <a:pt x="130" y="529"/>
                  <a:pt x="130" y="514"/>
                </a:cubicBezTo>
                <a:cubicBezTo>
                  <a:pt x="130" y="506"/>
                  <a:pt x="138" y="490"/>
                  <a:pt x="114" y="475"/>
                </a:cubicBezTo>
                <a:lnTo>
                  <a:pt x="65" y="444"/>
                </a:lnTo>
                <a:cubicBezTo>
                  <a:pt x="49" y="436"/>
                  <a:pt x="41" y="436"/>
                  <a:pt x="33" y="428"/>
                </a:cubicBezTo>
                <a:cubicBezTo>
                  <a:pt x="25" y="420"/>
                  <a:pt x="9" y="366"/>
                  <a:pt x="9" y="366"/>
                </a:cubicBezTo>
                <a:lnTo>
                  <a:pt x="0" y="342"/>
                </a:lnTo>
                <a:lnTo>
                  <a:pt x="41" y="342"/>
                </a:lnTo>
                <a:lnTo>
                  <a:pt x="49" y="373"/>
                </a:lnTo>
                <a:lnTo>
                  <a:pt x="57" y="397"/>
                </a:lnTo>
                <a:lnTo>
                  <a:pt x="82" y="350"/>
                </a:lnTo>
                <a:lnTo>
                  <a:pt x="114" y="311"/>
                </a:lnTo>
                <a:lnTo>
                  <a:pt x="138" y="311"/>
                </a:lnTo>
                <a:cubicBezTo>
                  <a:pt x="155" y="311"/>
                  <a:pt x="179" y="296"/>
                  <a:pt x="187" y="296"/>
                </a:cubicBezTo>
                <a:cubicBezTo>
                  <a:pt x="203" y="296"/>
                  <a:pt x="228" y="303"/>
                  <a:pt x="236" y="303"/>
                </a:cubicBezTo>
                <a:cubicBezTo>
                  <a:pt x="252" y="296"/>
                  <a:pt x="260" y="296"/>
                  <a:pt x="260" y="280"/>
                </a:cubicBezTo>
                <a:cubicBezTo>
                  <a:pt x="268" y="272"/>
                  <a:pt x="252" y="257"/>
                  <a:pt x="284" y="249"/>
                </a:cubicBezTo>
                <a:cubicBezTo>
                  <a:pt x="309" y="233"/>
                  <a:pt x="317" y="233"/>
                  <a:pt x="317" y="233"/>
                </a:cubicBezTo>
                <a:lnTo>
                  <a:pt x="349" y="21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00" name="Freeform 92">
            <a:extLst>
              <a:ext uri="{FF2B5EF4-FFF2-40B4-BE49-F238E27FC236}">
                <a16:creationId xmlns:a16="http://schemas.microsoft.com/office/drawing/2014/main" id="{42DDD23D-557D-E64B-05B7-44B9D91F182B}"/>
              </a:ext>
            </a:extLst>
          </p:cNvPr>
          <p:cNvSpPr>
            <a:spLocks noChangeArrowheads="1"/>
          </p:cNvSpPr>
          <p:nvPr>
            <p:custDataLst>
              <p:tags r:id="rId92"/>
            </p:custDataLst>
          </p:nvPr>
        </p:nvSpPr>
        <p:spPr bwMode="auto">
          <a:xfrm>
            <a:off x="8203027" y="2695091"/>
            <a:ext cx="606758" cy="463672"/>
          </a:xfrm>
          <a:custGeom>
            <a:avLst/>
            <a:gdLst>
              <a:gd name="T0" fmla="*/ 196 w 1477"/>
              <a:gd name="T1" fmla="*/ 178 h 1131"/>
              <a:gd name="T2" fmla="*/ 278 w 1477"/>
              <a:gd name="T3" fmla="*/ 162 h 1131"/>
              <a:gd name="T4" fmla="*/ 392 w 1477"/>
              <a:gd name="T5" fmla="*/ 138 h 1131"/>
              <a:gd name="T6" fmla="*/ 449 w 1477"/>
              <a:gd name="T7" fmla="*/ 129 h 1131"/>
              <a:gd name="T8" fmla="*/ 506 w 1477"/>
              <a:gd name="T9" fmla="*/ 121 h 1131"/>
              <a:gd name="T10" fmla="*/ 595 w 1477"/>
              <a:gd name="T11" fmla="*/ 105 h 1131"/>
              <a:gd name="T12" fmla="*/ 661 w 1477"/>
              <a:gd name="T13" fmla="*/ 105 h 1131"/>
              <a:gd name="T14" fmla="*/ 750 w 1477"/>
              <a:gd name="T15" fmla="*/ 121 h 1131"/>
              <a:gd name="T16" fmla="*/ 824 w 1477"/>
              <a:gd name="T17" fmla="*/ 97 h 1131"/>
              <a:gd name="T18" fmla="*/ 856 w 1477"/>
              <a:gd name="T19" fmla="*/ 24 h 1131"/>
              <a:gd name="T20" fmla="*/ 913 w 1477"/>
              <a:gd name="T21" fmla="*/ 49 h 1131"/>
              <a:gd name="T22" fmla="*/ 954 w 1477"/>
              <a:gd name="T23" fmla="*/ 81 h 1131"/>
              <a:gd name="T24" fmla="*/ 1044 w 1477"/>
              <a:gd name="T25" fmla="*/ 89 h 1131"/>
              <a:gd name="T26" fmla="*/ 1101 w 1477"/>
              <a:gd name="T27" fmla="*/ 81 h 1131"/>
              <a:gd name="T28" fmla="*/ 1133 w 1477"/>
              <a:gd name="T29" fmla="*/ 113 h 1131"/>
              <a:gd name="T30" fmla="*/ 1191 w 1477"/>
              <a:gd name="T31" fmla="*/ 137 h 1131"/>
              <a:gd name="T32" fmla="*/ 1248 w 1477"/>
              <a:gd name="T33" fmla="*/ 178 h 1131"/>
              <a:gd name="T34" fmla="*/ 1288 w 1477"/>
              <a:gd name="T35" fmla="*/ 218 h 1131"/>
              <a:gd name="T36" fmla="*/ 1362 w 1477"/>
              <a:gd name="T37" fmla="*/ 226 h 1131"/>
              <a:gd name="T38" fmla="*/ 1402 w 1477"/>
              <a:gd name="T39" fmla="*/ 299 h 1131"/>
              <a:gd name="T40" fmla="*/ 1386 w 1477"/>
              <a:gd name="T41" fmla="*/ 380 h 1131"/>
              <a:gd name="T42" fmla="*/ 1468 w 1477"/>
              <a:gd name="T43" fmla="*/ 380 h 1131"/>
              <a:gd name="T44" fmla="*/ 1443 w 1477"/>
              <a:gd name="T45" fmla="*/ 428 h 1131"/>
              <a:gd name="T46" fmla="*/ 1386 w 1477"/>
              <a:gd name="T47" fmla="*/ 460 h 1131"/>
              <a:gd name="T48" fmla="*/ 1362 w 1477"/>
              <a:gd name="T49" fmla="*/ 541 h 1131"/>
              <a:gd name="T50" fmla="*/ 1280 w 1477"/>
              <a:gd name="T51" fmla="*/ 598 h 1131"/>
              <a:gd name="T52" fmla="*/ 1272 w 1477"/>
              <a:gd name="T53" fmla="*/ 662 h 1131"/>
              <a:gd name="T54" fmla="*/ 1288 w 1477"/>
              <a:gd name="T55" fmla="*/ 767 h 1131"/>
              <a:gd name="T56" fmla="*/ 1280 w 1477"/>
              <a:gd name="T57" fmla="*/ 840 h 1131"/>
              <a:gd name="T58" fmla="*/ 1337 w 1477"/>
              <a:gd name="T59" fmla="*/ 864 h 1131"/>
              <a:gd name="T60" fmla="*/ 1280 w 1477"/>
              <a:gd name="T61" fmla="*/ 921 h 1131"/>
              <a:gd name="T62" fmla="*/ 1272 w 1477"/>
              <a:gd name="T63" fmla="*/ 872 h 1131"/>
              <a:gd name="T64" fmla="*/ 1191 w 1477"/>
              <a:gd name="T65" fmla="*/ 912 h 1131"/>
              <a:gd name="T66" fmla="*/ 1174 w 1477"/>
              <a:gd name="T67" fmla="*/ 961 h 1131"/>
              <a:gd name="T68" fmla="*/ 1109 w 1477"/>
              <a:gd name="T69" fmla="*/ 977 h 1131"/>
              <a:gd name="T70" fmla="*/ 1085 w 1477"/>
              <a:gd name="T71" fmla="*/ 1033 h 1131"/>
              <a:gd name="T72" fmla="*/ 995 w 1477"/>
              <a:gd name="T73" fmla="*/ 1082 h 1131"/>
              <a:gd name="T74" fmla="*/ 864 w 1477"/>
              <a:gd name="T75" fmla="*/ 1106 h 1131"/>
              <a:gd name="T76" fmla="*/ 791 w 1477"/>
              <a:gd name="T77" fmla="*/ 1130 h 1131"/>
              <a:gd name="T78" fmla="*/ 758 w 1477"/>
              <a:gd name="T79" fmla="*/ 1058 h 1131"/>
              <a:gd name="T80" fmla="*/ 644 w 1477"/>
              <a:gd name="T81" fmla="*/ 1001 h 1131"/>
              <a:gd name="T82" fmla="*/ 595 w 1477"/>
              <a:gd name="T83" fmla="*/ 977 h 1131"/>
              <a:gd name="T84" fmla="*/ 563 w 1477"/>
              <a:gd name="T85" fmla="*/ 977 h 1131"/>
              <a:gd name="T86" fmla="*/ 538 w 1477"/>
              <a:gd name="T87" fmla="*/ 840 h 1131"/>
              <a:gd name="T88" fmla="*/ 530 w 1477"/>
              <a:gd name="T89" fmla="*/ 759 h 1131"/>
              <a:gd name="T90" fmla="*/ 481 w 1477"/>
              <a:gd name="T91" fmla="*/ 727 h 1131"/>
              <a:gd name="T92" fmla="*/ 400 w 1477"/>
              <a:gd name="T93" fmla="*/ 711 h 1131"/>
              <a:gd name="T94" fmla="*/ 351 w 1477"/>
              <a:gd name="T95" fmla="*/ 735 h 1131"/>
              <a:gd name="T96" fmla="*/ 204 w 1477"/>
              <a:gd name="T97" fmla="*/ 703 h 1131"/>
              <a:gd name="T98" fmla="*/ 147 w 1477"/>
              <a:gd name="T99" fmla="*/ 670 h 1131"/>
              <a:gd name="T100" fmla="*/ 98 w 1477"/>
              <a:gd name="T101" fmla="*/ 590 h 1131"/>
              <a:gd name="T102" fmla="*/ 49 w 1477"/>
              <a:gd name="T103" fmla="*/ 517 h 1131"/>
              <a:gd name="T104" fmla="*/ 33 w 1477"/>
              <a:gd name="T105" fmla="*/ 436 h 1131"/>
              <a:gd name="T106" fmla="*/ 17 w 1477"/>
              <a:gd name="T107" fmla="*/ 355 h 1131"/>
              <a:gd name="T108" fmla="*/ 49 w 1477"/>
              <a:gd name="T109" fmla="*/ 331 h 1131"/>
              <a:gd name="T110" fmla="*/ 66 w 1477"/>
              <a:gd name="T111" fmla="*/ 267 h 1131"/>
              <a:gd name="T112" fmla="*/ 114 w 1477"/>
              <a:gd name="T113" fmla="*/ 210 h 1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77" h="1131">
                <a:moveTo>
                  <a:pt x="147" y="210"/>
                </a:moveTo>
                <a:lnTo>
                  <a:pt x="196" y="178"/>
                </a:lnTo>
                <a:lnTo>
                  <a:pt x="220" y="154"/>
                </a:lnTo>
                <a:lnTo>
                  <a:pt x="278" y="162"/>
                </a:lnTo>
                <a:cubicBezTo>
                  <a:pt x="278" y="162"/>
                  <a:pt x="318" y="146"/>
                  <a:pt x="326" y="146"/>
                </a:cubicBezTo>
                <a:cubicBezTo>
                  <a:pt x="335" y="146"/>
                  <a:pt x="392" y="138"/>
                  <a:pt x="392" y="138"/>
                </a:cubicBezTo>
                <a:lnTo>
                  <a:pt x="424" y="113"/>
                </a:lnTo>
                <a:cubicBezTo>
                  <a:pt x="424" y="113"/>
                  <a:pt x="449" y="121"/>
                  <a:pt x="449" y="129"/>
                </a:cubicBezTo>
                <a:cubicBezTo>
                  <a:pt x="457" y="138"/>
                  <a:pt x="481" y="162"/>
                  <a:pt x="489" y="162"/>
                </a:cubicBezTo>
                <a:cubicBezTo>
                  <a:pt x="498" y="154"/>
                  <a:pt x="506" y="121"/>
                  <a:pt x="506" y="121"/>
                </a:cubicBezTo>
                <a:lnTo>
                  <a:pt x="555" y="113"/>
                </a:lnTo>
                <a:lnTo>
                  <a:pt x="595" y="105"/>
                </a:lnTo>
                <a:cubicBezTo>
                  <a:pt x="595" y="105"/>
                  <a:pt x="595" y="97"/>
                  <a:pt x="604" y="97"/>
                </a:cubicBezTo>
                <a:cubicBezTo>
                  <a:pt x="612" y="105"/>
                  <a:pt x="661" y="105"/>
                  <a:pt x="661" y="105"/>
                </a:cubicBezTo>
                <a:lnTo>
                  <a:pt x="710" y="105"/>
                </a:lnTo>
                <a:cubicBezTo>
                  <a:pt x="710" y="105"/>
                  <a:pt x="742" y="121"/>
                  <a:pt x="750" y="121"/>
                </a:cubicBezTo>
                <a:cubicBezTo>
                  <a:pt x="750" y="113"/>
                  <a:pt x="775" y="81"/>
                  <a:pt x="775" y="81"/>
                </a:cubicBezTo>
                <a:lnTo>
                  <a:pt x="824" y="97"/>
                </a:lnTo>
                <a:lnTo>
                  <a:pt x="832" y="65"/>
                </a:lnTo>
                <a:lnTo>
                  <a:pt x="856" y="24"/>
                </a:lnTo>
                <a:cubicBezTo>
                  <a:pt x="864" y="24"/>
                  <a:pt x="897" y="0"/>
                  <a:pt x="897" y="0"/>
                </a:cubicBezTo>
                <a:lnTo>
                  <a:pt x="913" y="49"/>
                </a:lnTo>
                <a:lnTo>
                  <a:pt x="946" y="73"/>
                </a:lnTo>
                <a:lnTo>
                  <a:pt x="954" y="81"/>
                </a:lnTo>
                <a:lnTo>
                  <a:pt x="987" y="105"/>
                </a:lnTo>
                <a:lnTo>
                  <a:pt x="1044" y="89"/>
                </a:lnTo>
                <a:lnTo>
                  <a:pt x="1076" y="81"/>
                </a:lnTo>
                <a:lnTo>
                  <a:pt x="1101" y="81"/>
                </a:lnTo>
                <a:lnTo>
                  <a:pt x="1109" y="97"/>
                </a:lnTo>
                <a:lnTo>
                  <a:pt x="1133" y="113"/>
                </a:lnTo>
                <a:lnTo>
                  <a:pt x="1174" y="113"/>
                </a:lnTo>
                <a:lnTo>
                  <a:pt x="1191" y="137"/>
                </a:lnTo>
                <a:lnTo>
                  <a:pt x="1223" y="146"/>
                </a:lnTo>
                <a:lnTo>
                  <a:pt x="1248" y="178"/>
                </a:lnTo>
                <a:lnTo>
                  <a:pt x="1272" y="186"/>
                </a:lnTo>
                <a:lnTo>
                  <a:pt x="1288" y="218"/>
                </a:lnTo>
                <a:lnTo>
                  <a:pt x="1321" y="218"/>
                </a:lnTo>
                <a:lnTo>
                  <a:pt x="1362" y="226"/>
                </a:lnTo>
                <a:lnTo>
                  <a:pt x="1394" y="226"/>
                </a:lnTo>
                <a:lnTo>
                  <a:pt x="1402" y="299"/>
                </a:lnTo>
                <a:lnTo>
                  <a:pt x="1386" y="339"/>
                </a:lnTo>
                <a:lnTo>
                  <a:pt x="1386" y="380"/>
                </a:lnTo>
                <a:lnTo>
                  <a:pt x="1411" y="388"/>
                </a:lnTo>
                <a:lnTo>
                  <a:pt x="1468" y="380"/>
                </a:lnTo>
                <a:lnTo>
                  <a:pt x="1476" y="412"/>
                </a:lnTo>
                <a:lnTo>
                  <a:pt x="1443" y="428"/>
                </a:lnTo>
                <a:lnTo>
                  <a:pt x="1451" y="468"/>
                </a:lnTo>
                <a:lnTo>
                  <a:pt x="1386" y="460"/>
                </a:lnTo>
                <a:lnTo>
                  <a:pt x="1362" y="485"/>
                </a:lnTo>
                <a:lnTo>
                  <a:pt x="1362" y="541"/>
                </a:lnTo>
                <a:lnTo>
                  <a:pt x="1296" y="565"/>
                </a:lnTo>
                <a:lnTo>
                  <a:pt x="1280" y="598"/>
                </a:lnTo>
                <a:lnTo>
                  <a:pt x="1280" y="630"/>
                </a:lnTo>
                <a:lnTo>
                  <a:pt x="1272" y="662"/>
                </a:lnTo>
                <a:lnTo>
                  <a:pt x="1280" y="719"/>
                </a:lnTo>
                <a:lnTo>
                  <a:pt x="1288" y="767"/>
                </a:lnTo>
                <a:cubicBezTo>
                  <a:pt x="1288" y="767"/>
                  <a:pt x="1272" y="807"/>
                  <a:pt x="1264" y="832"/>
                </a:cubicBezTo>
                <a:cubicBezTo>
                  <a:pt x="1264" y="848"/>
                  <a:pt x="1280" y="840"/>
                  <a:pt x="1280" y="840"/>
                </a:cubicBezTo>
                <a:lnTo>
                  <a:pt x="1321" y="856"/>
                </a:lnTo>
                <a:lnTo>
                  <a:pt x="1337" y="864"/>
                </a:lnTo>
                <a:lnTo>
                  <a:pt x="1321" y="912"/>
                </a:lnTo>
                <a:lnTo>
                  <a:pt x="1280" y="921"/>
                </a:lnTo>
                <a:lnTo>
                  <a:pt x="1288" y="888"/>
                </a:lnTo>
                <a:lnTo>
                  <a:pt x="1272" y="872"/>
                </a:lnTo>
                <a:lnTo>
                  <a:pt x="1248" y="896"/>
                </a:lnTo>
                <a:lnTo>
                  <a:pt x="1191" y="912"/>
                </a:lnTo>
                <a:lnTo>
                  <a:pt x="1191" y="929"/>
                </a:lnTo>
                <a:lnTo>
                  <a:pt x="1174" y="961"/>
                </a:lnTo>
                <a:lnTo>
                  <a:pt x="1125" y="961"/>
                </a:lnTo>
                <a:cubicBezTo>
                  <a:pt x="1117" y="953"/>
                  <a:pt x="1109" y="977"/>
                  <a:pt x="1109" y="977"/>
                </a:cubicBezTo>
                <a:lnTo>
                  <a:pt x="1125" y="1033"/>
                </a:lnTo>
                <a:lnTo>
                  <a:pt x="1085" y="1033"/>
                </a:lnTo>
                <a:lnTo>
                  <a:pt x="1052" y="1074"/>
                </a:lnTo>
                <a:lnTo>
                  <a:pt x="995" y="1082"/>
                </a:lnTo>
                <a:lnTo>
                  <a:pt x="946" y="1074"/>
                </a:lnTo>
                <a:lnTo>
                  <a:pt x="864" y="1106"/>
                </a:lnTo>
                <a:lnTo>
                  <a:pt x="791" y="1122"/>
                </a:lnTo>
                <a:lnTo>
                  <a:pt x="791" y="1130"/>
                </a:lnTo>
                <a:lnTo>
                  <a:pt x="783" y="1082"/>
                </a:lnTo>
                <a:lnTo>
                  <a:pt x="758" y="1058"/>
                </a:lnTo>
                <a:cubicBezTo>
                  <a:pt x="758" y="1058"/>
                  <a:pt x="734" y="1009"/>
                  <a:pt x="734" y="1001"/>
                </a:cubicBezTo>
                <a:lnTo>
                  <a:pt x="644" y="1001"/>
                </a:lnTo>
                <a:cubicBezTo>
                  <a:pt x="644" y="1001"/>
                  <a:pt x="628" y="977"/>
                  <a:pt x="620" y="961"/>
                </a:cubicBezTo>
                <a:cubicBezTo>
                  <a:pt x="620" y="953"/>
                  <a:pt x="595" y="977"/>
                  <a:pt x="595" y="977"/>
                </a:cubicBezTo>
                <a:lnTo>
                  <a:pt x="563" y="985"/>
                </a:lnTo>
                <a:lnTo>
                  <a:pt x="563" y="977"/>
                </a:lnTo>
                <a:lnTo>
                  <a:pt x="538" y="945"/>
                </a:lnTo>
                <a:lnTo>
                  <a:pt x="538" y="840"/>
                </a:lnTo>
                <a:lnTo>
                  <a:pt x="555" y="783"/>
                </a:lnTo>
                <a:cubicBezTo>
                  <a:pt x="555" y="783"/>
                  <a:pt x="538" y="775"/>
                  <a:pt x="530" y="759"/>
                </a:cubicBezTo>
                <a:cubicBezTo>
                  <a:pt x="514" y="743"/>
                  <a:pt x="498" y="727"/>
                  <a:pt x="498" y="727"/>
                </a:cubicBezTo>
                <a:lnTo>
                  <a:pt x="481" y="727"/>
                </a:lnTo>
                <a:lnTo>
                  <a:pt x="457" y="694"/>
                </a:lnTo>
                <a:lnTo>
                  <a:pt x="400" y="711"/>
                </a:lnTo>
                <a:lnTo>
                  <a:pt x="367" y="719"/>
                </a:lnTo>
                <a:lnTo>
                  <a:pt x="351" y="735"/>
                </a:lnTo>
                <a:lnTo>
                  <a:pt x="253" y="727"/>
                </a:lnTo>
                <a:lnTo>
                  <a:pt x="204" y="703"/>
                </a:lnTo>
                <a:lnTo>
                  <a:pt x="180" y="694"/>
                </a:lnTo>
                <a:lnTo>
                  <a:pt x="147" y="670"/>
                </a:lnTo>
                <a:lnTo>
                  <a:pt x="106" y="638"/>
                </a:lnTo>
                <a:lnTo>
                  <a:pt x="98" y="590"/>
                </a:lnTo>
                <a:lnTo>
                  <a:pt x="90" y="557"/>
                </a:lnTo>
                <a:lnTo>
                  <a:pt x="49" y="517"/>
                </a:lnTo>
                <a:lnTo>
                  <a:pt x="33" y="485"/>
                </a:lnTo>
                <a:lnTo>
                  <a:pt x="33" y="436"/>
                </a:lnTo>
                <a:lnTo>
                  <a:pt x="9" y="396"/>
                </a:lnTo>
                <a:lnTo>
                  <a:pt x="17" y="355"/>
                </a:lnTo>
                <a:cubicBezTo>
                  <a:pt x="17" y="355"/>
                  <a:pt x="0" y="347"/>
                  <a:pt x="9" y="339"/>
                </a:cubicBezTo>
                <a:cubicBezTo>
                  <a:pt x="25" y="339"/>
                  <a:pt x="49" y="331"/>
                  <a:pt x="49" y="331"/>
                </a:cubicBezTo>
                <a:lnTo>
                  <a:pt x="57" y="283"/>
                </a:lnTo>
                <a:lnTo>
                  <a:pt x="66" y="267"/>
                </a:lnTo>
                <a:lnTo>
                  <a:pt x="98" y="250"/>
                </a:lnTo>
                <a:lnTo>
                  <a:pt x="114" y="210"/>
                </a:lnTo>
                <a:lnTo>
                  <a:pt x="147" y="210"/>
                </a:ln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01" name="Freeform 93">
            <a:extLst>
              <a:ext uri="{FF2B5EF4-FFF2-40B4-BE49-F238E27FC236}">
                <a16:creationId xmlns:a16="http://schemas.microsoft.com/office/drawing/2014/main" id="{46DCE7C7-C363-B05C-537A-0BB4AC363A06}"/>
              </a:ext>
            </a:extLst>
          </p:cNvPr>
          <p:cNvSpPr>
            <a:spLocks noChangeArrowheads="1"/>
          </p:cNvSpPr>
          <p:nvPr>
            <p:custDataLst>
              <p:tags r:id="rId93"/>
            </p:custDataLst>
          </p:nvPr>
        </p:nvSpPr>
        <p:spPr bwMode="auto">
          <a:xfrm>
            <a:off x="8203027" y="2695091"/>
            <a:ext cx="606758" cy="463672"/>
          </a:xfrm>
          <a:custGeom>
            <a:avLst/>
            <a:gdLst>
              <a:gd name="T0" fmla="*/ 196 w 1477"/>
              <a:gd name="T1" fmla="*/ 178 h 1131"/>
              <a:gd name="T2" fmla="*/ 278 w 1477"/>
              <a:gd name="T3" fmla="*/ 162 h 1131"/>
              <a:gd name="T4" fmla="*/ 392 w 1477"/>
              <a:gd name="T5" fmla="*/ 138 h 1131"/>
              <a:gd name="T6" fmla="*/ 449 w 1477"/>
              <a:gd name="T7" fmla="*/ 129 h 1131"/>
              <a:gd name="T8" fmla="*/ 506 w 1477"/>
              <a:gd name="T9" fmla="*/ 121 h 1131"/>
              <a:gd name="T10" fmla="*/ 595 w 1477"/>
              <a:gd name="T11" fmla="*/ 105 h 1131"/>
              <a:gd name="T12" fmla="*/ 661 w 1477"/>
              <a:gd name="T13" fmla="*/ 105 h 1131"/>
              <a:gd name="T14" fmla="*/ 750 w 1477"/>
              <a:gd name="T15" fmla="*/ 121 h 1131"/>
              <a:gd name="T16" fmla="*/ 824 w 1477"/>
              <a:gd name="T17" fmla="*/ 97 h 1131"/>
              <a:gd name="T18" fmla="*/ 856 w 1477"/>
              <a:gd name="T19" fmla="*/ 24 h 1131"/>
              <a:gd name="T20" fmla="*/ 913 w 1477"/>
              <a:gd name="T21" fmla="*/ 49 h 1131"/>
              <a:gd name="T22" fmla="*/ 954 w 1477"/>
              <a:gd name="T23" fmla="*/ 81 h 1131"/>
              <a:gd name="T24" fmla="*/ 1044 w 1477"/>
              <a:gd name="T25" fmla="*/ 89 h 1131"/>
              <a:gd name="T26" fmla="*/ 1101 w 1477"/>
              <a:gd name="T27" fmla="*/ 81 h 1131"/>
              <a:gd name="T28" fmla="*/ 1133 w 1477"/>
              <a:gd name="T29" fmla="*/ 113 h 1131"/>
              <a:gd name="T30" fmla="*/ 1191 w 1477"/>
              <a:gd name="T31" fmla="*/ 137 h 1131"/>
              <a:gd name="T32" fmla="*/ 1248 w 1477"/>
              <a:gd name="T33" fmla="*/ 178 h 1131"/>
              <a:gd name="T34" fmla="*/ 1288 w 1477"/>
              <a:gd name="T35" fmla="*/ 218 h 1131"/>
              <a:gd name="T36" fmla="*/ 1362 w 1477"/>
              <a:gd name="T37" fmla="*/ 226 h 1131"/>
              <a:gd name="T38" fmla="*/ 1402 w 1477"/>
              <a:gd name="T39" fmla="*/ 299 h 1131"/>
              <a:gd name="T40" fmla="*/ 1386 w 1477"/>
              <a:gd name="T41" fmla="*/ 380 h 1131"/>
              <a:gd name="T42" fmla="*/ 1468 w 1477"/>
              <a:gd name="T43" fmla="*/ 380 h 1131"/>
              <a:gd name="T44" fmla="*/ 1443 w 1477"/>
              <a:gd name="T45" fmla="*/ 428 h 1131"/>
              <a:gd name="T46" fmla="*/ 1386 w 1477"/>
              <a:gd name="T47" fmla="*/ 460 h 1131"/>
              <a:gd name="T48" fmla="*/ 1362 w 1477"/>
              <a:gd name="T49" fmla="*/ 541 h 1131"/>
              <a:gd name="T50" fmla="*/ 1280 w 1477"/>
              <a:gd name="T51" fmla="*/ 598 h 1131"/>
              <a:gd name="T52" fmla="*/ 1272 w 1477"/>
              <a:gd name="T53" fmla="*/ 662 h 1131"/>
              <a:gd name="T54" fmla="*/ 1288 w 1477"/>
              <a:gd name="T55" fmla="*/ 767 h 1131"/>
              <a:gd name="T56" fmla="*/ 1280 w 1477"/>
              <a:gd name="T57" fmla="*/ 840 h 1131"/>
              <a:gd name="T58" fmla="*/ 1337 w 1477"/>
              <a:gd name="T59" fmla="*/ 864 h 1131"/>
              <a:gd name="T60" fmla="*/ 1280 w 1477"/>
              <a:gd name="T61" fmla="*/ 921 h 1131"/>
              <a:gd name="T62" fmla="*/ 1272 w 1477"/>
              <a:gd name="T63" fmla="*/ 872 h 1131"/>
              <a:gd name="T64" fmla="*/ 1191 w 1477"/>
              <a:gd name="T65" fmla="*/ 912 h 1131"/>
              <a:gd name="T66" fmla="*/ 1174 w 1477"/>
              <a:gd name="T67" fmla="*/ 961 h 1131"/>
              <a:gd name="T68" fmla="*/ 1109 w 1477"/>
              <a:gd name="T69" fmla="*/ 977 h 1131"/>
              <a:gd name="T70" fmla="*/ 1085 w 1477"/>
              <a:gd name="T71" fmla="*/ 1033 h 1131"/>
              <a:gd name="T72" fmla="*/ 995 w 1477"/>
              <a:gd name="T73" fmla="*/ 1082 h 1131"/>
              <a:gd name="T74" fmla="*/ 864 w 1477"/>
              <a:gd name="T75" fmla="*/ 1106 h 1131"/>
              <a:gd name="T76" fmla="*/ 791 w 1477"/>
              <a:gd name="T77" fmla="*/ 1130 h 1131"/>
              <a:gd name="T78" fmla="*/ 758 w 1477"/>
              <a:gd name="T79" fmla="*/ 1058 h 1131"/>
              <a:gd name="T80" fmla="*/ 644 w 1477"/>
              <a:gd name="T81" fmla="*/ 1001 h 1131"/>
              <a:gd name="T82" fmla="*/ 595 w 1477"/>
              <a:gd name="T83" fmla="*/ 977 h 1131"/>
              <a:gd name="T84" fmla="*/ 563 w 1477"/>
              <a:gd name="T85" fmla="*/ 977 h 1131"/>
              <a:gd name="T86" fmla="*/ 538 w 1477"/>
              <a:gd name="T87" fmla="*/ 840 h 1131"/>
              <a:gd name="T88" fmla="*/ 530 w 1477"/>
              <a:gd name="T89" fmla="*/ 759 h 1131"/>
              <a:gd name="T90" fmla="*/ 481 w 1477"/>
              <a:gd name="T91" fmla="*/ 727 h 1131"/>
              <a:gd name="T92" fmla="*/ 400 w 1477"/>
              <a:gd name="T93" fmla="*/ 711 h 1131"/>
              <a:gd name="T94" fmla="*/ 351 w 1477"/>
              <a:gd name="T95" fmla="*/ 735 h 1131"/>
              <a:gd name="T96" fmla="*/ 204 w 1477"/>
              <a:gd name="T97" fmla="*/ 703 h 1131"/>
              <a:gd name="T98" fmla="*/ 147 w 1477"/>
              <a:gd name="T99" fmla="*/ 670 h 1131"/>
              <a:gd name="T100" fmla="*/ 98 w 1477"/>
              <a:gd name="T101" fmla="*/ 590 h 1131"/>
              <a:gd name="T102" fmla="*/ 49 w 1477"/>
              <a:gd name="T103" fmla="*/ 517 h 1131"/>
              <a:gd name="T104" fmla="*/ 33 w 1477"/>
              <a:gd name="T105" fmla="*/ 436 h 1131"/>
              <a:gd name="T106" fmla="*/ 17 w 1477"/>
              <a:gd name="T107" fmla="*/ 355 h 1131"/>
              <a:gd name="T108" fmla="*/ 49 w 1477"/>
              <a:gd name="T109" fmla="*/ 331 h 1131"/>
              <a:gd name="T110" fmla="*/ 66 w 1477"/>
              <a:gd name="T111" fmla="*/ 267 h 1131"/>
              <a:gd name="T112" fmla="*/ 114 w 1477"/>
              <a:gd name="T113" fmla="*/ 210 h 1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77" h="1131">
                <a:moveTo>
                  <a:pt x="147" y="210"/>
                </a:moveTo>
                <a:lnTo>
                  <a:pt x="196" y="178"/>
                </a:lnTo>
                <a:lnTo>
                  <a:pt x="220" y="154"/>
                </a:lnTo>
                <a:lnTo>
                  <a:pt x="278" y="162"/>
                </a:lnTo>
                <a:cubicBezTo>
                  <a:pt x="278" y="162"/>
                  <a:pt x="318" y="146"/>
                  <a:pt x="326" y="146"/>
                </a:cubicBezTo>
                <a:cubicBezTo>
                  <a:pt x="335" y="146"/>
                  <a:pt x="392" y="138"/>
                  <a:pt x="392" y="138"/>
                </a:cubicBezTo>
                <a:lnTo>
                  <a:pt x="424" y="113"/>
                </a:lnTo>
                <a:cubicBezTo>
                  <a:pt x="424" y="113"/>
                  <a:pt x="449" y="121"/>
                  <a:pt x="449" y="129"/>
                </a:cubicBezTo>
                <a:cubicBezTo>
                  <a:pt x="457" y="138"/>
                  <a:pt x="481" y="162"/>
                  <a:pt x="489" y="162"/>
                </a:cubicBezTo>
                <a:cubicBezTo>
                  <a:pt x="498" y="154"/>
                  <a:pt x="506" y="121"/>
                  <a:pt x="506" y="121"/>
                </a:cubicBezTo>
                <a:lnTo>
                  <a:pt x="555" y="113"/>
                </a:lnTo>
                <a:lnTo>
                  <a:pt x="595" y="105"/>
                </a:lnTo>
                <a:cubicBezTo>
                  <a:pt x="595" y="105"/>
                  <a:pt x="595" y="97"/>
                  <a:pt x="604" y="97"/>
                </a:cubicBezTo>
                <a:cubicBezTo>
                  <a:pt x="612" y="105"/>
                  <a:pt x="661" y="105"/>
                  <a:pt x="661" y="105"/>
                </a:cubicBezTo>
                <a:lnTo>
                  <a:pt x="710" y="105"/>
                </a:lnTo>
                <a:cubicBezTo>
                  <a:pt x="710" y="105"/>
                  <a:pt x="742" y="121"/>
                  <a:pt x="750" y="121"/>
                </a:cubicBezTo>
                <a:cubicBezTo>
                  <a:pt x="750" y="113"/>
                  <a:pt x="775" y="81"/>
                  <a:pt x="775" y="81"/>
                </a:cubicBezTo>
                <a:lnTo>
                  <a:pt x="824" y="97"/>
                </a:lnTo>
                <a:lnTo>
                  <a:pt x="832" y="65"/>
                </a:lnTo>
                <a:lnTo>
                  <a:pt x="856" y="24"/>
                </a:lnTo>
                <a:cubicBezTo>
                  <a:pt x="864" y="24"/>
                  <a:pt x="897" y="0"/>
                  <a:pt x="897" y="0"/>
                </a:cubicBezTo>
                <a:lnTo>
                  <a:pt x="913" y="49"/>
                </a:lnTo>
                <a:lnTo>
                  <a:pt x="946" y="73"/>
                </a:lnTo>
                <a:lnTo>
                  <a:pt x="954" y="81"/>
                </a:lnTo>
                <a:lnTo>
                  <a:pt x="987" y="105"/>
                </a:lnTo>
                <a:lnTo>
                  <a:pt x="1044" y="89"/>
                </a:lnTo>
                <a:lnTo>
                  <a:pt x="1076" y="81"/>
                </a:lnTo>
                <a:lnTo>
                  <a:pt x="1101" y="81"/>
                </a:lnTo>
                <a:lnTo>
                  <a:pt x="1109" y="97"/>
                </a:lnTo>
                <a:lnTo>
                  <a:pt x="1133" y="113"/>
                </a:lnTo>
                <a:lnTo>
                  <a:pt x="1174" y="113"/>
                </a:lnTo>
                <a:lnTo>
                  <a:pt x="1191" y="137"/>
                </a:lnTo>
                <a:lnTo>
                  <a:pt x="1223" y="146"/>
                </a:lnTo>
                <a:lnTo>
                  <a:pt x="1248" y="178"/>
                </a:lnTo>
                <a:lnTo>
                  <a:pt x="1272" y="186"/>
                </a:lnTo>
                <a:lnTo>
                  <a:pt x="1288" y="218"/>
                </a:lnTo>
                <a:lnTo>
                  <a:pt x="1321" y="218"/>
                </a:lnTo>
                <a:lnTo>
                  <a:pt x="1362" y="226"/>
                </a:lnTo>
                <a:lnTo>
                  <a:pt x="1394" y="226"/>
                </a:lnTo>
                <a:lnTo>
                  <a:pt x="1402" y="299"/>
                </a:lnTo>
                <a:lnTo>
                  <a:pt x="1386" y="339"/>
                </a:lnTo>
                <a:lnTo>
                  <a:pt x="1386" y="380"/>
                </a:lnTo>
                <a:lnTo>
                  <a:pt x="1411" y="388"/>
                </a:lnTo>
                <a:lnTo>
                  <a:pt x="1468" y="380"/>
                </a:lnTo>
                <a:lnTo>
                  <a:pt x="1476" y="412"/>
                </a:lnTo>
                <a:lnTo>
                  <a:pt x="1443" y="428"/>
                </a:lnTo>
                <a:lnTo>
                  <a:pt x="1451" y="468"/>
                </a:lnTo>
                <a:lnTo>
                  <a:pt x="1386" y="460"/>
                </a:lnTo>
                <a:lnTo>
                  <a:pt x="1362" y="485"/>
                </a:lnTo>
                <a:lnTo>
                  <a:pt x="1362" y="541"/>
                </a:lnTo>
                <a:lnTo>
                  <a:pt x="1296" y="565"/>
                </a:lnTo>
                <a:lnTo>
                  <a:pt x="1280" y="598"/>
                </a:lnTo>
                <a:lnTo>
                  <a:pt x="1280" y="630"/>
                </a:lnTo>
                <a:lnTo>
                  <a:pt x="1272" y="662"/>
                </a:lnTo>
                <a:lnTo>
                  <a:pt x="1280" y="719"/>
                </a:lnTo>
                <a:lnTo>
                  <a:pt x="1288" y="767"/>
                </a:lnTo>
                <a:cubicBezTo>
                  <a:pt x="1288" y="767"/>
                  <a:pt x="1272" y="807"/>
                  <a:pt x="1264" y="832"/>
                </a:cubicBezTo>
                <a:cubicBezTo>
                  <a:pt x="1264" y="848"/>
                  <a:pt x="1280" y="840"/>
                  <a:pt x="1280" y="840"/>
                </a:cubicBezTo>
                <a:lnTo>
                  <a:pt x="1321" y="856"/>
                </a:lnTo>
                <a:lnTo>
                  <a:pt x="1337" y="864"/>
                </a:lnTo>
                <a:lnTo>
                  <a:pt x="1321" y="912"/>
                </a:lnTo>
                <a:lnTo>
                  <a:pt x="1280" y="921"/>
                </a:lnTo>
                <a:lnTo>
                  <a:pt x="1288" y="888"/>
                </a:lnTo>
                <a:lnTo>
                  <a:pt x="1272" y="872"/>
                </a:lnTo>
                <a:lnTo>
                  <a:pt x="1248" y="896"/>
                </a:lnTo>
                <a:lnTo>
                  <a:pt x="1191" y="912"/>
                </a:lnTo>
                <a:lnTo>
                  <a:pt x="1191" y="929"/>
                </a:lnTo>
                <a:lnTo>
                  <a:pt x="1174" y="961"/>
                </a:lnTo>
                <a:lnTo>
                  <a:pt x="1125" y="961"/>
                </a:lnTo>
                <a:cubicBezTo>
                  <a:pt x="1117" y="953"/>
                  <a:pt x="1109" y="977"/>
                  <a:pt x="1109" y="977"/>
                </a:cubicBezTo>
                <a:lnTo>
                  <a:pt x="1125" y="1033"/>
                </a:lnTo>
                <a:lnTo>
                  <a:pt x="1085" y="1033"/>
                </a:lnTo>
                <a:lnTo>
                  <a:pt x="1052" y="1074"/>
                </a:lnTo>
                <a:lnTo>
                  <a:pt x="995" y="1082"/>
                </a:lnTo>
                <a:lnTo>
                  <a:pt x="946" y="1074"/>
                </a:lnTo>
                <a:lnTo>
                  <a:pt x="864" y="1106"/>
                </a:lnTo>
                <a:lnTo>
                  <a:pt x="791" y="1122"/>
                </a:lnTo>
                <a:lnTo>
                  <a:pt x="791" y="1130"/>
                </a:lnTo>
                <a:lnTo>
                  <a:pt x="783" y="1082"/>
                </a:lnTo>
                <a:lnTo>
                  <a:pt x="758" y="1058"/>
                </a:lnTo>
                <a:cubicBezTo>
                  <a:pt x="758" y="1058"/>
                  <a:pt x="734" y="1009"/>
                  <a:pt x="734" y="1001"/>
                </a:cubicBezTo>
                <a:lnTo>
                  <a:pt x="644" y="1001"/>
                </a:lnTo>
                <a:cubicBezTo>
                  <a:pt x="644" y="1001"/>
                  <a:pt x="628" y="977"/>
                  <a:pt x="620" y="961"/>
                </a:cubicBezTo>
                <a:cubicBezTo>
                  <a:pt x="620" y="953"/>
                  <a:pt x="595" y="977"/>
                  <a:pt x="595" y="977"/>
                </a:cubicBezTo>
                <a:lnTo>
                  <a:pt x="563" y="985"/>
                </a:lnTo>
                <a:lnTo>
                  <a:pt x="563" y="977"/>
                </a:lnTo>
                <a:lnTo>
                  <a:pt x="538" y="945"/>
                </a:lnTo>
                <a:lnTo>
                  <a:pt x="538" y="840"/>
                </a:lnTo>
                <a:lnTo>
                  <a:pt x="555" y="783"/>
                </a:lnTo>
                <a:cubicBezTo>
                  <a:pt x="555" y="783"/>
                  <a:pt x="538" y="775"/>
                  <a:pt x="530" y="759"/>
                </a:cubicBezTo>
                <a:cubicBezTo>
                  <a:pt x="514" y="743"/>
                  <a:pt x="498" y="727"/>
                  <a:pt x="498" y="727"/>
                </a:cubicBezTo>
                <a:lnTo>
                  <a:pt x="481" y="727"/>
                </a:lnTo>
                <a:lnTo>
                  <a:pt x="457" y="694"/>
                </a:lnTo>
                <a:lnTo>
                  <a:pt x="400" y="711"/>
                </a:lnTo>
                <a:lnTo>
                  <a:pt x="367" y="719"/>
                </a:lnTo>
                <a:lnTo>
                  <a:pt x="351" y="735"/>
                </a:lnTo>
                <a:lnTo>
                  <a:pt x="253" y="727"/>
                </a:lnTo>
                <a:lnTo>
                  <a:pt x="204" y="703"/>
                </a:lnTo>
                <a:lnTo>
                  <a:pt x="180" y="694"/>
                </a:lnTo>
                <a:lnTo>
                  <a:pt x="147" y="670"/>
                </a:lnTo>
                <a:lnTo>
                  <a:pt x="106" y="638"/>
                </a:lnTo>
                <a:lnTo>
                  <a:pt x="98" y="590"/>
                </a:lnTo>
                <a:lnTo>
                  <a:pt x="90" y="557"/>
                </a:lnTo>
                <a:lnTo>
                  <a:pt x="49" y="517"/>
                </a:lnTo>
                <a:lnTo>
                  <a:pt x="33" y="485"/>
                </a:lnTo>
                <a:lnTo>
                  <a:pt x="33" y="436"/>
                </a:lnTo>
                <a:lnTo>
                  <a:pt x="9" y="396"/>
                </a:lnTo>
                <a:lnTo>
                  <a:pt x="17" y="355"/>
                </a:lnTo>
                <a:cubicBezTo>
                  <a:pt x="17" y="355"/>
                  <a:pt x="0" y="347"/>
                  <a:pt x="9" y="339"/>
                </a:cubicBezTo>
                <a:cubicBezTo>
                  <a:pt x="25" y="339"/>
                  <a:pt x="49" y="331"/>
                  <a:pt x="49" y="331"/>
                </a:cubicBezTo>
                <a:lnTo>
                  <a:pt x="57" y="283"/>
                </a:lnTo>
                <a:lnTo>
                  <a:pt x="66" y="267"/>
                </a:lnTo>
                <a:lnTo>
                  <a:pt x="98" y="250"/>
                </a:lnTo>
                <a:lnTo>
                  <a:pt x="114" y="210"/>
                </a:lnTo>
                <a:lnTo>
                  <a:pt x="147" y="21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02" name="Freeform 94">
            <a:extLst>
              <a:ext uri="{FF2B5EF4-FFF2-40B4-BE49-F238E27FC236}">
                <a16:creationId xmlns:a16="http://schemas.microsoft.com/office/drawing/2014/main" id="{6809646B-1052-CF64-433A-6000C2BFA49B}"/>
              </a:ext>
            </a:extLst>
          </p:cNvPr>
          <p:cNvSpPr>
            <a:spLocks noChangeArrowheads="1"/>
          </p:cNvSpPr>
          <p:nvPr>
            <p:custDataLst>
              <p:tags r:id="rId94"/>
            </p:custDataLst>
          </p:nvPr>
        </p:nvSpPr>
        <p:spPr bwMode="auto">
          <a:xfrm>
            <a:off x="8203027" y="2115502"/>
            <a:ext cx="581401" cy="387600"/>
          </a:xfrm>
          <a:custGeom>
            <a:avLst/>
            <a:gdLst>
              <a:gd name="T0" fmla="*/ 265 w 1414"/>
              <a:gd name="T1" fmla="*/ 447 h 942"/>
              <a:gd name="T2" fmla="*/ 289 w 1414"/>
              <a:gd name="T3" fmla="*/ 408 h 942"/>
              <a:gd name="T4" fmla="*/ 233 w 1414"/>
              <a:gd name="T5" fmla="*/ 486 h 942"/>
              <a:gd name="T6" fmla="*/ 217 w 1414"/>
              <a:gd name="T7" fmla="*/ 533 h 942"/>
              <a:gd name="T8" fmla="*/ 153 w 1414"/>
              <a:gd name="T9" fmla="*/ 580 h 942"/>
              <a:gd name="T10" fmla="*/ 89 w 1414"/>
              <a:gd name="T11" fmla="*/ 518 h 942"/>
              <a:gd name="T12" fmla="*/ 73 w 1414"/>
              <a:gd name="T13" fmla="*/ 486 h 942"/>
              <a:gd name="T14" fmla="*/ 161 w 1414"/>
              <a:gd name="T15" fmla="*/ 439 h 942"/>
              <a:gd name="T16" fmla="*/ 313 w 1414"/>
              <a:gd name="T17" fmla="*/ 612 h 942"/>
              <a:gd name="T18" fmla="*/ 305 w 1414"/>
              <a:gd name="T19" fmla="*/ 565 h 942"/>
              <a:gd name="T20" fmla="*/ 65 w 1414"/>
              <a:gd name="T21" fmla="*/ 722 h 942"/>
              <a:gd name="T22" fmla="*/ 16 w 1414"/>
              <a:gd name="T23" fmla="*/ 690 h 942"/>
              <a:gd name="T24" fmla="*/ 57 w 1414"/>
              <a:gd name="T25" fmla="*/ 737 h 942"/>
              <a:gd name="T26" fmla="*/ 33 w 1414"/>
              <a:gd name="T27" fmla="*/ 792 h 942"/>
              <a:gd name="T28" fmla="*/ 89 w 1414"/>
              <a:gd name="T29" fmla="*/ 824 h 942"/>
              <a:gd name="T30" fmla="*/ 89 w 1414"/>
              <a:gd name="T31" fmla="*/ 879 h 942"/>
              <a:gd name="T32" fmla="*/ 137 w 1414"/>
              <a:gd name="T33" fmla="*/ 902 h 942"/>
              <a:gd name="T34" fmla="*/ 145 w 1414"/>
              <a:gd name="T35" fmla="*/ 792 h 942"/>
              <a:gd name="T36" fmla="*/ 233 w 1414"/>
              <a:gd name="T37" fmla="*/ 784 h 942"/>
              <a:gd name="T38" fmla="*/ 257 w 1414"/>
              <a:gd name="T39" fmla="*/ 730 h 942"/>
              <a:gd name="T40" fmla="*/ 281 w 1414"/>
              <a:gd name="T41" fmla="*/ 675 h 942"/>
              <a:gd name="T42" fmla="*/ 346 w 1414"/>
              <a:gd name="T43" fmla="*/ 659 h 942"/>
              <a:gd name="T44" fmla="*/ 249 w 1414"/>
              <a:gd name="T45" fmla="*/ 604 h 942"/>
              <a:gd name="T46" fmla="*/ 177 w 1414"/>
              <a:gd name="T47" fmla="*/ 612 h 942"/>
              <a:gd name="T48" fmla="*/ 113 w 1414"/>
              <a:gd name="T49" fmla="*/ 659 h 942"/>
              <a:gd name="T50" fmla="*/ 65 w 1414"/>
              <a:gd name="T51" fmla="*/ 698 h 942"/>
              <a:gd name="T52" fmla="*/ 538 w 1414"/>
              <a:gd name="T53" fmla="*/ 761 h 942"/>
              <a:gd name="T54" fmla="*/ 201 w 1414"/>
              <a:gd name="T55" fmla="*/ 816 h 942"/>
              <a:gd name="T56" fmla="*/ 313 w 1414"/>
              <a:gd name="T57" fmla="*/ 408 h 942"/>
              <a:gd name="T58" fmla="*/ 321 w 1414"/>
              <a:gd name="T59" fmla="*/ 321 h 942"/>
              <a:gd name="T60" fmla="*/ 418 w 1414"/>
              <a:gd name="T61" fmla="*/ 274 h 942"/>
              <a:gd name="T62" fmla="*/ 450 w 1414"/>
              <a:gd name="T63" fmla="*/ 243 h 942"/>
              <a:gd name="T64" fmla="*/ 530 w 1414"/>
              <a:gd name="T65" fmla="*/ 172 h 942"/>
              <a:gd name="T66" fmla="*/ 586 w 1414"/>
              <a:gd name="T67" fmla="*/ 149 h 942"/>
              <a:gd name="T68" fmla="*/ 723 w 1414"/>
              <a:gd name="T69" fmla="*/ 110 h 942"/>
              <a:gd name="T70" fmla="*/ 755 w 1414"/>
              <a:gd name="T71" fmla="*/ 70 h 942"/>
              <a:gd name="T72" fmla="*/ 827 w 1414"/>
              <a:gd name="T73" fmla="*/ 31 h 942"/>
              <a:gd name="T74" fmla="*/ 939 w 1414"/>
              <a:gd name="T75" fmla="*/ 47 h 942"/>
              <a:gd name="T76" fmla="*/ 1108 w 1414"/>
              <a:gd name="T77" fmla="*/ 39 h 942"/>
              <a:gd name="T78" fmla="*/ 1301 w 1414"/>
              <a:gd name="T79" fmla="*/ 15 h 942"/>
              <a:gd name="T80" fmla="*/ 1220 w 1414"/>
              <a:gd name="T81" fmla="*/ 353 h 942"/>
              <a:gd name="T82" fmla="*/ 1349 w 1414"/>
              <a:gd name="T83" fmla="*/ 580 h 942"/>
              <a:gd name="T84" fmla="*/ 1413 w 1414"/>
              <a:gd name="T85" fmla="*/ 651 h 942"/>
              <a:gd name="T86" fmla="*/ 1325 w 1414"/>
              <a:gd name="T87" fmla="*/ 769 h 942"/>
              <a:gd name="T88" fmla="*/ 1228 w 1414"/>
              <a:gd name="T89" fmla="*/ 808 h 942"/>
              <a:gd name="T90" fmla="*/ 1116 w 1414"/>
              <a:gd name="T91" fmla="*/ 863 h 942"/>
              <a:gd name="T92" fmla="*/ 923 w 1414"/>
              <a:gd name="T93" fmla="*/ 753 h 942"/>
              <a:gd name="T94" fmla="*/ 747 w 1414"/>
              <a:gd name="T95" fmla="*/ 745 h 942"/>
              <a:gd name="T96" fmla="*/ 626 w 1414"/>
              <a:gd name="T97" fmla="*/ 792 h 942"/>
              <a:gd name="T98" fmla="*/ 626 w 1414"/>
              <a:gd name="T99" fmla="*/ 628 h 942"/>
              <a:gd name="T100" fmla="*/ 554 w 1414"/>
              <a:gd name="T101" fmla="*/ 682 h 942"/>
              <a:gd name="T102" fmla="*/ 458 w 1414"/>
              <a:gd name="T103" fmla="*/ 675 h 942"/>
              <a:gd name="T104" fmla="*/ 370 w 1414"/>
              <a:gd name="T105" fmla="*/ 580 h 942"/>
              <a:gd name="T106" fmla="*/ 410 w 1414"/>
              <a:gd name="T107" fmla="*/ 518 h 942"/>
              <a:gd name="T108" fmla="*/ 338 w 1414"/>
              <a:gd name="T109" fmla="*/ 510 h 942"/>
              <a:gd name="T110" fmla="*/ 329 w 1414"/>
              <a:gd name="T111" fmla="*/ 439 h 942"/>
              <a:gd name="T112" fmla="*/ 354 w 1414"/>
              <a:gd name="T113" fmla="*/ 424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14" h="942">
                <a:moveTo>
                  <a:pt x="289" y="408"/>
                </a:moveTo>
                <a:lnTo>
                  <a:pt x="281" y="416"/>
                </a:lnTo>
                <a:lnTo>
                  <a:pt x="249" y="416"/>
                </a:lnTo>
                <a:lnTo>
                  <a:pt x="249" y="431"/>
                </a:lnTo>
                <a:lnTo>
                  <a:pt x="265" y="447"/>
                </a:lnTo>
                <a:cubicBezTo>
                  <a:pt x="265" y="447"/>
                  <a:pt x="273" y="439"/>
                  <a:pt x="281" y="439"/>
                </a:cubicBezTo>
                <a:lnTo>
                  <a:pt x="305" y="439"/>
                </a:lnTo>
                <a:lnTo>
                  <a:pt x="313" y="431"/>
                </a:lnTo>
                <a:lnTo>
                  <a:pt x="305" y="408"/>
                </a:lnTo>
                <a:lnTo>
                  <a:pt x="289" y="408"/>
                </a:lnTo>
                <a:close/>
                <a:moveTo>
                  <a:pt x="177" y="447"/>
                </a:moveTo>
                <a:cubicBezTo>
                  <a:pt x="177" y="439"/>
                  <a:pt x="193" y="439"/>
                  <a:pt x="201" y="447"/>
                </a:cubicBezTo>
                <a:cubicBezTo>
                  <a:pt x="201" y="447"/>
                  <a:pt x="217" y="455"/>
                  <a:pt x="217" y="463"/>
                </a:cubicBezTo>
                <a:cubicBezTo>
                  <a:pt x="217" y="463"/>
                  <a:pt x="225" y="463"/>
                  <a:pt x="225" y="471"/>
                </a:cubicBezTo>
                <a:cubicBezTo>
                  <a:pt x="225" y="471"/>
                  <a:pt x="233" y="478"/>
                  <a:pt x="233" y="486"/>
                </a:cubicBezTo>
                <a:cubicBezTo>
                  <a:pt x="241" y="494"/>
                  <a:pt x="249" y="502"/>
                  <a:pt x="249" y="502"/>
                </a:cubicBezTo>
                <a:cubicBezTo>
                  <a:pt x="249" y="502"/>
                  <a:pt x="257" y="510"/>
                  <a:pt x="249" y="510"/>
                </a:cubicBezTo>
                <a:lnTo>
                  <a:pt x="217" y="510"/>
                </a:lnTo>
                <a:lnTo>
                  <a:pt x="209" y="518"/>
                </a:lnTo>
                <a:cubicBezTo>
                  <a:pt x="209" y="525"/>
                  <a:pt x="225" y="533"/>
                  <a:pt x="217" y="533"/>
                </a:cubicBezTo>
                <a:cubicBezTo>
                  <a:pt x="209" y="541"/>
                  <a:pt x="209" y="541"/>
                  <a:pt x="201" y="541"/>
                </a:cubicBezTo>
                <a:cubicBezTo>
                  <a:pt x="193" y="533"/>
                  <a:pt x="185" y="518"/>
                  <a:pt x="185" y="518"/>
                </a:cubicBezTo>
                <a:cubicBezTo>
                  <a:pt x="177" y="525"/>
                  <a:pt x="177" y="549"/>
                  <a:pt x="177" y="549"/>
                </a:cubicBezTo>
                <a:cubicBezTo>
                  <a:pt x="177" y="557"/>
                  <a:pt x="185" y="565"/>
                  <a:pt x="177" y="573"/>
                </a:cubicBezTo>
                <a:lnTo>
                  <a:pt x="153" y="580"/>
                </a:lnTo>
                <a:lnTo>
                  <a:pt x="145" y="580"/>
                </a:lnTo>
                <a:cubicBezTo>
                  <a:pt x="137" y="580"/>
                  <a:pt x="121" y="565"/>
                  <a:pt x="113" y="557"/>
                </a:cubicBezTo>
                <a:lnTo>
                  <a:pt x="113" y="533"/>
                </a:lnTo>
                <a:cubicBezTo>
                  <a:pt x="105" y="525"/>
                  <a:pt x="97" y="518"/>
                  <a:pt x="97" y="518"/>
                </a:cubicBezTo>
                <a:cubicBezTo>
                  <a:pt x="97" y="518"/>
                  <a:pt x="105" y="510"/>
                  <a:pt x="89" y="518"/>
                </a:cubicBezTo>
                <a:cubicBezTo>
                  <a:pt x="65" y="518"/>
                  <a:pt x="73" y="525"/>
                  <a:pt x="65" y="525"/>
                </a:cubicBezTo>
                <a:cubicBezTo>
                  <a:pt x="57" y="518"/>
                  <a:pt x="57" y="510"/>
                  <a:pt x="41" y="510"/>
                </a:cubicBezTo>
                <a:cubicBezTo>
                  <a:pt x="33" y="510"/>
                  <a:pt x="24" y="502"/>
                  <a:pt x="24" y="502"/>
                </a:cubicBezTo>
                <a:cubicBezTo>
                  <a:pt x="24" y="502"/>
                  <a:pt x="49" y="486"/>
                  <a:pt x="57" y="486"/>
                </a:cubicBezTo>
                <a:lnTo>
                  <a:pt x="73" y="486"/>
                </a:lnTo>
                <a:cubicBezTo>
                  <a:pt x="97" y="478"/>
                  <a:pt x="105" y="494"/>
                  <a:pt x="105" y="478"/>
                </a:cubicBezTo>
                <a:cubicBezTo>
                  <a:pt x="113" y="463"/>
                  <a:pt x="113" y="455"/>
                  <a:pt x="121" y="447"/>
                </a:cubicBezTo>
                <a:cubicBezTo>
                  <a:pt x="121" y="439"/>
                  <a:pt x="129" y="423"/>
                  <a:pt x="129" y="423"/>
                </a:cubicBezTo>
                <a:cubicBezTo>
                  <a:pt x="129" y="416"/>
                  <a:pt x="153" y="416"/>
                  <a:pt x="153" y="416"/>
                </a:cubicBezTo>
                <a:lnTo>
                  <a:pt x="161" y="439"/>
                </a:lnTo>
                <a:cubicBezTo>
                  <a:pt x="161" y="439"/>
                  <a:pt x="161" y="447"/>
                  <a:pt x="169" y="447"/>
                </a:cubicBezTo>
                <a:lnTo>
                  <a:pt x="177" y="447"/>
                </a:lnTo>
                <a:close/>
                <a:moveTo>
                  <a:pt x="281" y="596"/>
                </a:moveTo>
                <a:lnTo>
                  <a:pt x="289" y="604"/>
                </a:lnTo>
                <a:cubicBezTo>
                  <a:pt x="289" y="604"/>
                  <a:pt x="297" y="612"/>
                  <a:pt x="313" y="612"/>
                </a:cubicBezTo>
                <a:cubicBezTo>
                  <a:pt x="338" y="612"/>
                  <a:pt x="338" y="628"/>
                  <a:pt x="354" y="612"/>
                </a:cubicBezTo>
                <a:cubicBezTo>
                  <a:pt x="354" y="604"/>
                  <a:pt x="354" y="604"/>
                  <a:pt x="346" y="596"/>
                </a:cubicBezTo>
                <a:cubicBezTo>
                  <a:pt x="346" y="588"/>
                  <a:pt x="338" y="588"/>
                  <a:pt x="338" y="580"/>
                </a:cubicBezTo>
                <a:lnTo>
                  <a:pt x="321" y="565"/>
                </a:lnTo>
                <a:cubicBezTo>
                  <a:pt x="313" y="557"/>
                  <a:pt x="313" y="565"/>
                  <a:pt x="305" y="565"/>
                </a:cubicBezTo>
                <a:lnTo>
                  <a:pt x="281" y="565"/>
                </a:lnTo>
                <a:cubicBezTo>
                  <a:pt x="273" y="573"/>
                  <a:pt x="289" y="580"/>
                  <a:pt x="289" y="588"/>
                </a:cubicBezTo>
                <a:lnTo>
                  <a:pt x="281" y="596"/>
                </a:lnTo>
                <a:close/>
                <a:moveTo>
                  <a:pt x="73" y="714"/>
                </a:moveTo>
                <a:lnTo>
                  <a:pt x="65" y="722"/>
                </a:lnTo>
                <a:cubicBezTo>
                  <a:pt x="65" y="722"/>
                  <a:pt x="57" y="698"/>
                  <a:pt x="57" y="690"/>
                </a:cubicBezTo>
                <a:lnTo>
                  <a:pt x="41" y="682"/>
                </a:lnTo>
                <a:lnTo>
                  <a:pt x="33" y="682"/>
                </a:lnTo>
                <a:cubicBezTo>
                  <a:pt x="24" y="682"/>
                  <a:pt x="24" y="690"/>
                  <a:pt x="24" y="690"/>
                </a:cubicBezTo>
                <a:lnTo>
                  <a:pt x="16" y="690"/>
                </a:lnTo>
                <a:lnTo>
                  <a:pt x="8" y="690"/>
                </a:lnTo>
                <a:cubicBezTo>
                  <a:pt x="0" y="698"/>
                  <a:pt x="8" y="706"/>
                  <a:pt x="8" y="706"/>
                </a:cubicBezTo>
                <a:cubicBezTo>
                  <a:pt x="8" y="706"/>
                  <a:pt x="16" y="706"/>
                  <a:pt x="24" y="714"/>
                </a:cubicBezTo>
                <a:lnTo>
                  <a:pt x="33" y="714"/>
                </a:lnTo>
                <a:cubicBezTo>
                  <a:pt x="33" y="714"/>
                  <a:pt x="49" y="730"/>
                  <a:pt x="57" y="737"/>
                </a:cubicBezTo>
                <a:lnTo>
                  <a:pt x="57" y="745"/>
                </a:lnTo>
                <a:lnTo>
                  <a:pt x="33" y="761"/>
                </a:lnTo>
                <a:lnTo>
                  <a:pt x="41" y="769"/>
                </a:lnTo>
                <a:cubicBezTo>
                  <a:pt x="49" y="769"/>
                  <a:pt x="33" y="777"/>
                  <a:pt x="33" y="777"/>
                </a:cubicBezTo>
                <a:lnTo>
                  <a:pt x="33" y="792"/>
                </a:lnTo>
                <a:cubicBezTo>
                  <a:pt x="33" y="792"/>
                  <a:pt x="41" y="800"/>
                  <a:pt x="57" y="800"/>
                </a:cubicBezTo>
                <a:cubicBezTo>
                  <a:pt x="73" y="808"/>
                  <a:pt x="73" y="800"/>
                  <a:pt x="73" y="800"/>
                </a:cubicBezTo>
                <a:lnTo>
                  <a:pt x="81" y="808"/>
                </a:lnTo>
                <a:lnTo>
                  <a:pt x="81" y="816"/>
                </a:lnTo>
                <a:lnTo>
                  <a:pt x="89" y="824"/>
                </a:lnTo>
                <a:lnTo>
                  <a:pt x="113" y="832"/>
                </a:lnTo>
                <a:lnTo>
                  <a:pt x="113" y="839"/>
                </a:lnTo>
                <a:lnTo>
                  <a:pt x="113" y="863"/>
                </a:lnTo>
                <a:lnTo>
                  <a:pt x="97" y="863"/>
                </a:lnTo>
                <a:cubicBezTo>
                  <a:pt x="97" y="871"/>
                  <a:pt x="97" y="879"/>
                  <a:pt x="89" y="879"/>
                </a:cubicBezTo>
                <a:cubicBezTo>
                  <a:pt x="89" y="879"/>
                  <a:pt x="89" y="894"/>
                  <a:pt x="81" y="902"/>
                </a:cubicBezTo>
                <a:cubicBezTo>
                  <a:pt x="81" y="910"/>
                  <a:pt x="89" y="918"/>
                  <a:pt x="89" y="926"/>
                </a:cubicBezTo>
                <a:cubicBezTo>
                  <a:pt x="89" y="941"/>
                  <a:pt x="97" y="934"/>
                  <a:pt x="105" y="934"/>
                </a:cubicBezTo>
                <a:lnTo>
                  <a:pt x="113" y="926"/>
                </a:lnTo>
                <a:cubicBezTo>
                  <a:pt x="121" y="926"/>
                  <a:pt x="129" y="910"/>
                  <a:pt x="137" y="902"/>
                </a:cubicBezTo>
                <a:lnTo>
                  <a:pt x="137" y="886"/>
                </a:lnTo>
                <a:cubicBezTo>
                  <a:pt x="129" y="879"/>
                  <a:pt x="137" y="863"/>
                  <a:pt x="137" y="863"/>
                </a:cubicBezTo>
                <a:lnTo>
                  <a:pt x="137" y="855"/>
                </a:lnTo>
                <a:lnTo>
                  <a:pt x="129" y="824"/>
                </a:lnTo>
                <a:lnTo>
                  <a:pt x="145" y="792"/>
                </a:lnTo>
                <a:lnTo>
                  <a:pt x="161" y="792"/>
                </a:lnTo>
                <a:lnTo>
                  <a:pt x="185" y="777"/>
                </a:lnTo>
                <a:cubicBezTo>
                  <a:pt x="185" y="777"/>
                  <a:pt x="193" y="777"/>
                  <a:pt x="201" y="769"/>
                </a:cubicBezTo>
                <a:cubicBezTo>
                  <a:pt x="217" y="769"/>
                  <a:pt x="209" y="777"/>
                  <a:pt x="217" y="777"/>
                </a:cubicBezTo>
                <a:cubicBezTo>
                  <a:pt x="217" y="784"/>
                  <a:pt x="225" y="784"/>
                  <a:pt x="233" y="784"/>
                </a:cubicBezTo>
                <a:lnTo>
                  <a:pt x="241" y="769"/>
                </a:lnTo>
                <a:cubicBezTo>
                  <a:pt x="241" y="761"/>
                  <a:pt x="233" y="761"/>
                  <a:pt x="233" y="761"/>
                </a:cubicBezTo>
                <a:lnTo>
                  <a:pt x="225" y="745"/>
                </a:lnTo>
                <a:lnTo>
                  <a:pt x="249" y="737"/>
                </a:lnTo>
                <a:lnTo>
                  <a:pt x="257" y="730"/>
                </a:lnTo>
                <a:lnTo>
                  <a:pt x="273" y="714"/>
                </a:lnTo>
                <a:lnTo>
                  <a:pt x="265" y="698"/>
                </a:lnTo>
                <a:lnTo>
                  <a:pt x="289" y="698"/>
                </a:lnTo>
                <a:lnTo>
                  <a:pt x="289" y="690"/>
                </a:lnTo>
                <a:lnTo>
                  <a:pt x="281" y="675"/>
                </a:lnTo>
                <a:cubicBezTo>
                  <a:pt x="281" y="675"/>
                  <a:pt x="297" y="675"/>
                  <a:pt x="305" y="667"/>
                </a:cubicBezTo>
                <a:lnTo>
                  <a:pt x="297" y="659"/>
                </a:lnTo>
                <a:cubicBezTo>
                  <a:pt x="297" y="651"/>
                  <a:pt x="305" y="643"/>
                  <a:pt x="305" y="643"/>
                </a:cubicBezTo>
                <a:cubicBezTo>
                  <a:pt x="305" y="643"/>
                  <a:pt x="321" y="659"/>
                  <a:pt x="329" y="659"/>
                </a:cubicBezTo>
                <a:cubicBezTo>
                  <a:pt x="338" y="667"/>
                  <a:pt x="338" y="659"/>
                  <a:pt x="346" y="659"/>
                </a:cubicBezTo>
                <a:cubicBezTo>
                  <a:pt x="346" y="651"/>
                  <a:pt x="338" y="643"/>
                  <a:pt x="338" y="643"/>
                </a:cubicBezTo>
                <a:lnTo>
                  <a:pt x="329" y="635"/>
                </a:lnTo>
                <a:lnTo>
                  <a:pt x="305" y="628"/>
                </a:lnTo>
                <a:lnTo>
                  <a:pt x="273" y="612"/>
                </a:lnTo>
                <a:cubicBezTo>
                  <a:pt x="273" y="612"/>
                  <a:pt x="249" y="612"/>
                  <a:pt x="249" y="604"/>
                </a:cubicBezTo>
                <a:lnTo>
                  <a:pt x="241" y="604"/>
                </a:lnTo>
                <a:lnTo>
                  <a:pt x="225" y="604"/>
                </a:lnTo>
                <a:cubicBezTo>
                  <a:pt x="217" y="604"/>
                  <a:pt x="209" y="612"/>
                  <a:pt x="201" y="620"/>
                </a:cubicBezTo>
                <a:cubicBezTo>
                  <a:pt x="201" y="620"/>
                  <a:pt x="193" y="628"/>
                  <a:pt x="185" y="628"/>
                </a:cubicBezTo>
                <a:lnTo>
                  <a:pt x="177" y="612"/>
                </a:lnTo>
                <a:lnTo>
                  <a:pt x="161" y="612"/>
                </a:lnTo>
                <a:cubicBezTo>
                  <a:pt x="161" y="612"/>
                  <a:pt x="153" y="628"/>
                  <a:pt x="153" y="635"/>
                </a:cubicBezTo>
                <a:lnTo>
                  <a:pt x="129" y="635"/>
                </a:lnTo>
                <a:cubicBezTo>
                  <a:pt x="121" y="643"/>
                  <a:pt x="113" y="643"/>
                  <a:pt x="105" y="651"/>
                </a:cubicBezTo>
                <a:cubicBezTo>
                  <a:pt x="97" y="651"/>
                  <a:pt x="113" y="659"/>
                  <a:pt x="113" y="659"/>
                </a:cubicBezTo>
                <a:lnTo>
                  <a:pt x="113" y="675"/>
                </a:lnTo>
                <a:lnTo>
                  <a:pt x="97" y="675"/>
                </a:lnTo>
                <a:lnTo>
                  <a:pt x="89" y="667"/>
                </a:lnTo>
                <a:lnTo>
                  <a:pt x="73" y="682"/>
                </a:lnTo>
                <a:lnTo>
                  <a:pt x="65" y="698"/>
                </a:lnTo>
                <a:lnTo>
                  <a:pt x="73" y="714"/>
                </a:lnTo>
                <a:close/>
                <a:moveTo>
                  <a:pt x="514" y="745"/>
                </a:moveTo>
                <a:cubicBezTo>
                  <a:pt x="514" y="745"/>
                  <a:pt x="506" y="769"/>
                  <a:pt x="514" y="769"/>
                </a:cubicBezTo>
                <a:lnTo>
                  <a:pt x="530" y="769"/>
                </a:lnTo>
                <a:lnTo>
                  <a:pt x="538" y="761"/>
                </a:lnTo>
                <a:lnTo>
                  <a:pt x="538" y="745"/>
                </a:lnTo>
                <a:lnTo>
                  <a:pt x="514" y="745"/>
                </a:lnTo>
                <a:close/>
                <a:moveTo>
                  <a:pt x="185" y="808"/>
                </a:moveTo>
                <a:lnTo>
                  <a:pt x="201" y="808"/>
                </a:lnTo>
                <a:cubicBezTo>
                  <a:pt x="201" y="808"/>
                  <a:pt x="209" y="816"/>
                  <a:pt x="201" y="816"/>
                </a:cubicBezTo>
                <a:cubicBezTo>
                  <a:pt x="201" y="824"/>
                  <a:pt x="209" y="824"/>
                  <a:pt x="201" y="824"/>
                </a:cubicBezTo>
                <a:cubicBezTo>
                  <a:pt x="193" y="824"/>
                  <a:pt x="177" y="832"/>
                  <a:pt x="177" y="824"/>
                </a:cubicBezTo>
                <a:lnTo>
                  <a:pt x="185" y="816"/>
                </a:lnTo>
                <a:lnTo>
                  <a:pt x="185" y="808"/>
                </a:lnTo>
                <a:close/>
                <a:moveTo>
                  <a:pt x="313" y="408"/>
                </a:moveTo>
                <a:lnTo>
                  <a:pt x="329" y="376"/>
                </a:lnTo>
                <a:lnTo>
                  <a:pt x="329" y="353"/>
                </a:lnTo>
                <a:lnTo>
                  <a:pt x="313" y="353"/>
                </a:lnTo>
                <a:lnTo>
                  <a:pt x="305" y="329"/>
                </a:lnTo>
                <a:cubicBezTo>
                  <a:pt x="305" y="329"/>
                  <a:pt x="313" y="321"/>
                  <a:pt x="321" y="321"/>
                </a:cubicBezTo>
                <a:cubicBezTo>
                  <a:pt x="321" y="314"/>
                  <a:pt x="346" y="314"/>
                  <a:pt x="346" y="314"/>
                </a:cubicBezTo>
                <a:lnTo>
                  <a:pt x="362" y="298"/>
                </a:lnTo>
                <a:cubicBezTo>
                  <a:pt x="362" y="298"/>
                  <a:pt x="354" y="282"/>
                  <a:pt x="370" y="282"/>
                </a:cubicBezTo>
                <a:lnTo>
                  <a:pt x="402" y="282"/>
                </a:lnTo>
                <a:cubicBezTo>
                  <a:pt x="410" y="282"/>
                  <a:pt x="418" y="274"/>
                  <a:pt x="418" y="274"/>
                </a:cubicBezTo>
                <a:cubicBezTo>
                  <a:pt x="434" y="274"/>
                  <a:pt x="442" y="282"/>
                  <a:pt x="434" y="274"/>
                </a:cubicBezTo>
                <a:cubicBezTo>
                  <a:pt x="434" y="274"/>
                  <a:pt x="434" y="267"/>
                  <a:pt x="426" y="259"/>
                </a:cubicBezTo>
                <a:cubicBezTo>
                  <a:pt x="418" y="251"/>
                  <a:pt x="394" y="235"/>
                  <a:pt x="410" y="227"/>
                </a:cubicBezTo>
                <a:cubicBezTo>
                  <a:pt x="418" y="219"/>
                  <a:pt x="426" y="219"/>
                  <a:pt x="434" y="227"/>
                </a:cubicBezTo>
                <a:cubicBezTo>
                  <a:pt x="442" y="227"/>
                  <a:pt x="450" y="243"/>
                  <a:pt x="450" y="243"/>
                </a:cubicBezTo>
                <a:lnTo>
                  <a:pt x="450" y="212"/>
                </a:lnTo>
                <a:cubicBezTo>
                  <a:pt x="450" y="212"/>
                  <a:pt x="474" y="212"/>
                  <a:pt x="482" y="204"/>
                </a:cubicBezTo>
                <a:cubicBezTo>
                  <a:pt x="482" y="196"/>
                  <a:pt x="474" y="180"/>
                  <a:pt x="474" y="180"/>
                </a:cubicBezTo>
                <a:lnTo>
                  <a:pt x="498" y="180"/>
                </a:lnTo>
                <a:cubicBezTo>
                  <a:pt x="522" y="172"/>
                  <a:pt x="514" y="172"/>
                  <a:pt x="530" y="172"/>
                </a:cubicBezTo>
                <a:lnTo>
                  <a:pt x="562" y="172"/>
                </a:lnTo>
                <a:cubicBezTo>
                  <a:pt x="562" y="172"/>
                  <a:pt x="578" y="165"/>
                  <a:pt x="570" y="157"/>
                </a:cubicBezTo>
                <a:cubicBezTo>
                  <a:pt x="570" y="149"/>
                  <a:pt x="554" y="133"/>
                  <a:pt x="554" y="133"/>
                </a:cubicBezTo>
                <a:cubicBezTo>
                  <a:pt x="554" y="133"/>
                  <a:pt x="562" y="110"/>
                  <a:pt x="562" y="117"/>
                </a:cubicBezTo>
                <a:cubicBezTo>
                  <a:pt x="562" y="133"/>
                  <a:pt x="586" y="149"/>
                  <a:pt x="586" y="149"/>
                </a:cubicBezTo>
                <a:lnTo>
                  <a:pt x="602" y="133"/>
                </a:lnTo>
                <a:lnTo>
                  <a:pt x="626" y="125"/>
                </a:lnTo>
                <a:lnTo>
                  <a:pt x="651" y="117"/>
                </a:lnTo>
                <a:lnTo>
                  <a:pt x="691" y="117"/>
                </a:lnTo>
                <a:cubicBezTo>
                  <a:pt x="699" y="117"/>
                  <a:pt x="723" y="110"/>
                  <a:pt x="723" y="110"/>
                </a:cubicBezTo>
                <a:lnTo>
                  <a:pt x="731" y="94"/>
                </a:lnTo>
                <a:lnTo>
                  <a:pt x="699" y="62"/>
                </a:lnTo>
                <a:cubicBezTo>
                  <a:pt x="699" y="62"/>
                  <a:pt x="715" y="39"/>
                  <a:pt x="715" y="47"/>
                </a:cubicBezTo>
                <a:cubicBezTo>
                  <a:pt x="723" y="55"/>
                  <a:pt x="723" y="70"/>
                  <a:pt x="731" y="70"/>
                </a:cubicBezTo>
                <a:cubicBezTo>
                  <a:pt x="739" y="70"/>
                  <a:pt x="747" y="78"/>
                  <a:pt x="755" y="70"/>
                </a:cubicBezTo>
                <a:lnTo>
                  <a:pt x="755" y="39"/>
                </a:lnTo>
                <a:cubicBezTo>
                  <a:pt x="755" y="39"/>
                  <a:pt x="747" y="31"/>
                  <a:pt x="755" y="31"/>
                </a:cubicBezTo>
                <a:cubicBezTo>
                  <a:pt x="763" y="39"/>
                  <a:pt x="779" y="55"/>
                  <a:pt x="779" y="55"/>
                </a:cubicBezTo>
                <a:lnTo>
                  <a:pt x="803" y="55"/>
                </a:lnTo>
                <a:lnTo>
                  <a:pt x="827" y="31"/>
                </a:lnTo>
                <a:lnTo>
                  <a:pt x="835" y="47"/>
                </a:lnTo>
                <a:cubicBezTo>
                  <a:pt x="835" y="47"/>
                  <a:pt x="851" y="39"/>
                  <a:pt x="859" y="39"/>
                </a:cubicBezTo>
                <a:cubicBezTo>
                  <a:pt x="867" y="39"/>
                  <a:pt x="867" y="31"/>
                  <a:pt x="875" y="31"/>
                </a:cubicBezTo>
                <a:cubicBezTo>
                  <a:pt x="883" y="31"/>
                  <a:pt x="899" y="39"/>
                  <a:pt x="899" y="39"/>
                </a:cubicBezTo>
                <a:lnTo>
                  <a:pt x="939" y="47"/>
                </a:lnTo>
                <a:lnTo>
                  <a:pt x="956" y="23"/>
                </a:lnTo>
                <a:lnTo>
                  <a:pt x="996" y="39"/>
                </a:lnTo>
                <a:lnTo>
                  <a:pt x="1028" y="55"/>
                </a:lnTo>
                <a:lnTo>
                  <a:pt x="1068" y="55"/>
                </a:lnTo>
                <a:cubicBezTo>
                  <a:pt x="1068" y="55"/>
                  <a:pt x="1100" y="39"/>
                  <a:pt x="1108" y="39"/>
                </a:cubicBezTo>
                <a:cubicBezTo>
                  <a:pt x="1124" y="31"/>
                  <a:pt x="1156" y="31"/>
                  <a:pt x="1156" y="31"/>
                </a:cubicBezTo>
                <a:lnTo>
                  <a:pt x="1180" y="31"/>
                </a:lnTo>
                <a:cubicBezTo>
                  <a:pt x="1196" y="23"/>
                  <a:pt x="1236" y="23"/>
                  <a:pt x="1236" y="23"/>
                </a:cubicBezTo>
                <a:lnTo>
                  <a:pt x="1261" y="0"/>
                </a:lnTo>
                <a:lnTo>
                  <a:pt x="1301" y="15"/>
                </a:lnTo>
                <a:lnTo>
                  <a:pt x="1301" y="31"/>
                </a:lnTo>
                <a:lnTo>
                  <a:pt x="1261" y="62"/>
                </a:lnTo>
                <a:lnTo>
                  <a:pt x="1261" y="117"/>
                </a:lnTo>
                <a:cubicBezTo>
                  <a:pt x="1252" y="196"/>
                  <a:pt x="1228" y="235"/>
                  <a:pt x="1220" y="282"/>
                </a:cubicBezTo>
                <a:cubicBezTo>
                  <a:pt x="1212" y="306"/>
                  <a:pt x="1196" y="314"/>
                  <a:pt x="1220" y="353"/>
                </a:cubicBezTo>
                <a:cubicBezTo>
                  <a:pt x="1236" y="369"/>
                  <a:pt x="1236" y="424"/>
                  <a:pt x="1269" y="455"/>
                </a:cubicBezTo>
                <a:cubicBezTo>
                  <a:pt x="1285" y="471"/>
                  <a:pt x="1269" y="510"/>
                  <a:pt x="1293" y="526"/>
                </a:cubicBezTo>
                <a:cubicBezTo>
                  <a:pt x="1293" y="526"/>
                  <a:pt x="1293" y="533"/>
                  <a:pt x="1301" y="549"/>
                </a:cubicBezTo>
                <a:cubicBezTo>
                  <a:pt x="1317" y="565"/>
                  <a:pt x="1317" y="557"/>
                  <a:pt x="1325" y="565"/>
                </a:cubicBezTo>
                <a:cubicBezTo>
                  <a:pt x="1325" y="565"/>
                  <a:pt x="1341" y="573"/>
                  <a:pt x="1349" y="580"/>
                </a:cubicBezTo>
                <a:cubicBezTo>
                  <a:pt x="1357" y="588"/>
                  <a:pt x="1357" y="604"/>
                  <a:pt x="1357" y="612"/>
                </a:cubicBezTo>
                <a:cubicBezTo>
                  <a:pt x="1357" y="620"/>
                  <a:pt x="1365" y="628"/>
                  <a:pt x="1365" y="628"/>
                </a:cubicBezTo>
                <a:cubicBezTo>
                  <a:pt x="1365" y="628"/>
                  <a:pt x="1373" y="620"/>
                  <a:pt x="1373" y="628"/>
                </a:cubicBezTo>
                <a:cubicBezTo>
                  <a:pt x="1373" y="635"/>
                  <a:pt x="1365" y="620"/>
                  <a:pt x="1373" y="635"/>
                </a:cubicBezTo>
                <a:cubicBezTo>
                  <a:pt x="1389" y="651"/>
                  <a:pt x="1413" y="651"/>
                  <a:pt x="1413" y="651"/>
                </a:cubicBezTo>
                <a:lnTo>
                  <a:pt x="1405" y="682"/>
                </a:lnTo>
                <a:lnTo>
                  <a:pt x="1389" y="690"/>
                </a:lnTo>
                <a:cubicBezTo>
                  <a:pt x="1389" y="690"/>
                  <a:pt x="1349" y="690"/>
                  <a:pt x="1349" y="706"/>
                </a:cubicBezTo>
                <a:lnTo>
                  <a:pt x="1349" y="745"/>
                </a:lnTo>
                <a:lnTo>
                  <a:pt x="1325" y="769"/>
                </a:lnTo>
                <a:cubicBezTo>
                  <a:pt x="1325" y="769"/>
                  <a:pt x="1341" y="800"/>
                  <a:pt x="1341" y="808"/>
                </a:cubicBezTo>
                <a:cubicBezTo>
                  <a:pt x="1341" y="816"/>
                  <a:pt x="1349" y="816"/>
                  <a:pt x="1349" y="816"/>
                </a:cubicBezTo>
                <a:lnTo>
                  <a:pt x="1325" y="824"/>
                </a:lnTo>
                <a:lnTo>
                  <a:pt x="1293" y="824"/>
                </a:lnTo>
                <a:lnTo>
                  <a:pt x="1228" y="808"/>
                </a:lnTo>
                <a:lnTo>
                  <a:pt x="1212" y="832"/>
                </a:lnTo>
                <a:lnTo>
                  <a:pt x="1196" y="832"/>
                </a:lnTo>
                <a:cubicBezTo>
                  <a:pt x="1196" y="832"/>
                  <a:pt x="1188" y="847"/>
                  <a:pt x="1172" y="855"/>
                </a:cubicBezTo>
                <a:cubicBezTo>
                  <a:pt x="1164" y="863"/>
                  <a:pt x="1156" y="871"/>
                  <a:pt x="1148" y="871"/>
                </a:cubicBezTo>
                <a:cubicBezTo>
                  <a:pt x="1132" y="879"/>
                  <a:pt x="1116" y="863"/>
                  <a:pt x="1116" y="863"/>
                </a:cubicBezTo>
                <a:lnTo>
                  <a:pt x="1092" y="855"/>
                </a:lnTo>
                <a:lnTo>
                  <a:pt x="1068" y="824"/>
                </a:lnTo>
                <a:lnTo>
                  <a:pt x="996" y="777"/>
                </a:lnTo>
                <a:lnTo>
                  <a:pt x="956" y="761"/>
                </a:lnTo>
                <a:lnTo>
                  <a:pt x="923" y="753"/>
                </a:lnTo>
                <a:lnTo>
                  <a:pt x="883" y="753"/>
                </a:lnTo>
                <a:lnTo>
                  <a:pt x="851" y="737"/>
                </a:lnTo>
                <a:lnTo>
                  <a:pt x="819" y="737"/>
                </a:lnTo>
                <a:lnTo>
                  <a:pt x="779" y="722"/>
                </a:lnTo>
                <a:lnTo>
                  <a:pt x="747" y="745"/>
                </a:lnTo>
                <a:lnTo>
                  <a:pt x="707" y="769"/>
                </a:lnTo>
                <a:lnTo>
                  <a:pt x="667" y="808"/>
                </a:lnTo>
                <a:cubicBezTo>
                  <a:pt x="667" y="808"/>
                  <a:pt x="643" y="832"/>
                  <a:pt x="626" y="839"/>
                </a:cubicBezTo>
                <a:lnTo>
                  <a:pt x="618" y="832"/>
                </a:lnTo>
                <a:cubicBezTo>
                  <a:pt x="618" y="832"/>
                  <a:pt x="618" y="808"/>
                  <a:pt x="626" y="792"/>
                </a:cubicBezTo>
                <a:cubicBezTo>
                  <a:pt x="635" y="785"/>
                  <a:pt x="635" y="769"/>
                  <a:pt x="635" y="761"/>
                </a:cubicBezTo>
                <a:cubicBezTo>
                  <a:pt x="635" y="753"/>
                  <a:pt x="635" y="737"/>
                  <a:pt x="626" y="722"/>
                </a:cubicBezTo>
                <a:cubicBezTo>
                  <a:pt x="626" y="706"/>
                  <a:pt x="618" y="682"/>
                  <a:pt x="618" y="682"/>
                </a:cubicBezTo>
                <a:lnTo>
                  <a:pt x="643" y="667"/>
                </a:lnTo>
                <a:lnTo>
                  <a:pt x="626" y="628"/>
                </a:lnTo>
                <a:lnTo>
                  <a:pt x="610" y="628"/>
                </a:lnTo>
                <a:lnTo>
                  <a:pt x="586" y="628"/>
                </a:lnTo>
                <a:lnTo>
                  <a:pt x="570" y="651"/>
                </a:lnTo>
                <a:cubicBezTo>
                  <a:pt x="570" y="651"/>
                  <a:pt x="578" y="667"/>
                  <a:pt x="578" y="675"/>
                </a:cubicBezTo>
                <a:cubicBezTo>
                  <a:pt x="570" y="682"/>
                  <a:pt x="554" y="682"/>
                  <a:pt x="554" y="682"/>
                </a:cubicBezTo>
                <a:cubicBezTo>
                  <a:pt x="546" y="690"/>
                  <a:pt x="546" y="714"/>
                  <a:pt x="546" y="714"/>
                </a:cubicBezTo>
                <a:lnTo>
                  <a:pt x="514" y="682"/>
                </a:lnTo>
                <a:cubicBezTo>
                  <a:pt x="514" y="682"/>
                  <a:pt x="498" y="682"/>
                  <a:pt x="490" y="675"/>
                </a:cubicBezTo>
                <a:lnTo>
                  <a:pt x="466" y="675"/>
                </a:lnTo>
                <a:lnTo>
                  <a:pt x="458" y="675"/>
                </a:lnTo>
                <a:cubicBezTo>
                  <a:pt x="442" y="675"/>
                  <a:pt x="442" y="675"/>
                  <a:pt x="434" y="659"/>
                </a:cubicBezTo>
                <a:cubicBezTo>
                  <a:pt x="426" y="643"/>
                  <a:pt x="402" y="604"/>
                  <a:pt x="402" y="604"/>
                </a:cubicBezTo>
                <a:cubicBezTo>
                  <a:pt x="402" y="604"/>
                  <a:pt x="394" y="588"/>
                  <a:pt x="386" y="588"/>
                </a:cubicBezTo>
                <a:lnTo>
                  <a:pt x="378" y="604"/>
                </a:lnTo>
                <a:cubicBezTo>
                  <a:pt x="370" y="604"/>
                  <a:pt x="370" y="588"/>
                  <a:pt x="370" y="580"/>
                </a:cubicBezTo>
                <a:lnTo>
                  <a:pt x="370" y="549"/>
                </a:lnTo>
                <a:cubicBezTo>
                  <a:pt x="370" y="533"/>
                  <a:pt x="362" y="518"/>
                  <a:pt x="370" y="518"/>
                </a:cubicBezTo>
                <a:cubicBezTo>
                  <a:pt x="370" y="518"/>
                  <a:pt x="378" y="526"/>
                  <a:pt x="386" y="526"/>
                </a:cubicBezTo>
                <a:cubicBezTo>
                  <a:pt x="394" y="526"/>
                  <a:pt x="394" y="510"/>
                  <a:pt x="394" y="510"/>
                </a:cubicBezTo>
                <a:cubicBezTo>
                  <a:pt x="402" y="510"/>
                  <a:pt x="410" y="518"/>
                  <a:pt x="410" y="518"/>
                </a:cubicBezTo>
                <a:lnTo>
                  <a:pt x="426" y="518"/>
                </a:lnTo>
                <a:cubicBezTo>
                  <a:pt x="434" y="510"/>
                  <a:pt x="434" y="510"/>
                  <a:pt x="434" y="502"/>
                </a:cubicBezTo>
                <a:cubicBezTo>
                  <a:pt x="434" y="494"/>
                  <a:pt x="426" y="486"/>
                  <a:pt x="426" y="486"/>
                </a:cubicBezTo>
                <a:cubicBezTo>
                  <a:pt x="418" y="486"/>
                  <a:pt x="370" y="510"/>
                  <a:pt x="370" y="510"/>
                </a:cubicBezTo>
                <a:lnTo>
                  <a:pt x="338" y="510"/>
                </a:lnTo>
                <a:lnTo>
                  <a:pt x="354" y="494"/>
                </a:lnTo>
                <a:lnTo>
                  <a:pt x="338" y="478"/>
                </a:lnTo>
                <a:lnTo>
                  <a:pt x="338" y="463"/>
                </a:lnTo>
                <a:lnTo>
                  <a:pt x="321" y="455"/>
                </a:lnTo>
                <a:lnTo>
                  <a:pt x="329" y="439"/>
                </a:lnTo>
                <a:lnTo>
                  <a:pt x="346" y="439"/>
                </a:lnTo>
                <a:lnTo>
                  <a:pt x="362" y="431"/>
                </a:lnTo>
                <a:lnTo>
                  <a:pt x="362" y="400"/>
                </a:lnTo>
                <a:lnTo>
                  <a:pt x="346" y="408"/>
                </a:lnTo>
                <a:lnTo>
                  <a:pt x="354" y="424"/>
                </a:lnTo>
                <a:lnTo>
                  <a:pt x="321" y="424"/>
                </a:lnTo>
                <a:lnTo>
                  <a:pt x="313" y="408"/>
                </a:ln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03" name="Freeform 95">
            <a:extLst>
              <a:ext uri="{FF2B5EF4-FFF2-40B4-BE49-F238E27FC236}">
                <a16:creationId xmlns:a16="http://schemas.microsoft.com/office/drawing/2014/main" id="{4A2A7326-81D0-50C6-1037-0F3C3E976EE4}"/>
              </a:ext>
            </a:extLst>
          </p:cNvPr>
          <p:cNvSpPr>
            <a:spLocks noChangeArrowheads="1"/>
          </p:cNvSpPr>
          <p:nvPr>
            <p:custDataLst>
              <p:tags r:id="rId95"/>
            </p:custDataLst>
          </p:nvPr>
        </p:nvSpPr>
        <p:spPr bwMode="auto">
          <a:xfrm>
            <a:off x="8306267" y="2282134"/>
            <a:ext cx="27168" cy="16300"/>
          </a:xfrm>
          <a:custGeom>
            <a:avLst/>
            <a:gdLst>
              <a:gd name="T0" fmla="*/ 40 w 65"/>
              <a:gd name="T1" fmla="*/ 0 h 40"/>
              <a:gd name="T2" fmla="*/ 32 w 65"/>
              <a:gd name="T3" fmla="*/ 8 h 40"/>
              <a:gd name="T4" fmla="*/ 0 w 65"/>
              <a:gd name="T5" fmla="*/ 8 h 40"/>
              <a:gd name="T6" fmla="*/ 0 w 65"/>
              <a:gd name="T7" fmla="*/ 23 h 40"/>
              <a:gd name="T8" fmla="*/ 16 w 65"/>
              <a:gd name="T9" fmla="*/ 39 h 40"/>
              <a:gd name="T10" fmla="*/ 32 w 65"/>
              <a:gd name="T11" fmla="*/ 31 h 40"/>
              <a:gd name="T12" fmla="*/ 56 w 65"/>
              <a:gd name="T13" fmla="*/ 31 h 40"/>
              <a:gd name="T14" fmla="*/ 64 w 65"/>
              <a:gd name="T15" fmla="*/ 23 h 40"/>
              <a:gd name="T16" fmla="*/ 56 w 65"/>
              <a:gd name="T17" fmla="*/ 0 h 40"/>
              <a:gd name="T18" fmla="*/ 40 w 65"/>
              <a:gd name="T19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5" h="40">
                <a:moveTo>
                  <a:pt x="40" y="0"/>
                </a:moveTo>
                <a:lnTo>
                  <a:pt x="32" y="8"/>
                </a:lnTo>
                <a:lnTo>
                  <a:pt x="0" y="8"/>
                </a:lnTo>
                <a:lnTo>
                  <a:pt x="0" y="23"/>
                </a:lnTo>
                <a:lnTo>
                  <a:pt x="16" y="39"/>
                </a:lnTo>
                <a:cubicBezTo>
                  <a:pt x="16" y="39"/>
                  <a:pt x="24" y="31"/>
                  <a:pt x="32" y="31"/>
                </a:cubicBezTo>
                <a:lnTo>
                  <a:pt x="56" y="31"/>
                </a:lnTo>
                <a:lnTo>
                  <a:pt x="64" y="23"/>
                </a:lnTo>
                <a:lnTo>
                  <a:pt x="56" y="0"/>
                </a:lnTo>
                <a:lnTo>
                  <a:pt x="4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04" name="Freeform 96">
            <a:extLst>
              <a:ext uri="{FF2B5EF4-FFF2-40B4-BE49-F238E27FC236}">
                <a16:creationId xmlns:a16="http://schemas.microsoft.com/office/drawing/2014/main" id="{04C6F6C6-F68D-EDC7-F0B9-3F6DD89B192A}"/>
              </a:ext>
            </a:extLst>
          </p:cNvPr>
          <p:cNvSpPr>
            <a:spLocks noChangeArrowheads="1"/>
          </p:cNvSpPr>
          <p:nvPr>
            <p:custDataLst>
              <p:tags r:id="rId96"/>
            </p:custDataLst>
          </p:nvPr>
        </p:nvSpPr>
        <p:spPr bwMode="auto">
          <a:xfrm>
            <a:off x="8213895" y="2285756"/>
            <a:ext cx="95995" cy="67014"/>
          </a:xfrm>
          <a:custGeom>
            <a:avLst/>
            <a:gdLst>
              <a:gd name="T0" fmla="*/ 153 w 234"/>
              <a:gd name="T1" fmla="*/ 31 h 165"/>
              <a:gd name="T2" fmla="*/ 177 w 234"/>
              <a:gd name="T3" fmla="*/ 31 h 165"/>
              <a:gd name="T4" fmla="*/ 193 w 234"/>
              <a:gd name="T5" fmla="*/ 47 h 165"/>
              <a:gd name="T6" fmla="*/ 201 w 234"/>
              <a:gd name="T7" fmla="*/ 55 h 165"/>
              <a:gd name="T8" fmla="*/ 209 w 234"/>
              <a:gd name="T9" fmla="*/ 70 h 165"/>
              <a:gd name="T10" fmla="*/ 225 w 234"/>
              <a:gd name="T11" fmla="*/ 86 h 165"/>
              <a:gd name="T12" fmla="*/ 225 w 234"/>
              <a:gd name="T13" fmla="*/ 94 h 165"/>
              <a:gd name="T14" fmla="*/ 193 w 234"/>
              <a:gd name="T15" fmla="*/ 94 h 165"/>
              <a:gd name="T16" fmla="*/ 185 w 234"/>
              <a:gd name="T17" fmla="*/ 102 h 165"/>
              <a:gd name="T18" fmla="*/ 193 w 234"/>
              <a:gd name="T19" fmla="*/ 117 h 165"/>
              <a:gd name="T20" fmla="*/ 177 w 234"/>
              <a:gd name="T21" fmla="*/ 125 h 165"/>
              <a:gd name="T22" fmla="*/ 161 w 234"/>
              <a:gd name="T23" fmla="*/ 102 h 165"/>
              <a:gd name="T24" fmla="*/ 153 w 234"/>
              <a:gd name="T25" fmla="*/ 133 h 165"/>
              <a:gd name="T26" fmla="*/ 153 w 234"/>
              <a:gd name="T27" fmla="*/ 157 h 165"/>
              <a:gd name="T28" fmla="*/ 129 w 234"/>
              <a:gd name="T29" fmla="*/ 164 h 165"/>
              <a:gd name="T30" fmla="*/ 121 w 234"/>
              <a:gd name="T31" fmla="*/ 164 h 165"/>
              <a:gd name="T32" fmla="*/ 89 w 234"/>
              <a:gd name="T33" fmla="*/ 141 h 165"/>
              <a:gd name="T34" fmla="*/ 89 w 234"/>
              <a:gd name="T35" fmla="*/ 117 h 165"/>
              <a:gd name="T36" fmla="*/ 73 w 234"/>
              <a:gd name="T37" fmla="*/ 102 h 165"/>
              <a:gd name="T38" fmla="*/ 65 w 234"/>
              <a:gd name="T39" fmla="*/ 102 h 165"/>
              <a:gd name="T40" fmla="*/ 41 w 234"/>
              <a:gd name="T41" fmla="*/ 109 h 165"/>
              <a:gd name="T42" fmla="*/ 17 w 234"/>
              <a:gd name="T43" fmla="*/ 94 h 165"/>
              <a:gd name="T44" fmla="*/ 0 w 234"/>
              <a:gd name="T45" fmla="*/ 86 h 165"/>
              <a:gd name="T46" fmla="*/ 33 w 234"/>
              <a:gd name="T47" fmla="*/ 70 h 165"/>
              <a:gd name="T48" fmla="*/ 49 w 234"/>
              <a:gd name="T49" fmla="*/ 70 h 165"/>
              <a:gd name="T50" fmla="*/ 81 w 234"/>
              <a:gd name="T51" fmla="*/ 62 h 165"/>
              <a:gd name="T52" fmla="*/ 97 w 234"/>
              <a:gd name="T53" fmla="*/ 31 h 165"/>
              <a:gd name="T54" fmla="*/ 105 w 234"/>
              <a:gd name="T55" fmla="*/ 7 h 165"/>
              <a:gd name="T56" fmla="*/ 129 w 234"/>
              <a:gd name="T57" fmla="*/ 0 h 165"/>
              <a:gd name="T58" fmla="*/ 137 w 234"/>
              <a:gd name="T59" fmla="*/ 23 h 165"/>
              <a:gd name="T60" fmla="*/ 145 w 234"/>
              <a:gd name="T61" fmla="*/ 31 h 165"/>
              <a:gd name="T62" fmla="*/ 153 w 234"/>
              <a:gd name="T63" fmla="*/ 31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34" h="165">
                <a:moveTo>
                  <a:pt x="153" y="31"/>
                </a:moveTo>
                <a:cubicBezTo>
                  <a:pt x="153" y="23"/>
                  <a:pt x="169" y="23"/>
                  <a:pt x="177" y="31"/>
                </a:cubicBezTo>
                <a:cubicBezTo>
                  <a:pt x="177" y="31"/>
                  <a:pt x="193" y="39"/>
                  <a:pt x="193" y="47"/>
                </a:cubicBezTo>
                <a:cubicBezTo>
                  <a:pt x="193" y="47"/>
                  <a:pt x="201" y="47"/>
                  <a:pt x="201" y="55"/>
                </a:cubicBezTo>
                <a:cubicBezTo>
                  <a:pt x="201" y="55"/>
                  <a:pt x="209" y="62"/>
                  <a:pt x="209" y="70"/>
                </a:cubicBezTo>
                <a:cubicBezTo>
                  <a:pt x="217" y="78"/>
                  <a:pt x="225" y="86"/>
                  <a:pt x="225" y="86"/>
                </a:cubicBezTo>
                <a:cubicBezTo>
                  <a:pt x="225" y="86"/>
                  <a:pt x="233" y="94"/>
                  <a:pt x="225" y="94"/>
                </a:cubicBezTo>
                <a:lnTo>
                  <a:pt x="193" y="94"/>
                </a:lnTo>
                <a:lnTo>
                  <a:pt x="185" y="102"/>
                </a:lnTo>
                <a:cubicBezTo>
                  <a:pt x="185" y="109"/>
                  <a:pt x="201" y="117"/>
                  <a:pt x="193" y="117"/>
                </a:cubicBezTo>
                <a:cubicBezTo>
                  <a:pt x="185" y="125"/>
                  <a:pt x="185" y="125"/>
                  <a:pt x="177" y="125"/>
                </a:cubicBezTo>
                <a:cubicBezTo>
                  <a:pt x="169" y="117"/>
                  <a:pt x="161" y="102"/>
                  <a:pt x="161" y="102"/>
                </a:cubicBezTo>
                <a:cubicBezTo>
                  <a:pt x="153" y="109"/>
                  <a:pt x="153" y="133"/>
                  <a:pt x="153" y="133"/>
                </a:cubicBezTo>
                <a:cubicBezTo>
                  <a:pt x="153" y="141"/>
                  <a:pt x="161" y="149"/>
                  <a:pt x="153" y="157"/>
                </a:cubicBezTo>
                <a:lnTo>
                  <a:pt x="129" y="164"/>
                </a:lnTo>
                <a:lnTo>
                  <a:pt x="121" y="164"/>
                </a:lnTo>
                <a:cubicBezTo>
                  <a:pt x="113" y="164"/>
                  <a:pt x="97" y="149"/>
                  <a:pt x="89" y="141"/>
                </a:cubicBezTo>
                <a:lnTo>
                  <a:pt x="89" y="117"/>
                </a:lnTo>
                <a:lnTo>
                  <a:pt x="73" y="102"/>
                </a:lnTo>
                <a:cubicBezTo>
                  <a:pt x="73" y="102"/>
                  <a:pt x="81" y="94"/>
                  <a:pt x="65" y="102"/>
                </a:cubicBezTo>
                <a:cubicBezTo>
                  <a:pt x="41" y="102"/>
                  <a:pt x="49" y="109"/>
                  <a:pt x="41" y="109"/>
                </a:cubicBezTo>
                <a:cubicBezTo>
                  <a:pt x="33" y="102"/>
                  <a:pt x="33" y="94"/>
                  <a:pt x="17" y="94"/>
                </a:cubicBezTo>
                <a:cubicBezTo>
                  <a:pt x="9" y="94"/>
                  <a:pt x="0" y="86"/>
                  <a:pt x="0" y="86"/>
                </a:cubicBezTo>
                <a:cubicBezTo>
                  <a:pt x="0" y="86"/>
                  <a:pt x="25" y="70"/>
                  <a:pt x="33" y="70"/>
                </a:cubicBezTo>
                <a:lnTo>
                  <a:pt x="49" y="70"/>
                </a:lnTo>
                <a:cubicBezTo>
                  <a:pt x="73" y="62"/>
                  <a:pt x="81" y="78"/>
                  <a:pt x="81" y="62"/>
                </a:cubicBezTo>
                <a:cubicBezTo>
                  <a:pt x="89" y="47"/>
                  <a:pt x="89" y="39"/>
                  <a:pt x="97" y="31"/>
                </a:cubicBezTo>
                <a:cubicBezTo>
                  <a:pt x="97" y="23"/>
                  <a:pt x="105" y="7"/>
                  <a:pt x="105" y="7"/>
                </a:cubicBezTo>
                <a:cubicBezTo>
                  <a:pt x="105" y="0"/>
                  <a:pt x="129" y="0"/>
                  <a:pt x="129" y="0"/>
                </a:cubicBezTo>
                <a:lnTo>
                  <a:pt x="137" y="23"/>
                </a:lnTo>
                <a:cubicBezTo>
                  <a:pt x="137" y="23"/>
                  <a:pt x="137" y="31"/>
                  <a:pt x="145" y="31"/>
                </a:cubicBezTo>
                <a:lnTo>
                  <a:pt x="153" y="31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05" name="Freeform 97">
            <a:extLst>
              <a:ext uri="{FF2B5EF4-FFF2-40B4-BE49-F238E27FC236}">
                <a16:creationId xmlns:a16="http://schemas.microsoft.com/office/drawing/2014/main" id="{42958750-7B96-A38D-592D-7D1257934B3D}"/>
              </a:ext>
            </a:extLst>
          </p:cNvPr>
          <p:cNvSpPr>
            <a:spLocks noChangeArrowheads="1"/>
          </p:cNvSpPr>
          <p:nvPr>
            <p:custDataLst>
              <p:tags r:id="rId97"/>
            </p:custDataLst>
          </p:nvPr>
        </p:nvSpPr>
        <p:spPr bwMode="auto">
          <a:xfrm>
            <a:off x="8315323" y="2343715"/>
            <a:ext cx="34414" cy="28979"/>
          </a:xfrm>
          <a:custGeom>
            <a:avLst/>
            <a:gdLst>
              <a:gd name="T0" fmla="*/ 8 w 82"/>
              <a:gd name="T1" fmla="*/ 39 h 72"/>
              <a:gd name="T2" fmla="*/ 16 w 82"/>
              <a:gd name="T3" fmla="*/ 47 h 72"/>
              <a:gd name="T4" fmla="*/ 40 w 82"/>
              <a:gd name="T5" fmla="*/ 55 h 72"/>
              <a:gd name="T6" fmla="*/ 81 w 82"/>
              <a:gd name="T7" fmla="*/ 55 h 72"/>
              <a:gd name="T8" fmla="*/ 73 w 82"/>
              <a:gd name="T9" fmla="*/ 39 h 72"/>
              <a:gd name="T10" fmla="*/ 65 w 82"/>
              <a:gd name="T11" fmla="*/ 23 h 72"/>
              <a:gd name="T12" fmla="*/ 48 w 82"/>
              <a:gd name="T13" fmla="*/ 8 h 72"/>
              <a:gd name="T14" fmla="*/ 32 w 82"/>
              <a:gd name="T15" fmla="*/ 8 h 72"/>
              <a:gd name="T16" fmla="*/ 8 w 82"/>
              <a:gd name="T17" fmla="*/ 8 h 72"/>
              <a:gd name="T18" fmla="*/ 16 w 82"/>
              <a:gd name="T19" fmla="*/ 31 h 72"/>
              <a:gd name="T20" fmla="*/ 8 w 82"/>
              <a:gd name="T21" fmla="*/ 39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2" h="72">
                <a:moveTo>
                  <a:pt x="8" y="39"/>
                </a:moveTo>
                <a:lnTo>
                  <a:pt x="16" y="47"/>
                </a:lnTo>
                <a:cubicBezTo>
                  <a:pt x="16" y="47"/>
                  <a:pt x="24" y="55"/>
                  <a:pt x="40" y="55"/>
                </a:cubicBezTo>
                <a:cubicBezTo>
                  <a:pt x="65" y="55"/>
                  <a:pt x="65" y="71"/>
                  <a:pt x="81" y="55"/>
                </a:cubicBezTo>
                <a:cubicBezTo>
                  <a:pt x="81" y="47"/>
                  <a:pt x="81" y="47"/>
                  <a:pt x="73" y="39"/>
                </a:cubicBezTo>
                <a:cubicBezTo>
                  <a:pt x="73" y="31"/>
                  <a:pt x="65" y="31"/>
                  <a:pt x="65" y="23"/>
                </a:cubicBezTo>
                <a:lnTo>
                  <a:pt x="48" y="8"/>
                </a:lnTo>
                <a:cubicBezTo>
                  <a:pt x="40" y="0"/>
                  <a:pt x="40" y="8"/>
                  <a:pt x="32" y="8"/>
                </a:cubicBezTo>
                <a:lnTo>
                  <a:pt x="8" y="8"/>
                </a:lnTo>
                <a:cubicBezTo>
                  <a:pt x="0" y="16"/>
                  <a:pt x="16" y="23"/>
                  <a:pt x="16" y="31"/>
                </a:cubicBezTo>
                <a:lnTo>
                  <a:pt x="8" y="39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06" name="Freeform 98">
            <a:extLst>
              <a:ext uri="{FF2B5EF4-FFF2-40B4-BE49-F238E27FC236}">
                <a16:creationId xmlns:a16="http://schemas.microsoft.com/office/drawing/2014/main" id="{93054BE1-5E56-0DC0-6794-DE6F2326FA77}"/>
              </a:ext>
            </a:extLst>
          </p:cNvPr>
          <p:cNvSpPr>
            <a:spLocks noChangeArrowheads="1"/>
          </p:cNvSpPr>
          <p:nvPr>
            <p:custDataLst>
              <p:tags r:id="rId98"/>
            </p:custDataLst>
          </p:nvPr>
        </p:nvSpPr>
        <p:spPr bwMode="auto">
          <a:xfrm>
            <a:off x="8203027" y="2363638"/>
            <a:ext cx="143087" cy="139464"/>
          </a:xfrm>
          <a:custGeom>
            <a:avLst/>
            <a:gdLst>
              <a:gd name="T0" fmla="*/ 65 w 347"/>
              <a:gd name="T1" fmla="*/ 118 h 338"/>
              <a:gd name="T2" fmla="*/ 41 w 347"/>
              <a:gd name="T3" fmla="*/ 78 h 338"/>
              <a:gd name="T4" fmla="*/ 24 w 347"/>
              <a:gd name="T5" fmla="*/ 86 h 338"/>
              <a:gd name="T6" fmla="*/ 8 w 347"/>
              <a:gd name="T7" fmla="*/ 86 h 338"/>
              <a:gd name="T8" fmla="*/ 24 w 347"/>
              <a:gd name="T9" fmla="*/ 110 h 338"/>
              <a:gd name="T10" fmla="*/ 57 w 347"/>
              <a:gd name="T11" fmla="*/ 133 h 338"/>
              <a:gd name="T12" fmla="*/ 33 w 347"/>
              <a:gd name="T13" fmla="*/ 157 h 338"/>
              <a:gd name="T14" fmla="*/ 33 w 347"/>
              <a:gd name="T15" fmla="*/ 173 h 338"/>
              <a:gd name="T16" fmla="*/ 57 w 347"/>
              <a:gd name="T17" fmla="*/ 196 h 338"/>
              <a:gd name="T18" fmla="*/ 81 w 347"/>
              <a:gd name="T19" fmla="*/ 204 h 338"/>
              <a:gd name="T20" fmla="*/ 89 w 347"/>
              <a:gd name="T21" fmla="*/ 220 h 338"/>
              <a:gd name="T22" fmla="*/ 113 w 347"/>
              <a:gd name="T23" fmla="*/ 235 h 338"/>
              <a:gd name="T24" fmla="*/ 97 w 347"/>
              <a:gd name="T25" fmla="*/ 259 h 338"/>
              <a:gd name="T26" fmla="*/ 81 w 347"/>
              <a:gd name="T27" fmla="*/ 298 h 338"/>
              <a:gd name="T28" fmla="*/ 105 w 347"/>
              <a:gd name="T29" fmla="*/ 330 h 338"/>
              <a:gd name="T30" fmla="*/ 137 w 347"/>
              <a:gd name="T31" fmla="*/ 298 h 338"/>
              <a:gd name="T32" fmla="*/ 137 w 347"/>
              <a:gd name="T33" fmla="*/ 259 h 338"/>
              <a:gd name="T34" fmla="*/ 129 w 347"/>
              <a:gd name="T35" fmla="*/ 220 h 338"/>
              <a:gd name="T36" fmla="*/ 161 w 347"/>
              <a:gd name="T37" fmla="*/ 188 h 338"/>
              <a:gd name="T38" fmla="*/ 201 w 347"/>
              <a:gd name="T39" fmla="*/ 165 h 338"/>
              <a:gd name="T40" fmla="*/ 233 w 347"/>
              <a:gd name="T41" fmla="*/ 180 h 338"/>
              <a:gd name="T42" fmla="*/ 233 w 347"/>
              <a:gd name="T43" fmla="*/ 157 h 338"/>
              <a:gd name="T44" fmla="*/ 249 w 347"/>
              <a:gd name="T45" fmla="*/ 133 h 338"/>
              <a:gd name="T46" fmla="*/ 273 w 347"/>
              <a:gd name="T47" fmla="*/ 110 h 338"/>
              <a:gd name="T48" fmla="*/ 289 w 347"/>
              <a:gd name="T49" fmla="*/ 94 h 338"/>
              <a:gd name="T50" fmla="*/ 281 w 347"/>
              <a:gd name="T51" fmla="*/ 71 h 338"/>
              <a:gd name="T52" fmla="*/ 297 w 347"/>
              <a:gd name="T53" fmla="*/ 55 h 338"/>
              <a:gd name="T54" fmla="*/ 329 w 347"/>
              <a:gd name="T55" fmla="*/ 55 h 338"/>
              <a:gd name="T56" fmla="*/ 338 w 347"/>
              <a:gd name="T57" fmla="*/ 39 h 338"/>
              <a:gd name="T58" fmla="*/ 305 w 347"/>
              <a:gd name="T59" fmla="*/ 24 h 338"/>
              <a:gd name="T60" fmla="*/ 249 w 347"/>
              <a:gd name="T61" fmla="*/ 0 h 338"/>
              <a:gd name="T62" fmla="*/ 225 w 347"/>
              <a:gd name="T63" fmla="*/ 0 h 338"/>
              <a:gd name="T64" fmla="*/ 185 w 347"/>
              <a:gd name="T65" fmla="*/ 24 h 338"/>
              <a:gd name="T66" fmla="*/ 161 w 347"/>
              <a:gd name="T67" fmla="*/ 8 h 338"/>
              <a:gd name="T68" fmla="*/ 129 w 347"/>
              <a:gd name="T69" fmla="*/ 31 h 338"/>
              <a:gd name="T70" fmla="*/ 113 w 347"/>
              <a:gd name="T71" fmla="*/ 55 h 338"/>
              <a:gd name="T72" fmla="*/ 97 w 347"/>
              <a:gd name="T73" fmla="*/ 71 h 338"/>
              <a:gd name="T74" fmla="*/ 73 w 347"/>
              <a:gd name="T75" fmla="*/ 78 h 338"/>
              <a:gd name="T76" fmla="*/ 73 w 347"/>
              <a:gd name="T77" fmla="*/ 110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47" h="338">
                <a:moveTo>
                  <a:pt x="73" y="110"/>
                </a:moveTo>
                <a:lnTo>
                  <a:pt x="65" y="118"/>
                </a:lnTo>
                <a:cubicBezTo>
                  <a:pt x="65" y="118"/>
                  <a:pt x="57" y="94"/>
                  <a:pt x="57" y="86"/>
                </a:cubicBezTo>
                <a:lnTo>
                  <a:pt x="41" y="78"/>
                </a:lnTo>
                <a:lnTo>
                  <a:pt x="33" y="78"/>
                </a:lnTo>
                <a:cubicBezTo>
                  <a:pt x="24" y="78"/>
                  <a:pt x="24" y="86"/>
                  <a:pt x="24" y="86"/>
                </a:cubicBezTo>
                <a:lnTo>
                  <a:pt x="16" y="86"/>
                </a:lnTo>
                <a:lnTo>
                  <a:pt x="8" y="86"/>
                </a:lnTo>
                <a:cubicBezTo>
                  <a:pt x="0" y="94"/>
                  <a:pt x="8" y="102"/>
                  <a:pt x="8" y="102"/>
                </a:cubicBezTo>
                <a:cubicBezTo>
                  <a:pt x="8" y="102"/>
                  <a:pt x="16" y="102"/>
                  <a:pt x="24" y="110"/>
                </a:cubicBezTo>
                <a:lnTo>
                  <a:pt x="33" y="110"/>
                </a:lnTo>
                <a:cubicBezTo>
                  <a:pt x="33" y="110"/>
                  <a:pt x="49" y="126"/>
                  <a:pt x="57" y="133"/>
                </a:cubicBezTo>
                <a:lnTo>
                  <a:pt x="57" y="141"/>
                </a:lnTo>
                <a:lnTo>
                  <a:pt x="33" y="157"/>
                </a:lnTo>
                <a:lnTo>
                  <a:pt x="41" y="165"/>
                </a:lnTo>
                <a:cubicBezTo>
                  <a:pt x="49" y="165"/>
                  <a:pt x="33" y="173"/>
                  <a:pt x="33" y="173"/>
                </a:cubicBezTo>
                <a:lnTo>
                  <a:pt x="33" y="188"/>
                </a:lnTo>
                <a:cubicBezTo>
                  <a:pt x="33" y="188"/>
                  <a:pt x="41" y="196"/>
                  <a:pt x="57" y="196"/>
                </a:cubicBezTo>
                <a:cubicBezTo>
                  <a:pt x="73" y="204"/>
                  <a:pt x="73" y="196"/>
                  <a:pt x="73" y="196"/>
                </a:cubicBezTo>
                <a:lnTo>
                  <a:pt x="81" y="204"/>
                </a:lnTo>
                <a:lnTo>
                  <a:pt x="81" y="212"/>
                </a:lnTo>
                <a:lnTo>
                  <a:pt x="89" y="220"/>
                </a:lnTo>
                <a:lnTo>
                  <a:pt x="113" y="228"/>
                </a:lnTo>
                <a:lnTo>
                  <a:pt x="113" y="235"/>
                </a:lnTo>
                <a:lnTo>
                  <a:pt x="113" y="259"/>
                </a:lnTo>
                <a:lnTo>
                  <a:pt x="97" y="259"/>
                </a:lnTo>
                <a:cubicBezTo>
                  <a:pt x="97" y="267"/>
                  <a:pt x="97" y="275"/>
                  <a:pt x="89" y="275"/>
                </a:cubicBezTo>
                <a:cubicBezTo>
                  <a:pt x="89" y="275"/>
                  <a:pt x="89" y="290"/>
                  <a:pt x="81" y="298"/>
                </a:cubicBezTo>
                <a:cubicBezTo>
                  <a:pt x="81" y="306"/>
                  <a:pt x="89" y="314"/>
                  <a:pt x="89" y="322"/>
                </a:cubicBezTo>
                <a:cubicBezTo>
                  <a:pt x="89" y="337"/>
                  <a:pt x="97" y="330"/>
                  <a:pt x="105" y="330"/>
                </a:cubicBezTo>
                <a:lnTo>
                  <a:pt x="113" y="322"/>
                </a:lnTo>
                <a:cubicBezTo>
                  <a:pt x="121" y="322"/>
                  <a:pt x="129" y="306"/>
                  <a:pt x="137" y="298"/>
                </a:cubicBezTo>
                <a:lnTo>
                  <a:pt x="137" y="282"/>
                </a:lnTo>
                <a:cubicBezTo>
                  <a:pt x="129" y="275"/>
                  <a:pt x="137" y="259"/>
                  <a:pt x="137" y="259"/>
                </a:cubicBezTo>
                <a:lnTo>
                  <a:pt x="137" y="251"/>
                </a:lnTo>
                <a:lnTo>
                  <a:pt x="129" y="220"/>
                </a:lnTo>
                <a:lnTo>
                  <a:pt x="145" y="188"/>
                </a:lnTo>
                <a:lnTo>
                  <a:pt x="161" y="188"/>
                </a:lnTo>
                <a:lnTo>
                  <a:pt x="185" y="173"/>
                </a:lnTo>
                <a:cubicBezTo>
                  <a:pt x="185" y="173"/>
                  <a:pt x="193" y="173"/>
                  <a:pt x="201" y="165"/>
                </a:cubicBezTo>
                <a:cubicBezTo>
                  <a:pt x="217" y="165"/>
                  <a:pt x="209" y="173"/>
                  <a:pt x="217" y="173"/>
                </a:cubicBezTo>
                <a:cubicBezTo>
                  <a:pt x="217" y="180"/>
                  <a:pt x="225" y="180"/>
                  <a:pt x="233" y="180"/>
                </a:cubicBezTo>
                <a:lnTo>
                  <a:pt x="241" y="165"/>
                </a:lnTo>
                <a:cubicBezTo>
                  <a:pt x="241" y="157"/>
                  <a:pt x="233" y="157"/>
                  <a:pt x="233" y="157"/>
                </a:cubicBezTo>
                <a:lnTo>
                  <a:pt x="225" y="141"/>
                </a:lnTo>
                <a:lnTo>
                  <a:pt x="249" y="133"/>
                </a:lnTo>
                <a:lnTo>
                  <a:pt x="257" y="126"/>
                </a:lnTo>
                <a:lnTo>
                  <a:pt x="273" y="110"/>
                </a:lnTo>
                <a:lnTo>
                  <a:pt x="265" y="94"/>
                </a:lnTo>
                <a:lnTo>
                  <a:pt x="289" y="94"/>
                </a:lnTo>
                <a:lnTo>
                  <a:pt x="289" y="86"/>
                </a:lnTo>
                <a:lnTo>
                  <a:pt x="281" y="71"/>
                </a:lnTo>
                <a:cubicBezTo>
                  <a:pt x="281" y="71"/>
                  <a:pt x="297" y="71"/>
                  <a:pt x="305" y="63"/>
                </a:cubicBezTo>
                <a:lnTo>
                  <a:pt x="297" y="55"/>
                </a:lnTo>
                <a:cubicBezTo>
                  <a:pt x="297" y="47"/>
                  <a:pt x="305" y="39"/>
                  <a:pt x="305" y="39"/>
                </a:cubicBezTo>
                <a:cubicBezTo>
                  <a:pt x="305" y="39"/>
                  <a:pt x="321" y="55"/>
                  <a:pt x="329" y="55"/>
                </a:cubicBezTo>
                <a:cubicBezTo>
                  <a:pt x="338" y="63"/>
                  <a:pt x="338" y="55"/>
                  <a:pt x="346" y="55"/>
                </a:cubicBezTo>
                <a:cubicBezTo>
                  <a:pt x="346" y="47"/>
                  <a:pt x="338" y="39"/>
                  <a:pt x="338" y="39"/>
                </a:cubicBezTo>
                <a:lnTo>
                  <a:pt x="329" y="31"/>
                </a:lnTo>
                <a:lnTo>
                  <a:pt x="305" y="24"/>
                </a:lnTo>
                <a:lnTo>
                  <a:pt x="273" y="8"/>
                </a:lnTo>
                <a:cubicBezTo>
                  <a:pt x="273" y="8"/>
                  <a:pt x="249" y="8"/>
                  <a:pt x="249" y="0"/>
                </a:cubicBezTo>
                <a:lnTo>
                  <a:pt x="241" y="0"/>
                </a:lnTo>
                <a:lnTo>
                  <a:pt x="225" y="0"/>
                </a:lnTo>
                <a:cubicBezTo>
                  <a:pt x="217" y="0"/>
                  <a:pt x="209" y="8"/>
                  <a:pt x="201" y="16"/>
                </a:cubicBezTo>
                <a:cubicBezTo>
                  <a:pt x="201" y="16"/>
                  <a:pt x="193" y="24"/>
                  <a:pt x="185" y="24"/>
                </a:cubicBezTo>
                <a:lnTo>
                  <a:pt x="177" y="8"/>
                </a:lnTo>
                <a:lnTo>
                  <a:pt x="161" y="8"/>
                </a:lnTo>
                <a:cubicBezTo>
                  <a:pt x="161" y="8"/>
                  <a:pt x="153" y="24"/>
                  <a:pt x="153" y="31"/>
                </a:cubicBezTo>
                <a:lnTo>
                  <a:pt x="129" y="31"/>
                </a:lnTo>
                <a:cubicBezTo>
                  <a:pt x="121" y="39"/>
                  <a:pt x="113" y="39"/>
                  <a:pt x="105" y="47"/>
                </a:cubicBezTo>
                <a:cubicBezTo>
                  <a:pt x="97" y="47"/>
                  <a:pt x="113" y="55"/>
                  <a:pt x="113" y="55"/>
                </a:cubicBezTo>
                <a:lnTo>
                  <a:pt x="113" y="71"/>
                </a:lnTo>
                <a:lnTo>
                  <a:pt x="97" y="71"/>
                </a:lnTo>
                <a:lnTo>
                  <a:pt x="89" y="63"/>
                </a:lnTo>
                <a:lnTo>
                  <a:pt x="73" y="78"/>
                </a:lnTo>
                <a:lnTo>
                  <a:pt x="65" y="94"/>
                </a:lnTo>
                <a:lnTo>
                  <a:pt x="73" y="11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07" name="Freeform 99">
            <a:extLst>
              <a:ext uri="{FF2B5EF4-FFF2-40B4-BE49-F238E27FC236}">
                <a16:creationId xmlns:a16="http://schemas.microsoft.com/office/drawing/2014/main" id="{6021B683-B338-5482-D627-02DCDD951A41}"/>
              </a:ext>
            </a:extLst>
          </p:cNvPr>
          <p:cNvSpPr>
            <a:spLocks noChangeArrowheads="1"/>
          </p:cNvSpPr>
          <p:nvPr>
            <p:custDataLst>
              <p:tags r:id="rId99"/>
            </p:custDataLst>
          </p:nvPr>
        </p:nvSpPr>
        <p:spPr bwMode="auto">
          <a:xfrm>
            <a:off x="8411318" y="2421597"/>
            <a:ext cx="12678" cy="10867"/>
          </a:xfrm>
          <a:custGeom>
            <a:avLst/>
            <a:gdLst>
              <a:gd name="T0" fmla="*/ 8 w 33"/>
              <a:gd name="T1" fmla="*/ 0 h 25"/>
              <a:gd name="T2" fmla="*/ 8 w 33"/>
              <a:gd name="T3" fmla="*/ 24 h 25"/>
              <a:gd name="T4" fmla="*/ 24 w 33"/>
              <a:gd name="T5" fmla="*/ 24 h 25"/>
              <a:gd name="T6" fmla="*/ 32 w 33"/>
              <a:gd name="T7" fmla="*/ 16 h 25"/>
              <a:gd name="T8" fmla="*/ 32 w 33"/>
              <a:gd name="T9" fmla="*/ 0 h 25"/>
              <a:gd name="T10" fmla="*/ 8 w 33"/>
              <a:gd name="T11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3" h="25">
                <a:moveTo>
                  <a:pt x="8" y="0"/>
                </a:moveTo>
                <a:cubicBezTo>
                  <a:pt x="8" y="0"/>
                  <a:pt x="0" y="24"/>
                  <a:pt x="8" y="24"/>
                </a:cubicBezTo>
                <a:lnTo>
                  <a:pt x="24" y="24"/>
                </a:lnTo>
                <a:lnTo>
                  <a:pt x="32" y="16"/>
                </a:lnTo>
                <a:lnTo>
                  <a:pt x="32" y="0"/>
                </a:lnTo>
                <a:lnTo>
                  <a:pt x="8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08" name="Freeform 100">
            <a:extLst>
              <a:ext uri="{FF2B5EF4-FFF2-40B4-BE49-F238E27FC236}">
                <a16:creationId xmlns:a16="http://schemas.microsoft.com/office/drawing/2014/main" id="{161AF3B7-0915-C9E7-2CAD-B26A9A3BE027}"/>
              </a:ext>
            </a:extLst>
          </p:cNvPr>
          <p:cNvSpPr>
            <a:spLocks noChangeArrowheads="1"/>
          </p:cNvSpPr>
          <p:nvPr>
            <p:custDataLst>
              <p:tags r:id="rId100"/>
            </p:custDataLst>
          </p:nvPr>
        </p:nvSpPr>
        <p:spPr bwMode="auto">
          <a:xfrm>
            <a:off x="8275476" y="2446954"/>
            <a:ext cx="12679" cy="10867"/>
          </a:xfrm>
          <a:custGeom>
            <a:avLst/>
            <a:gdLst>
              <a:gd name="T0" fmla="*/ 8 w 33"/>
              <a:gd name="T1" fmla="*/ 0 h 25"/>
              <a:gd name="T2" fmla="*/ 24 w 33"/>
              <a:gd name="T3" fmla="*/ 0 h 25"/>
              <a:gd name="T4" fmla="*/ 24 w 33"/>
              <a:gd name="T5" fmla="*/ 8 h 25"/>
              <a:gd name="T6" fmla="*/ 24 w 33"/>
              <a:gd name="T7" fmla="*/ 16 h 25"/>
              <a:gd name="T8" fmla="*/ 0 w 33"/>
              <a:gd name="T9" fmla="*/ 16 h 25"/>
              <a:gd name="T10" fmla="*/ 8 w 33"/>
              <a:gd name="T11" fmla="*/ 8 h 25"/>
              <a:gd name="T12" fmla="*/ 8 w 33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" h="25">
                <a:moveTo>
                  <a:pt x="8" y="0"/>
                </a:moveTo>
                <a:lnTo>
                  <a:pt x="24" y="0"/>
                </a:lnTo>
                <a:cubicBezTo>
                  <a:pt x="24" y="0"/>
                  <a:pt x="32" y="8"/>
                  <a:pt x="24" y="8"/>
                </a:cubicBezTo>
                <a:cubicBezTo>
                  <a:pt x="24" y="16"/>
                  <a:pt x="32" y="16"/>
                  <a:pt x="24" y="16"/>
                </a:cubicBezTo>
                <a:cubicBezTo>
                  <a:pt x="16" y="16"/>
                  <a:pt x="0" y="24"/>
                  <a:pt x="0" y="16"/>
                </a:cubicBezTo>
                <a:lnTo>
                  <a:pt x="8" y="8"/>
                </a:lnTo>
                <a:lnTo>
                  <a:pt x="8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09" name="Freeform 101">
            <a:extLst>
              <a:ext uri="{FF2B5EF4-FFF2-40B4-BE49-F238E27FC236}">
                <a16:creationId xmlns:a16="http://schemas.microsoft.com/office/drawing/2014/main" id="{5412B315-27F6-B976-8364-A394ABFEAE00}"/>
              </a:ext>
            </a:extLst>
          </p:cNvPr>
          <p:cNvSpPr>
            <a:spLocks noChangeArrowheads="1"/>
          </p:cNvSpPr>
          <p:nvPr>
            <p:custDataLst>
              <p:tags r:id="rId101"/>
            </p:custDataLst>
          </p:nvPr>
        </p:nvSpPr>
        <p:spPr bwMode="auto">
          <a:xfrm>
            <a:off x="8328002" y="2115502"/>
            <a:ext cx="454615" cy="362243"/>
          </a:xfrm>
          <a:custGeom>
            <a:avLst/>
            <a:gdLst>
              <a:gd name="T0" fmla="*/ 24 w 1109"/>
              <a:gd name="T1" fmla="*/ 353 h 880"/>
              <a:gd name="T2" fmla="*/ 16 w 1109"/>
              <a:gd name="T3" fmla="*/ 321 h 880"/>
              <a:gd name="T4" fmla="*/ 65 w 1109"/>
              <a:gd name="T5" fmla="*/ 282 h 880"/>
              <a:gd name="T6" fmla="*/ 129 w 1109"/>
              <a:gd name="T7" fmla="*/ 274 h 880"/>
              <a:gd name="T8" fmla="*/ 129 w 1109"/>
              <a:gd name="T9" fmla="*/ 227 h 880"/>
              <a:gd name="T10" fmla="*/ 177 w 1109"/>
              <a:gd name="T11" fmla="*/ 204 h 880"/>
              <a:gd name="T12" fmla="*/ 225 w 1109"/>
              <a:gd name="T13" fmla="*/ 172 h 880"/>
              <a:gd name="T14" fmla="*/ 249 w 1109"/>
              <a:gd name="T15" fmla="*/ 133 h 880"/>
              <a:gd name="T16" fmla="*/ 297 w 1109"/>
              <a:gd name="T17" fmla="*/ 133 h 880"/>
              <a:gd name="T18" fmla="*/ 386 w 1109"/>
              <a:gd name="T19" fmla="*/ 117 h 880"/>
              <a:gd name="T20" fmla="*/ 394 w 1109"/>
              <a:gd name="T21" fmla="*/ 62 h 880"/>
              <a:gd name="T22" fmla="*/ 450 w 1109"/>
              <a:gd name="T23" fmla="*/ 70 h 880"/>
              <a:gd name="T24" fmla="*/ 474 w 1109"/>
              <a:gd name="T25" fmla="*/ 55 h 880"/>
              <a:gd name="T26" fmla="*/ 530 w 1109"/>
              <a:gd name="T27" fmla="*/ 47 h 880"/>
              <a:gd name="T28" fmla="*/ 594 w 1109"/>
              <a:gd name="T29" fmla="*/ 39 h 880"/>
              <a:gd name="T30" fmla="*/ 691 w 1109"/>
              <a:gd name="T31" fmla="*/ 39 h 880"/>
              <a:gd name="T32" fmla="*/ 803 w 1109"/>
              <a:gd name="T33" fmla="*/ 39 h 880"/>
              <a:gd name="T34" fmla="*/ 931 w 1109"/>
              <a:gd name="T35" fmla="*/ 23 h 880"/>
              <a:gd name="T36" fmla="*/ 996 w 1109"/>
              <a:gd name="T37" fmla="*/ 31 h 880"/>
              <a:gd name="T38" fmla="*/ 915 w 1109"/>
              <a:gd name="T39" fmla="*/ 282 h 880"/>
              <a:gd name="T40" fmla="*/ 988 w 1109"/>
              <a:gd name="T41" fmla="*/ 526 h 880"/>
              <a:gd name="T42" fmla="*/ 1044 w 1109"/>
              <a:gd name="T43" fmla="*/ 580 h 880"/>
              <a:gd name="T44" fmla="*/ 1068 w 1109"/>
              <a:gd name="T45" fmla="*/ 628 h 880"/>
              <a:gd name="T46" fmla="*/ 1100 w 1109"/>
              <a:gd name="T47" fmla="*/ 682 h 880"/>
              <a:gd name="T48" fmla="*/ 1044 w 1109"/>
              <a:gd name="T49" fmla="*/ 745 h 880"/>
              <a:gd name="T50" fmla="*/ 1044 w 1109"/>
              <a:gd name="T51" fmla="*/ 816 h 880"/>
              <a:gd name="T52" fmla="*/ 923 w 1109"/>
              <a:gd name="T53" fmla="*/ 808 h 880"/>
              <a:gd name="T54" fmla="*/ 867 w 1109"/>
              <a:gd name="T55" fmla="*/ 855 h 880"/>
              <a:gd name="T56" fmla="*/ 787 w 1109"/>
              <a:gd name="T57" fmla="*/ 855 h 880"/>
              <a:gd name="T58" fmla="*/ 651 w 1109"/>
              <a:gd name="T59" fmla="*/ 761 h 880"/>
              <a:gd name="T60" fmla="*/ 546 w 1109"/>
              <a:gd name="T61" fmla="*/ 737 h 880"/>
              <a:gd name="T62" fmla="*/ 442 w 1109"/>
              <a:gd name="T63" fmla="*/ 745 h 880"/>
              <a:gd name="T64" fmla="*/ 321 w 1109"/>
              <a:gd name="T65" fmla="*/ 839 h 880"/>
              <a:gd name="T66" fmla="*/ 330 w 1109"/>
              <a:gd name="T67" fmla="*/ 761 h 880"/>
              <a:gd name="T68" fmla="*/ 338 w 1109"/>
              <a:gd name="T69" fmla="*/ 667 h 880"/>
              <a:gd name="T70" fmla="*/ 281 w 1109"/>
              <a:gd name="T71" fmla="*/ 628 h 880"/>
              <a:gd name="T72" fmla="*/ 249 w 1109"/>
              <a:gd name="T73" fmla="*/ 682 h 880"/>
              <a:gd name="T74" fmla="*/ 185 w 1109"/>
              <a:gd name="T75" fmla="*/ 675 h 880"/>
              <a:gd name="T76" fmla="*/ 129 w 1109"/>
              <a:gd name="T77" fmla="*/ 659 h 880"/>
              <a:gd name="T78" fmla="*/ 73 w 1109"/>
              <a:gd name="T79" fmla="*/ 604 h 880"/>
              <a:gd name="T80" fmla="*/ 65 w 1109"/>
              <a:gd name="T81" fmla="*/ 518 h 880"/>
              <a:gd name="T82" fmla="*/ 105 w 1109"/>
              <a:gd name="T83" fmla="*/ 518 h 880"/>
              <a:gd name="T84" fmla="*/ 121 w 1109"/>
              <a:gd name="T85" fmla="*/ 486 h 880"/>
              <a:gd name="T86" fmla="*/ 49 w 1109"/>
              <a:gd name="T87" fmla="*/ 494 h 880"/>
              <a:gd name="T88" fmla="*/ 16 w 1109"/>
              <a:gd name="T89" fmla="*/ 455 h 880"/>
              <a:gd name="T90" fmla="*/ 57 w 1109"/>
              <a:gd name="T91" fmla="*/ 431 h 880"/>
              <a:gd name="T92" fmla="*/ 49 w 1109"/>
              <a:gd name="T93" fmla="*/ 424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109" h="880">
                <a:moveTo>
                  <a:pt x="8" y="408"/>
                </a:moveTo>
                <a:lnTo>
                  <a:pt x="24" y="376"/>
                </a:lnTo>
                <a:lnTo>
                  <a:pt x="24" y="353"/>
                </a:lnTo>
                <a:lnTo>
                  <a:pt x="8" y="353"/>
                </a:lnTo>
                <a:lnTo>
                  <a:pt x="0" y="329"/>
                </a:lnTo>
                <a:cubicBezTo>
                  <a:pt x="0" y="329"/>
                  <a:pt x="8" y="321"/>
                  <a:pt x="16" y="321"/>
                </a:cubicBezTo>
                <a:cubicBezTo>
                  <a:pt x="16" y="314"/>
                  <a:pt x="41" y="314"/>
                  <a:pt x="41" y="314"/>
                </a:cubicBezTo>
                <a:lnTo>
                  <a:pt x="57" y="298"/>
                </a:lnTo>
                <a:cubicBezTo>
                  <a:pt x="57" y="298"/>
                  <a:pt x="49" y="282"/>
                  <a:pt x="65" y="282"/>
                </a:cubicBezTo>
                <a:lnTo>
                  <a:pt x="97" y="282"/>
                </a:lnTo>
                <a:cubicBezTo>
                  <a:pt x="105" y="282"/>
                  <a:pt x="113" y="274"/>
                  <a:pt x="113" y="274"/>
                </a:cubicBezTo>
                <a:cubicBezTo>
                  <a:pt x="129" y="274"/>
                  <a:pt x="137" y="282"/>
                  <a:pt x="129" y="274"/>
                </a:cubicBezTo>
                <a:cubicBezTo>
                  <a:pt x="129" y="274"/>
                  <a:pt x="129" y="267"/>
                  <a:pt x="121" y="259"/>
                </a:cubicBezTo>
                <a:cubicBezTo>
                  <a:pt x="113" y="251"/>
                  <a:pt x="89" y="235"/>
                  <a:pt x="105" y="227"/>
                </a:cubicBezTo>
                <a:cubicBezTo>
                  <a:pt x="113" y="219"/>
                  <a:pt x="121" y="219"/>
                  <a:pt x="129" y="227"/>
                </a:cubicBezTo>
                <a:cubicBezTo>
                  <a:pt x="137" y="227"/>
                  <a:pt x="145" y="243"/>
                  <a:pt x="145" y="243"/>
                </a:cubicBezTo>
                <a:lnTo>
                  <a:pt x="145" y="212"/>
                </a:lnTo>
                <a:cubicBezTo>
                  <a:pt x="145" y="212"/>
                  <a:pt x="169" y="212"/>
                  <a:pt x="177" y="204"/>
                </a:cubicBezTo>
                <a:cubicBezTo>
                  <a:pt x="177" y="196"/>
                  <a:pt x="169" y="180"/>
                  <a:pt x="169" y="180"/>
                </a:cubicBezTo>
                <a:lnTo>
                  <a:pt x="193" y="180"/>
                </a:lnTo>
                <a:cubicBezTo>
                  <a:pt x="217" y="172"/>
                  <a:pt x="209" y="172"/>
                  <a:pt x="225" y="172"/>
                </a:cubicBezTo>
                <a:lnTo>
                  <a:pt x="257" y="172"/>
                </a:lnTo>
                <a:cubicBezTo>
                  <a:pt x="257" y="172"/>
                  <a:pt x="273" y="165"/>
                  <a:pt x="265" y="157"/>
                </a:cubicBezTo>
                <a:cubicBezTo>
                  <a:pt x="265" y="149"/>
                  <a:pt x="249" y="133"/>
                  <a:pt x="249" y="133"/>
                </a:cubicBezTo>
                <a:cubicBezTo>
                  <a:pt x="249" y="133"/>
                  <a:pt x="257" y="110"/>
                  <a:pt x="257" y="117"/>
                </a:cubicBezTo>
                <a:cubicBezTo>
                  <a:pt x="257" y="133"/>
                  <a:pt x="281" y="149"/>
                  <a:pt x="281" y="149"/>
                </a:cubicBezTo>
                <a:lnTo>
                  <a:pt x="297" y="133"/>
                </a:lnTo>
                <a:lnTo>
                  <a:pt x="321" y="125"/>
                </a:lnTo>
                <a:lnTo>
                  <a:pt x="346" y="117"/>
                </a:lnTo>
                <a:lnTo>
                  <a:pt x="386" y="117"/>
                </a:lnTo>
                <a:cubicBezTo>
                  <a:pt x="394" y="117"/>
                  <a:pt x="418" y="110"/>
                  <a:pt x="418" y="110"/>
                </a:cubicBezTo>
                <a:lnTo>
                  <a:pt x="426" y="94"/>
                </a:lnTo>
                <a:lnTo>
                  <a:pt x="394" y="62"/>
                </a:lnTo>
                <a:cubicBezTo>
                  <a:pt x="394" y="62"/>
                  <a:pt x="410" y="39"/>
                  <a:pt x="410" y="47"/>
                </a:cubicBezTo>
                <a:cubicBezTo>
                  <a:pt x="418" y="55"/>
                  <a:pt x="418" y="70"/>
                  <a:pt x="426" y="70"/>
                </a:cubicBezTo>
                <a:cubicBezTo>
                  <a:pt x="434" y="70"/>
                  <a:pt x="442" y="78"/>
                  <a:pt x="450" y="70"/>
                </a:cubicBezTo>
                <a:lnTo>
                  <a:pt x="450" y="39"/>
                </a:lnTo>
                <a:cubicBezTo>
                  <a:pt x="450" y="39"/>
                  <a:pt x="442" y="31"/>
                  <a:pt x="450" y="31"/>
                </a:cubicBezTo>
                <a:cubicBezTo>
                  <a:pt x="458" y="39"/>
                  <a:pt x="474" y="55"/>
                  <a:pt x="474" y="55"/>
                </a:cubicBezTo>
                <a:lnTo>
                  <a:pt x="498" y="55"/>
                </a:lnTo>
                <a:lnTo>
                  <a:pt x="522" y="31"/>
                </a:lnTo>
                <a:lnTo>
                  <a:pt x="530" y="47"/>
                </a:lnTo>
                <a:cubicBezTo>
                  <a:pt x="530" y="47"/>
                  <a:pt x="546" y="39"/>
                  <a:pt x="554" y="39"/>
                </a:cubicBezTo>
                <a:cubicBezTo>
                  <a:pt x="562" y="39"/>
                  <a:pt x="562" y="31"/>
                  <a:pt x="570" y="31"/>
                </a:cubicBezTo>
                <a:cubicBezTo>
                  <a:pt x="578" y="31"/>
                  <a:pt x="594" y="39"/>
                  <a:pt x="594" y="39"/>
                </a:cubicBezTo>
                <a:lnTo>
                  <a:pt x="634" y="47"/>
                </a:lnTo>
                <a:lnTo>
                  <a:pt x="651" y="23"/>
                </a:lnTo>
                <a:lnTo>
                  <a:pt x="691" y="39"/>
                </a:lnTo>
                <a:lnTo>
                  <a:pt x="723" y="55"/>
                </a:lnTo>
                <a:lnTo>
                  <a:pt x="763" y="55"/>
                </a:lnTo>
                <a:cubicBezTo>
                  <a:pt x="763" y="55"/>
                  <a:pt x="795" y="39"/>
                  <a:pt x="803" y="39"/>
                </a:cubicBezTo>
                <a:cubicBezTo>
                  <a:pt x="819" y="31"/>
                  <a:pt x="851" y="31"/>
                  <a:pt x="851" y="31"/>
                </a:cubicBezTo>
                <a:lnTo>
                  <a:pt x="875" y="31"/>
                </a:lnTo>
                <a:cubicBezTo>
                  <a:pt x="891" y="23"/>
                  <a:pt x="931" y="23"/>
                  <a:pt x="931" y="23"/>
                </a:cubicBezTo>
                <a:lnTo>
                  <a:pt x="956" y="0"/>
                </a:lnTo>
                <a:lnTo>
                  <a:pt x="996" y="15"/>
                </a:lnTo>
                <a:lnTo>
                  <a:pt x="996" y="31"/>
                </a:lnTo>
                <a:lnTo>
                  <a:pt x="956" y="62"/>
                </a:lnTo>
                <a:lnTo>
                  <a:pt x="956" y="117"/>
                </a:lnTo>
                <a:cubicBezTo>
                  <a:pt x="947" y="196"/>
                  <a:pt x="923" y="235"/>
                  <a:pt x="915" y="282"/>
                </a:cubicBezTo>
                <a:cubicBezTo>
                  <a:pt x="907" y="306"/>
                  <a:pt x="891" y="314"/>
                  <a:pt x="915" y="353"/>
                </a:cubicBezTo>
                <a:cubicBezTo>
                  <a:pt x="931" y="369"/>
                  <a:pt x="931" y="424"/>
                  <a:pt x="964" y="455"/>
                </a:cubicBezTo>
                <a:cubicBezTo>
                  <a:pt x="980" y="471"/>
                  <a:pt x="964" y="510"/>
                  <a:pt x="988" y="526"/>
                </a:cubicBezTo>
                <a:cubicBezTo>
                  <a:pt x="988" y="526"/>
                  <a:pt x="988" y="533"/>
                  <a:pt x="996" y="549"/>
                </a:cubicBezTo>
                <a:cubicBezTo>
                  <a:pt x="1012" y="565"/>
                  <a:pt x="1012" y="557"/>
                  <a:pt x="1020" y="565"/>
                </a:cubicBezTo>
                <a:cubicBezTo>
                  <a:pt x="1020" y="565"/>
                  <a:pt x="1036" y="573"/>
                  <a:pt x="1044" y="580"/>
                </a:cubicBezTo>
                <a:cubicBezTo>
                  <a:pt x="1052" y="588"/>
                  <a:pt x="1052" y="604"/>
                  <a:pt x="1052" y="612"/>
                </a:cubicBezTo>
                <a:cubicBezTo>
                  <a:pt x="1052" y="620"/>
                  <a:pt x="1060" y="628"/>
                  <a:pt x="1060" y="628"/>
                </a:cubicBezTo>
                <a:cubicBezTo>
                  <a:pt x="1060" y="628"/>
                  <a:pt x="1068" y="620"/>
                  <a:pt x="1068" y="628"/>
                </a:cubicBezTo>
                <a:cubicBezTo>
                  <a:pt x="1068" y="635"/>
                  <a:pt x="1060" y="620"/>
                  <a:pt x="1068" y="635"/>
                </a:cubicBezTo>
                <a:cubicBezTo>
                  <a:pt x="1084" y="651"/>
                  <a:pt x="1108" y="651"/>
                  <a:pt x="1108" y="651"/>
                </a:cubicBezTo>
                <a:lnTo>
                  <a:pt x="1100" y="682"/>
                </a:lnTo>
                <a:lnTo>
                  <a:pt x="1084" y="690"/>
                </a:lnTo>
                <a:cubicBezTo>
                  <a:pt x="1084" y="690"/>
                  <a:pt x="1044" y="690"/>
                  <a:pt x="1044" y="706"/>
                </a:cubicBezTo>
                <a:lnTo>
                  <a:pt x="1044" y="745"/>
                </a:lnTo>
                <a:lnTo>
                  <a:pt x="1020" y="769"/>
                </a:lnTo>
                <a:cubicBezTo>
                  <a:pt x="1020" y="769"/>
                  <a:pt x="1036" y="800"/>
                  <a:pt x="1036" y="808"/>
                </a:cubicBezTo>
                <a:cubicBezTo>
                  <a:pt x="1036" y="816"/>
                  <a:pt x="1044" y="816"/>
                  <a:pt x="1044" y="816"/>
                </a:cubicBezTo>
                <a:lnTo>
                  <a:pt x="1020" y="824"/>
                </a:lnTo>
                <a:lnTo>
                  <a:pt x="988" y="824"/>
                </a:lnTo>
                <a:lnTo>
                  <a:pt x="923" y="808"/>
                </a:lnTo>
                <a:lnTo>
                  <a:pt x="907" y="832"/>
                </a:lnTo>
                <a:lnTo>
                  <a:pt x="891" y="832"/>
                </a:lnTo>
                <a:cubicBezTo>
                  <a:pt x="891" y="832"/>
                  <a:pt x="883" y="847"/>
                  <a:pt x="867" y="855"/>
                </a:cubicBezTo>
                <a:cubicBezTo>
                  <a:pt x="859" y="863"/>
                  <a:pt x="851" y="871"/>
                  <a:pt x="843" y="871"/>
                </a:cubicBezTo>
                <a:cubicBezTo>
                  <a:pt x="827" y="879"/>
                  <a:pt x="811" y="863"/>
                  <a:pt x="811" y="863"/>
                </a:cubicBezTo>
                <a:lnTo>
                  <a:pt x="787" y="855"/>
                </a:lnTo>
                <a:lnTo>
                  <a:pt x="763" y="824"/>
                </a:lnTo>
                <a:lnTo>
                  <a:pt x="691" y="777"/>
                </a:lnTo>
                <a:lnTo>
                  <a:pt x="651" y="761"/>
                </a:lnTo>
                <a:lnTo>
                  <a:pt x="618" y="753"/>
                </a:lnTo>
                <a:lnTo>
                  <a:pt x="578" y="753"/>
                </a:lnTo>
                <a:lnTo>
                  <a:pt x="546" y="737"/>
                </a:lnTo>
                <a:lnTo>
                  <a:pt x="514" y="737"/>
                </a:lnTo>
                <a:lnTo>
                  <a:pt x="474" y="722"/>
                </a:lnTo>
                <a:lnTo>
                  <a:pt x="442" y="745"/>
                </a:lnTo>
                <a:lnTo>
                  <a:pt x="402" y="769"/>
                </a:lnTo>
                <a:lnTo>
                  <a:pt x="362" y="808"/>
                </a:lnTo>
                <a:cubicBezTo>
                  <a:pt x="362" y="808"/>
                  <a:pt x="338" y="832"/>
                  <a:pt x="321" y="839"/>
                </a:cubicBezTo>
                <a:lnTo>
                  <a:pt x="313" y="832"/>
                </a:lnTo>
                <a:cubicBezTo>
                  <a:pt x="313" y="832"/>
                  <a:pt x="313" y="808"/>
                  <a:pt x="321" y="792"/>
                </a:cubicBezTo>
                <a:cubicBezTo>
                  <a:pt x="330" y="785"/>
                  <a:pt x="330" y="769"/>
                  <a:pt x="330" y="761"/>
                </a:cubicBezTo>
                <a:cubicBezTo>
                  <a:pt x="330" y="753"/>
                  <a:pt x="330" y="737"/>
                  <a:pt x="321" y="722"/>
                </a:cubicBezTo>
                <a:cubicBezTo>
                  <a:pt x="321" y="706"/>
                  <a:pt x="313" y="682"/>
                  <a:pt x="313" y="682"/>
                </a:cubicBezTo>
                <a:lnTo>
                  <a:pt x="338" y="667"/>
                </a:lnTo>
                <a:lnTo>
                  <a:pt x="321" y="628"/>
                </a:lnTo>
                <a:lnTo>
                  <a:pt x="305" y="628"/>
                </a:lnTo>
                <a:lnTo>
                  <a:pt x="281" y="628"/>
                </a:lnTo>
                <a:lnTo>
                  <a:pt x="265" y="651"/>
                </a:lnTo>
                <a:cubicBezTo>
                  <a:pt x="265" y="651"/>
                  <a:pt x="273" y="667"/>
                  <a:pt x="273" y="675"/>
                </a:cubicBezTo>
                <a:cubicBezTo>
                  <a:pt x="265" y="682"/>
                  <a:pt x="249" y="682"/>
                  <a:pt x="249" y="682"/>
                </a:cubicBezTo>
                <a:cubicBezTo>
                  <a:pt x="241" y="690"/>
                  <a:pt x="241" y="714"/>
                  <a:pt x="241" y="714"/>
                </a:cubicBezTo>
                <a:lnTo>
                  <a:pt x="209" y="682"/>
                </a:lnTo>
                <a:cubicBezTo>
                  <a:pt x="209" y="682"/>
                  <a:pt x="193" y="682"/>
                  <a:pt x="185" y="675"/>
                </a:cubicBezTo>
                <a:lnTo>
                  <a:pt x="161" y="675"/>
                </a:lnTo>
                <a:lnTo>
                  <a:pt x="153" y="675"/>
                </a:lnTo>
                <a:cubicBezTo>
                  <a:pt x="137" y="675"/>
                  <a:pt x="137" y="675"/>
                  <a:pt x="129" y="659"/>
                </a:cubicBezTo>
                <a:cubicBezTo>
                  <a:pt x="121" y="643"/>
                  <a:pt x="97" y="604"/>
                  <a:pt x="97" y="604"/>
                </a:cubicBezTo>
                <a:cubicBezTo>
                  <a:pt x="97" y="604"/>
                  <a:pt x="89" y="588"/>
                  <a:pt x="81" y="588"/>
                </a:cubicBezTo>
                <a:lnTo>
                  <a:pt x="73" y="604"/>
                </a:lnTo>
                <a:cubicBezTo>
                  <a:pt x="65" y="604"/>
                  <a:pt x="65" y="588"/>
                  <a:pt x="65" y="580"/>
                </a:cubicBezTo>
                <a:lnTo>
                  <a:pt x="65" y="549"/>
                </a:lnTo>
                <a:cubicBezTo>
                  <a:pt x="65" y="533"/>
                  <a:pt x="57" y="518"/>
                  <a:pt x="65" y="518"/>
                </a:cubicBezTo>
                <a:cubicBezTo>
                  <a:pt x="65" y="518"/>
                  <a:pt x="73" y="526"/>
                  <a:pt x="81" y="526"/>
                </a:cubicBezTo>
                <a:cubicBezTo>
                  <a:pt x="89" y="526"/>
                  <a:pt x="89" y="510"/>
                  <a:pt x="89" y="510"/>
                </a:cubicBezTo>
                <a:cubicBezTo>
                  <a:pt x="97" y="510"/>
                  <a:pt x="105" y="518"/>
                  <a:pt x="105" y="518"/>
                </a:cubicBezTo>
                <a:lnTo>
                  <a:pt x="121" y="518"/>
                </a:lnTo>
                <a:cubicBezTo>
                  <a:pt x="129" y="510"/>
                  <a:pt x="129" y="510"/>
                  <a:pt x="129" y="502"/>
                </a:cubicBezTo>
                <a:cubicBezTo>
                  <a:pt x="129" y="494"/>
                  <a:pt x="121" y="486"/>
                  <a:pt x="121" y="486"/>
                </a:cubicBezTo>
                <a:cubicBezTo>
                  <a:pt x="113" y="486"/>
                  <a:pt x="65" y="510"/>
                  <a:pt x="65" y="510"/>
                </a:cubicBezTo>
                <a:lnTo>
                  <a:pt x="33" y="510"/>
                </a:lnTo>
                <a:lnTo>
                  <a:pt x="49" y="494"/>
                </a:lnTo>
                <a:lnTo>
                  <a:pt x="33" y="478"/>
                </a:lnTo>
                <a:lnTo>
                  <a:pt x="33" y="463"/>
                </a:lnTo>
                <a:lnTo>
                  <a:pt x="16" y="455"/>
                </a:lnTo>
                <a:lnTo>
                  <a:pt x="24" y="439"/>
                </a:lnTo>
                <a:lnTo>
                  <a:pt x="41" y="439"/>
                </a:lnTo>
                <a:lnTo>
                  <a:pt x="57" y="431"/>
                </a:lnTo>
                <a:lnTo>
                  <a:pt x="57" y="400"/>
                </a:lnTo>
                <a:lnTo>
                  <a:pt x="41" y="408"/>
                </a:lnTo>
                <a:lnTo>
                  <a:pt x="49" y="424"/>
                </a:lnTo>
                <a:lnTo>
                  <a:pt x="16" y="424"/>
                </a:lnTo>
                <a:lnTo>
                  <a:pt x="8" y="40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10" name="Freeform 102">
            <a:extLst>
              <a:ext uri="{FF2B5EF4-FFF2-40B4-BE49-F238E27FC236}">
                <a16:creationId xmlns:a16="http://schemas.microsoft.com/office/drawing/2014/main" id="{5B0EA10B-3EF2-3598-906E-5ECC630C40A8}"/>
              </a:ext>
            </a:extLst>
          </p:cNvPr>
          <p:cNvSpPr>
            <a:spLocks noChangeArrowheads="1"/>
          </p:cNvSpPr>
          <p:nvPr>
            <p:custDataLst>
              <p:tags r:id="rId102"/>
            </p:custDataLst>
          </p:nvPr>
        </p:nvSpPr>
        <p:spPr bwMode="auto">
          <a:xfrm>
            <a:off x="8757260" y="4732710"/>
            <a:ext cx="813237" cy="606758"/>
          </a:xfrm>
          <a:custGeom>
            <a:avLst/>
            <a:gdLst>
              <a:gd name="T0" fmla="*/ 187 w 1979"/>
              <a:gd name="T1" fmla="*/ 305 h 1477"/>
              <a:gd name="T2" fmla="*/ 292 w 1979"/>
              <a:gd name="T3" fmla="*/ 393 h 1477"/>
              <a:gd name="T4" fmla="*/ 884 w 1979"/>
              <a:gd name="T5" fmla="*/ 345 h 1477"/>
              <a:gd name="T6" fmla="*/ 1281 w 1979"/>
              <a:gd name="T7" fmla="*/ 88 h 1477"/>
              <a:gd name="T8" fmla="*/ 1735 w 1979"/>
              <a:gd name="T9" fmla="*/ 0 h 1477"/>
              <a:gd name="T10" fmla="*/ 1946 w 1979"/>
              <a:gd name="T11" fmla="*/ 88 h 1477"/>
              <a:gd name="T12" fmla="*/ 1946 w 1979"/>
              <a:gd name="T13" fmla="*/ 185 h 1477"/>
              <a:gd name="T14" fmla="*/ 1856 w 1979"/>
              <a:gd name="T15" fmla="*/ 225 h 1477"/>
              <a:gd name="T16" fmla="*/ 1808 w 1979"/>
              <a:gd name="T17" fmla="*/ 329 h 1477"/>
              <a:gd name="T18" fmla="*/ 1840 w 1979"/>
              <a:gd name="T19" fmla="*/ 521 h 1477"/>
              <a:gd name="T20" fmla="*/ 1800 w 1979"/>
              <a:gd name="T21" fmla="*/ 570 h 1477"/>
              <a:gd name="T22" fmla="*/ 1767 w 1979"/>
              <a:gd name="T23" fmla="*/ 626 h 1477"/>
              <a:gd name="T24" fmla="*/ 1840 w 1979"/>
              <a:gd name="T25" fmla="*/ 682 h 1477"/>
              <a:gd name="T26" fmla="*/ 1905 w 1979"/>
              <a:gd name="T27" fmla="*/ 778 h 1477"/>
              <a:gd name="T28" fmla="*/ 1929 w 1979"/>
              <a:gd name="T29" fmla="*/ 842 h 1477"/>
              <a:gd name="T30" fmla="*/ 1816 w 1979"/>
              <a:gd name="T31" fmla="*/ 898 h 1477"/>
              <a:gd name="T32" fmla="*/ 1694 w 1979"/>
              <a:gd name="T33" fmla="*/ 874 h 1477"/>
              <a:gd name="T34" fmla="*/ 1557 w 1979"/>
              <a:gd name="T35" fmla="*/ 946 h 1477"/>
              <a:gd name="T36" fmla="*/ 1492 w 1979"/>
              <a:gd name="T37" fmla="*/ 1035 h 1477"/>
              <a:gd name="T38" fmla="*/ 1419 w 1979"/>
              <a:gd name="T39" fmla="*/ 1099 h 1477"/>
              <a:gd name="T40" fmla="*/ 1467 w 1979"/>
              <a:gd name="T41" fmla="*/ 1211 h 1477"/>
              <a:gd name="T42" fmla="*/ 1370 w 1979"/>
              <a:gd name="T43" fmla="*/ 1291 h 1477"/>
              <a:gd name="T44" fmla="*/ 1216 w 1979"/>
              <a:gd name="T45" fmla="*/ 1339 h 1477"/>
              <a:gd name="T46" fmla="*/ 1046 w 1979"/>
              <a:gd name="T47" fmla="*/ 1315 h 1477"/>
              <a:gd name="T48" fmla="*/ 916 w 1979"/>
              <a:gd name="T49" fmla="*/ 1275 h 1477"/>
              <a:gd name="T50" fmla="*/ 803 w 1979"/>
              <a:gd name="T51" fmla="*/ 1307 h 1477"/>
              <a:gd name="T52" fmla="*/ 705 w 1979"/>
              <a:gd name="T53" fmla="*/ 1371 h 1477"/>
              <a:gd name="T54" fmla="*/ 543 w 1979"/>
              <a:gd name="T55" fmla="*/ 1420 h 1477"/>
              <a:gd name="T56" fmla="*/ 414 w 1979"/>
              <a:gd name="T57" fmla="*/ 1476 h 1477"/>
              <a:gd name="T58" fmla="*/ 389 w 1979"/>
              <a:gd name="T59" fmla="*/ 1379 h 1477"/>
              <a:gd name="T60" fmla="*/ 357 w 1979"/>
              <a:gd name="T61" fmla="*/ 1259 h 1477"/>
              <a:gd name="T62" fmla="*/ 179 w 1979"/>
              <a:gd name="T63" fmla="*/ 1123 h 1477"/>
              <a:gd name="T64" fmla="*/ 146 w 1979"/>
              <a:gd name="T65" fmla="*/ 1083 h 1477"/>
              <a:gd name="T66" fmla="*/ 179 w 1979"/>
              <a:gd name="T67" fmla="*/ 1027 h 1477"/>
              <a:gd name="T68" fmla="*/ 138 w 1979"/>
              <a:gd name="T69" fmla="*/ 946 h 1477"/>
              <a:gd name="T70" fmla="*/ 138 w 1979"/>
              <a:gd name="T71" fmla="*/ 858 h 1477"/>
              <a:gd name="T72" fmla="*/ 211 w 1979"/>
              <a:gd name="T73" fmla="*/ 826 h 1477"/>
              <a:gd name="T74" fmla="*/ 252 w 1979"/>
              <a:gd name="T75" fmla="*/ 722 h 1477"/>
              <a:gd name="T76" fmla="*/ 203 w 1979"/>
              <a:gd name="T77" fmla="*/ 666 h 1477"/>
              <a:gd name="T78" fmla="*/ 122 w 1979"/>
              <a:gd name="T79" fmla="*/ 594 h 1477"/>
              <a:gd name="T80" fmla="*/ 33 w 1979"/>
              <a:gd name="T81" fmla="*/ 505 h 1477"/>
              <a:gd name="T82" fmla="*/ 8 w 1979"/>
              <a:gd name="T83" fmla="*/ 417 h 1477"/>
              <a:gd name="T84" fmla="*/ 57 w 1979"/>
              <a:gd name="T85" fmla="*/ 337 h 1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79" h="1477">
                <a:moveTo>
                  <a:pt x="57" y="305"/>
                </a:moveTo>
                <a:lnTo>
                  <a:pt x="57" y="289"/>
                </a:lnTo>
                <a:cubicBezTo>
                  <a:pt x="114" y="273"/>
                  <a:pt x="162" y="305"/>
                  <a:pt x="187" y="305"/>
                </a:cubicBezTo>
                <a:cubicBezTo>
                  <a:pt x="235" y="313"/>
                  <a:pt x="130" y="369"/>
                  <a:pt x="146" y="369"/>
                </a:cubicBezTo>
                <a:cubicBezTo>
                  <a:pt x="162" y="361"/>
                  <a:pt x="146" y="409"/>
                  <a:pt x="170" y="417"/>
                </a:cubicBezTo>
                <a:cubicBezTo>
                  <a:pt x="211" y="425"/>
                  <a:pt x="243" y="393"/>
                  <a:pt x="292" y="393"/>
                </a:cubicBezTo>
                <a:cubicBezTo>
                  <a:pt x="333" y="385"/>
                  <a:pt x="381" y="409"/>
                  <a:pt x="397" y="393"/>
                </a:cubicBezTo>
                <a:cubicBezTo>
                  <a:pt x="430" y="353"/>
                  <a:pt x="560" y="433"/>
                  <a:pt x="624" y="393"/>
                </a:cubicBezTo>
                <a:cubicBezTo>
                  <a:pt x="665" y="361"/>
                  <a:pt x="827" y="345"/>
                  <a:pt x="884" y="345"/>
                </a:cubicBezTo>
                <a:cubicBezTo>
                  <a:pt x="1030" y="337"/>
                  <a:pt x="1038" y="337"/>
                  <a:pt x="1103" y="297"/>
                </a:cubicBezTo>
                <a:cubicBezTo>
                  <a:pt x="1103" y="297"/>
                  <a:pt x="1143" y="209"/>
                  <a:pt x="1167" y="169"/>
                </a:cubicBezTo>
                <a:cubicBezTo>
                  <a:pt x="1184" y="137"/>
                  <a:pt x="1232" y="120"/>
                  <a:pt x="1281" y="88"/>
                </a:cubicBezTo>
                <a:cubicBezTo>
                  <a:pt x="1321" y="56"/>
                  <a:pt x="1427" y="24"/>
                  <a:pt x="1451" y="16"/>
                </a:cubicBezTo>
                <a:cubicBezTo>
                  <a:pt x="1475" y="16"/>
                  <a:pt x="1646" y="24"/>
                  <a:pt x="1646" y="24"/>
                </a:cubicBezTo>
                <a:lnTo>
                  <a:pt x="1735" y="0"/>
                </a:lnTo>
                <a:cubicBezTo>
                  <a:pt x="1735" y="0"/>
                  <a:pt x="1751" y="64"/>
                  <a:pt x="1775" y="72"/>
                </a:cubicBezTo>
                <a:cubicBezTo>
                  <a:pt x="1848" y="80"/>
                  <a:pt x="1905" y="80"/>
                  <a:pt x="1929" y="64"/>
                </a:cubicBezTo>
                <a:cubicBezTo>
                  <a:pt x="1937" y="64"/>
                  <a:pt x="1937" y="80"/>
                  <a:pt x="1946" y="88"/>
                </a:cubicBezTo>
                <a:cubicBezTo>
                  <a:pt x="1954" y="104"/>
                  <a:pt x="1962" y="137"/>
                  <a:pt x="1962" y="137"/>
                </a:cubicBezTo>
                <a:lnTo>
                  <a:pt x="1954" y="177"/>
                </a:lnTo>
                <a:lnTo>
                  <a:pt x="1946" y="185"/>
                </a:lnTo>
                <a:lnTo>
                  <a:pt x="1905" y="209"/>
                </a:lnTo>
                <a:cubicBezTo>
                  <a:pt x="1905" y="209"/>
                  <a:pt x="1889" y="209"/>
                  <a:pt x="1881" y="217"/>
                </a:cubicBezTo>
                <a:cubicBezTo>
                  <a:pt x="1873" y="217"/>
                  <a:pt x="1856" y="225"/>
                  <a:pt x="1856" y="225"/>
                </a:cubicBezTo>
                <a:cubicBezTo>
                  <a:pt x="1856" y="225"/>
                  <a:pt x="1840" y="241"/>
                  <a:pt x="1840" y="249"/>
                </a:cubicBezTo>
                <a:cubicBezTo>
                  <a:pt x="1832" y="265"/>
                  <a:pt x="1824" y="289"/>
                  <a:pt x="1824" y="289"/>
                </a:cubicBezTo>
                <a:lnTo>
                  <a:pt x="1808" y="329"/>
                </a:lnTo>
                <a:lnTo>
                  <a:pt x="1808" y="385"/>
                </a:lnTo>
                <a:lnTo>
                  <a:pt x="1824" y="449"/>
                </a:lnTo>
                <a:lnTo>
                  <a:pt x="1840" y="521"/>
                </a:lnTo>
                <a:cubicBezTo>
                  <a:pt x="1840" y="521"/>
                  <a:pt x="1816" y="545"/>
                  <a:pt x="1808" y="545"/>
                </a:cubicBezTo>
                <a:lnTo>
                  <a:pt x="1800" y="554"/>
                </a:lnTo>
                <a:lnTo>
                  <a:pt x="1800" y="570"/>
                </a:lnTo>
                <a:lnTo>
                  <a:pt x="1792" y="594"/>
                </a:lnTo>
                <a:lnTo>
                  <a:pt x="1783" y="610"/>
                </a:lnTo>
                <a:cubicBezTo>
                  <a:pt x="1783" y="610"/>
                  <a:pt x="1775" y="626"/>
                  <a:pt x="1767" y="626"/>
                </a:cubicBezTo>
                <a:cubicBezTo>
                  <a:pt x="1759" y="634"/>
                  <a:pt x="1743" y="650"/>
                  <a:pt x="1743" y="650"/>
                </a:cubicBezTo>
                <a:lnTo>
                  <a:pt x="1751" y="666"/>
                </a:lnTo>
                <a:lnTo>
                  <a:pt x="1840" y="682"/>
                </a:lnTo>
                <a:lnTo>
                  <a:pt x="1840" y="698"/>
                </a:lnTo>
                <a:lnTo>
                  <a:pt x="1881" y="738"/>
                </a:lnTo>
                <a:lnTo>
                  <a:pt x="1905" y="778"/>
                </a:lnTo>
                <a:lnTo>
                  <a:pt x="1946" y="794"/>
                </a:lnTo>
                <a:lnTo>
                  <a:pt x="1978" y="818"/>
                </a:lnTo>
                <a:cubicBezTo>
                  <a:pt x="1970" y="826"/>
                  <a:pt x="1929" y="842"/>
                  <a:pt x="1929" y="842"/>
                </a:cubicBezTo>
                <a:lnTo>
                  <a:pt x="1905" y="858"/>
                </a:lnTo>
                <a:cubicBezTo>
                  <a:pt x="1905" y="858"/>
                  <a:pt x="1889" y="858"/>
                  <a:pt x="1873" y="866"/>
                </a:cubicBezTo>
                <a:cubicBezTo>
                  <a:pt x="1864" y="874"/>
                  <a:pt x="1816" y="898"/>
                  <a:pt x="1816" y="898"/>
                </a:cubicBezTo>
                <a:lnTo>
                  <a:pt x="1751" y="858"/>
                </a:lnTo>
                <a:lnTo>
                  <a:pt x="1710" y="850"/>
                </a:lnTo>
                <a:lnTo>
                  <a:pt x="1694" y="874"/>
                </a:lnTo>
                <a:lnTo>
                  <a:pt x="1654" y="882"/>
                </a:lnTo>
                <a:lnTo>
                  <a:pt x="1629" y="922"/>
                </a:lnTo>
                <a:cubicBezTo>
                  <a:pt x="1629" y="922"/>
                  <a:pt x="1573" y="938"/>
                  <a:pt x="1557" y="946"/>
                </a:cubicBezTo>
                <a:cubicBezTo>
                  <a:pt x="1548" y="954"/>
                  <a:pt x="1516" y="979"/>
                  <a:pt x="1516" y="979"/>
                </a:cubicBezTo>
                <a:lnTo>
                  <a:pt x="1524" y="1011"/>
                </a:lnTo>
                <a:lnTo>
                  <a:pt x="1492" y="1035"/>
                </a:lnTo>
                <a:cubicBezTo>
                  <a:pt x="1492" y="1035"/>
                  <a:pt x="1467" y="1043"/>
                  <a:pt x="1459" y="1059"/>
                </a:cubicBezTo>
                <a:cubicBezTo>
                  <a:pt x="1459" y="1075"/>
                  <a:pt x="1467" y="1083"/>
                  <a:pt x="1467" y="1083"/>
                </a:cubicBezTo>
                <a:cubicBezTo>
                  <a:pt x="1451" y="1083"/>
                  <a:pt x="1427" y="1091"/>
                  <a:pt x="1419" y="1099"/>
                </a:cubicBezTo>
                <a:cubicBezTo>
                  <a:pt x="1411" y="1099"/>
                  <a:pt x="1411" y="1115"/>
                  <a:pt x="1419" y="1131"/>
                </a:cubicBezTo>
                <a:cubicBezTo>
                  <a:pt x="1419" y="1139"/>
                  <a:pt x="1435" y="1155"/>
                  <a:pt x="1451" y="1179"/>
                </a:cubicBezTo>
                <a:cubicBezTo>
                  <a:pt x="1459" y="1203"/>
                  <a:pt x="1467" y="1203"/>
                  <a:pt x="1467" y="1211"/>
                </a:cubicBezTo>
                <a:cubicBezTo>
                  <a:pt x="1467" y="1219"/>
                  <a:pt x="1459" y="1243"/>
                  <a:pt x="1451" y="1251"/>
                </a:cubicBezTo>
                <a:cubicBezTo>
                  <a:pt x="1435" y="1267"/>
                  <a:pt x="1419" y="1267"/>
                  <a:pt x="1411" y="1267"/>
                </a:cubicBezTo>
                <a:cubicBezTo>
                  <a:pt x="1403" y="1275"/>
                  <a:pt x="1378" y="1291"/>
                  <a:pt x="1370" y="1291"/>
                </a:cubicBezTo>
                <a:cubicBezTo>
                  <a:pt x="1362" y="1299"/>
                  <a:pt x="1321" y="1307"/>
                  <a:pt x="1313" y="1307"/>
                </a:cubicBezTo>
                <a:cubicBezTo>
                  <a:pt x="1305" y="1307"/>
                  <a:pt x="1257" y="1323"/>
                  <a:pt x="1257" y="1323"/>
                </a:cubicBezTo>
                <a:lnTo>
                  <a:pt x="1216" y="1339"/>
                </a:lnTo>
                <a:lnTo>
                  <a:pt x="1192" y="1355"/>
                </a:lnTo>
                <a:lnTo>
                  <a:pt x="1127" y="1339"/>
                </a:lnTo>
                <a:lnTo>
                  <a:pt x="1046" y="1315"/>
                </a:lnTo>
                <a:cubicBezTo>
                  <a:pt x="1046" y="1315"/>
                  <a:pt x="1005" y="1347"/>
                  <a:pt x="997" y="1347"/>
                </a:cubicBezTo>
                <a:cubicBezTo>
                  <a:pt x="989" y="1347"/>
                  <a:pt x="940" y="1315"/>
                  <a:pt x="940" y="1315"/>
                </a:cubicBezTo>
                <a:lnTo>
                  <a:pt x="916" y="1275"/>
                </a:lnTo>
                <a:cubicBezTo>
                  <a:pt x="916" y="1275"/>
                  <a:pt x="868" y="1283"/>
                  <a:pt x="859" y="1283"/>
                </a:cubicBezTo>
                <a:cubicBezTo>
                  <a:pt x="851" y="1283"/>
                  <a:pt x="843" y="1299"/>
                  <a:pt x="843" y="1307"/>
                </a:cubicBezTo>
                <a:lnTo>
                  <a:pt x="803" y="1307"/>
                </a:lnTo>
                <a:cubicBezTo>
                  <a:pt x="778" y="1307"/>
                  <a:pt x="762" y="1323"/>
                  <a:pt x="762" y="1323"/>
                </a:cubicBezTo>
                <a:lnTo>
                  <a:pt x="746" y="1355"/>
                </a:lnTo>
                <a:lnTo>
                  <a:pt x="705" y="1371"/>
                </a:lnTo>
                <a:cubicBezTo>
                  <a:pt x="697" y="1379"/>
                  <a:pt x="624" y="1403"/>
                  <a:pt x="624" y="1403"/>
                </a:cubicBezTo>
                <a:lnTo>
                  <a:pt x="568" y="1420"/>
                </a:lnTo>
                <a:cubicBezTo>
                  <a:pt x="568" y="1420"/>
                  <a:pt x="551" y="1428"/>
                  <a:pt x="543" y="1420"/>
                </a:cubicBezTo>
                <a:cubicBezTo>
                  <a:pt x="535" y="1420"/>
                  <a:pt x="511" y="1444"/>
                  <a:pt x="511" y="1444"/>
                </a:cubicBezTo>
                <a:lnTo>
                  <a:pt x="462" y="1476"/>
                </a:lnTo>
                <a:lnTo>
                  <a:pt x="414" y="1476"/>
                </a:lnTo>
                <a:lnTo>
                  <a:pt x="414" y="1460"/>
                </a:lnTo>
                <a:cubicBezTo>
                  <a:pt x="414" y="1452"/>
                  <a:pt x="406" y="1444"/>
                  <a:pt x="406" y="1428"/>
                </a:cubicBezTo>
                <a:cubicBezTo>
                  <a:pt x="397" y="1412"/>
                  <a:pt x="389" y="1395"/>
                  <a:pt x="389" y="1379"/>
                </a:cubicBezTo>
                <a:cubicBezTo>
                  <a:pt x="389" y="1371"/>
                  <a:pt x="397" y="1363"/>
                  <a:pt x="397" y="1355"/>
                </a:cubicBezTo>
                <a:cubicBezTo>
                  <a:pt x="406" y="1347"/>
                  <a:pt x="406" y="1339"/>
                  <a:pt x="406" y="1323"/>
                </a:cubicBezTo>
                <a:cubicBezTo>
                  <a:pt x="397" y="1291"/>
                  <a:pt x="365" y="1291"/>
                  <a:pt x="357" y="1259"/>
                </a:cubicBezTo>
                <a:cubicBezTo>
                  <a:pt x="349" y="1235"/>
                  <a:pt x="316" y="1211"/>
                  <a:pt x="316" y="1203"/>
                </a:cubicBezTo>
                <a:cubicBezTo>
                  <a:pt x="260" y="1171"/>
                  <a:pt x="227" y="1179"/>
                  <a:pt x="195" y="1147"/>
                </a:cubicBezTo>
                <a:cubicBezTo>
                  <a:pt x="187" y="1139"/>
                  <a:pt x="179" y="1131"/>
                  <a:pt x="179" y="1123"/>
                </a:cubicBezTo>
                <a:lnTo>
                  <a:pt x="187" y="1115"/>
                </a:lnTo>
                <a:cubicBezTo>
                  <a:pt x="187" y="1115"/>
                  <a:pt x="179" y="1115"/>
                  <a:pt x="170" y="1107"/>
                </a:cubicBezTo>
                <a:cubicBezTo>
                  <a:pt x="162" y="1099"/>
                  <a:pt x="154" y="1091"/>
                  <a:pt x="146" y="1083"/>
                </a:cubicBezTo>
                <a:cubicBezTo>
                  <a:pt x="154" y="1083"/>
                  <a:pt x="162" y="1067"/>
                  <a:pt x="162" y="1067"/>
                </a:cubicBezTo>
                <a:lnTo>
                  <a:pt x="170" y="1043"/>
                </a:lnTo>
                <a:lnTo>
                  <a:pt x="179" y="1027"/>
                </a:lnTo>
                <a:cubicBezTo>
                  <a:pt x="179" y="1027"/>
                  <a:pt x="170" y="1003"/>
                  <a:pt x="162" y="1003"/>
                </a:cubicBezTo>
                <a:cubicBezTo>
                  <a:pt x="162" y="995"/>
                  <a:pt x="138" y="987"/>
                  <a:pt x="138" y="987"/>
                </a:cubicBezTo>
                <a:lnTo>
                  <a:pt x="138" y="946"/>
                </a:lnTo>
                <a:lnTo>
                  <a:pt x="130" y="906"/>
                </a:lnTo>
                <a:lnTo>
                  <a:pt x="114" y="882"/>
                </a:lnTo>
                <a:cubicBezTo>
                  <a:pt x="114" y="882"/>
                  <a:pt x="130" y="866"/>
                  <a:pt x="138" y="858"/>
                </a:cubicBezTo>
                <a:cubicBezTo>
                  <a:pt x="138" y="858"/>
                  <a:pt x="146" y="850"/>
                  <a:pt x="154" y="850"/>
                </a:cubicBezTo>
                <a:cubicBezTo>
                  <a:pt x="162" y="842"/>
                  <a:pt x="179" y="842"/>
                  <a:pt x="187" y="842"/>
                </a:cubicBezTo>
                <a:cubicBezTo>
                  <a:pt x="195" y="842"/>
                  <a:pt x="211" y="826"/>
                  <a:pt x="211" y="826"/>
                </a:cubicBezTo>
                <a:cubicBezTo>
                  <a:pt x="211" y="826"/>
                  <a:pt x="211" y="802"/>
                  <a:pt x="203" y="794"/>
                </a:cubicBezTo>
                <a:cubicBezTo>
                  <a:pt x="203" y="778"/>
                  <a:pt x="219" y="762"/>
                  <a:pt x="219" y="762"/>
                </a:cubicBezTo>
                <a:cubicBezTo>
                  <a:pt x="219" y="762"/>
                  <a:pt x="243" y="730"/>
                  <a:pt x="252" y="722"/>
                </a:cubicBezTo>
                <a:cubicBezTo>
                  <a:pt x="260" y="714"/>
                  <a:pt x="268" y="674"/>
                  <a:pt x="268" y="674"/>
                </a:cubicBezTo>
                <a:lnTo>
                  <a:pt x="235" y="674"/>
                </a:lnTo>
                <a:lnTo>
                  <a:pt x="203" y="666"/>
                </a:lnTo>
                <a:lnTo>
                  <a:pt x="170" y="618"/>
                </a:lnTo>
                <a:cubicBezTo>
                  <a:pt x="170" y="610"/>
                  <a:pt x="154" y="610"/>
                  <a:pt x="154" y="610"/>
                </a:cubicBezTo>
                <a:lnTo>
                  <a:pt x="122" y="594"/>
                </a:lnTo>
                <a:cubicBezTo>
                  <a:pt x="114" y="594"/>
                  <a:pt x="89" y="586"/>
                  <a:pt x="89" y="586"/>
                </a:cubicBezTo>
                <a:cubicBezTo>
                  <a:pt x="89" y="586"/>
                  <a:pt x="57" y="545"/>
                  <a:pt x="49" y="529"/>
                </a:cubicBezTo>
                <a:cubicBezTo>
                  <a:pt x="41" y="513"/>
                  <a:pt x="33" y="505"/>
                  <a:pt x="33" y="505"/>
                </a:cubicBezTo>
                <a:cubicBezTo>
                  <a:pt x="33" y="505"/>
                  <a:pt x="25" y="489"/>
                  <a:pt x="16" y="481"/>
                </a:cubicBezTo>
                <a:cubicBezTo>
                  <a:pt x="8" y="473"/>
                  <a:pt x="8" y="457"/>
                  <a:pt x="8" y="457"/>
                </a:cubicBezTo>
                <a:cubicBezTo>
                  <a:pt x="8" y="457"/>
                  <a:pt x="16" y="433"/>
                  <a:pt x="8" y="417"/>
                </a:cubicBezTo>
                <a:cubicBezTo>
                  <a:pt x="8" y="409"/>
                  <a:pt x="0" y="377"/>
                  <a:pt x="8" y="377"/>
                </a:cubicBezTo>
                <a:cubicBezTo>
                  <a:pt x="16" y="361"/>
                  <a:pt x="25" y="345"/>
                  <a:pt x="41" y="337"/>
                </a:cubicBezTo>
                <a:lnTo>
                  <a:pt x="57" y="337"/>
                </a:lnTo>
                <a:cubicBezTo>
                  <a:pt x="65" y="337"/>
                  <a:pt x="57" y="313"/>
                  <a:pt x="57" y="313"/>
                </a:cubicBezTo>
                <a:lnTo>
                  <a:pt x="57" y="305"/>
                </a:ln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11" name="Freeform 103">
            <a:extLst>
              <a:ext uri="{FF2B5EF4-FFF2-40B4-BE49-F238E27FC236}">
                <a16:creationId xmlns:a16="http://schemas.microsoft.com/office/drawing/2014/main" id="{FAC404F7-F871-9272-243C-757B1241F064}"/>
              </a:ext>
            </a:extLst>
          </p:cNvPr>
          <p:cNvSpPr>
            <a:spLocks noChangeArrowheads="1"/>
          </p:cNvSpPr>
          <p:nvPr>
            <p:custDataLst>
              <p:tags r:id="rId103"/>
            </p:custDataLst>
          </p:nvPr>
        </p:nvSpPr>
        <p:spPr bwMode="auto">
          <a:xfrm>
            <a:off x="8757260" y="4732710"/>
            <a:ext cx="813237" cy="606758"/>
          </a:xfrm>
          <a:custGeom>
            <a:avLst/>
            <a:gdLst>
              <a:gd name="T0" fmla="*/ 187 w 1979"/>
              <a:gd name="T1" fmla="*/ 305 h 1477"/>
              <a:gd name="T2" fmla="*/ 292 w 1979"/>
              <a:gd name="T3" fmla="*/ 393 h 1477"/>
              <a:gd name="T4" fmla="*/ 884 w 1979"/>
              <a:gd name="T5" fmla="*/ 345 h 1477"/>
              <a:gd name="T6" fmla="*/ 1281 w 1979"/>
              <a:gd name="T7" fmla="*/ 88 h 1477"/>
              <a:gd name="T8" fmla="*/ 1735 w 1979"/>
              <a:gd name="T9" fmla="*/ 0 h 1477"/>
              <a:gd name="T10" fmla="*/ 1946 w 1979"/>
              <a:gd name="T11" fmla="*/ 88 h 1477"/>
              <a:gd name="T12" fmla="*/ 1946 w 1979"/>
              <a:gd name="T13" fmla="*/ 185 h 1477"/>
              <a:gd name="T14" fmla="*/ 1856 w 1979"/>
              <a:gd name="T15" fmla="*/ 225 h 1477"/>
              <a:gd name="T16" fmla="*/ 1808 w 1979"/>
              <a:gd name="T17" fmla="*/ 329 h 1477"/>
              <a:gd name="T18" fmla="*/ 1840 w 1979"/>
              <a:gd name="T19" fmla="*/ 521 h 1477"/>
              <a:gd name="T20" fmla="*/ 1800 w 1979"/>
              <a:gd name="T21" fmla="*/ 570 h 1477"/>
              <a:gd name="T22" fmla="*/ 1767 w 1979"/>
              <a:gd name="T23" fmla="*/ 626 h 1477"/>
              <a:gd name="T24" fmla="*/ 1840 w 1979"/>
              <a:gd name="T25" fmla="*/ 682 h 1477"/>
              <a:gd name="T26" fmla="*/ 1905 w 1979"/>
              <a:gd name="T27" fmla="*/ 778 h 1477"/>
              <a:gd name="T28" fmla="*/ 1929 w 1979"/>
              <a:gd name="T29" fmla="*/ 842 h 1477"/>
              <a:gd name="T30" fmla="*/ 1816 w 1979"/>
              <a:gd name="T31" fmla="*/ 898 h 1477"/>
              <a:gd name="T32" fmla="*/ 1694 w 1979"/>
              <a:gd name="T33" fmla="*/ 874 h 1477"/>
              <a:gd name="T34" fmla="*/ 1557 w 1979"/>
              <a:gd name="T35" fmla="*/ 946 h 1477"/>
              <a:gd name="T36" fmla="*/ 1492 w 1979"/>
              <a:gd name="T37" fmla="*/ 1035 h 1477"/>
              <a:gd name="T38" fmla="*/ 1419 w 1979"/>
              <a:gd name="T39" fmla="*/ 1099 h 1477"/>
              <a:gd name="T40" fmla="*/ 1467 w 1979"/>
              <a:gd name="T41" fmla="*/ 1211 h 1477"/>
              <a:gd name="T42" fmla="*/ 1370 w 1979"/>
              <a:gd name="T43" fmla="*/ 1291 h 1477"/>
              <a:gd name="T44" fmla="*/ 1216 w 1979"/>
              <a:gd name="T45" fmla="*/ 1339 h 1477"/>
              <a:gd name="T46" fmla="*/ 1046 w 1979"/>
              <a:gd name="T47" fmla="*/ 1315 h 1477"/>
              <a:gd name="T48" fmla="*/ 916 w 1979"/>
              <a:gd name="T49" fmla="*/ 1275 h 1477"/>
              <a:gd name="T50" fmla="*/ 803 w 1979"/>
              <a:gd name="T51" fmla="*/ 1307 h 1477"/>
              <a:gd name="T52" fmla="*/ 705 w 1979"/>
              <a:gd name="T53" fmla="*/ 1371 h 1477"/>
              <a:gd name="T54" fmla="*/ 543 w 1979"/>
              <a:gd name="T55" fmla="*/ 1420 h 1477"/>
              <a:gd name="T56" fmla="*/ 414 w 1979"/>
              <a:gd name="T57" fmla="*/ 1476 h 1477"/>
              <a:gd name="T58" fmla="*/ 389 w 1979"/>
              <a:gd name="T59" fmla="*/ 1379 h 1477"/>
              <a:gd name="T60" fmla="*/ 357 w 1979"/>
              <a:gd name="T61" fmla="*/ 1259 h 1477"/>
              <a:gd name="T62" fmla="*/ 179 w 1979"/>
              <a:gd name="T63" fmla="*/ 1123 h 1477"/>
              <a:gd name="T64" fmla="*/ 146 w 1979"/>
              <a:gd name="T65" fmla="*/ 1083 h 1477"/>
              <a:gd name="T66" fmla="*/ 179 w 1979"/>
              <a:gd name="T67" fmla="*/ 1027 h 1477"/>
              <a:gd name="T68" fmla="*/ 138 w 1979"/>
              <a:gd name="T69" fmla="*/ 946 h 1477"/>
              <a:gd name="T70" fmla="*/ 138 w 1979"/>
              <a:gd name="T71" fmla="*/ 858 h 1477"/>
              <a:gd name="T72" fmla="*/ 211 w 1979"/>
              <a:gd name="T73" fmla="*/ 826 h 1477"/>
              <a:gd name="T74" fmla="*/ 252 w 1979"/>
              <a:gd name="T75" fmla="*/ 722 h 1477"/>
              <a:gd name="T76" fmla="*/ 203 w 1979"/>
              <a:gd name="T77" fmla="*/ 666 h 1477"/>
              <a:gd name="T78" fmla="*/ 122 w 1979"/>
              <a:gd name="T79" fmla="*/ 594 h 1477"/>
              <a:gd name="T80" fmla="*/ 33 w 1979"/>
              <a:gd name="T81" fmla="*/ 505 h 1477"/>
              <a:gd name="T82" fmla="*/ 8 w 1979"/>
              <a:gd name="T83" fmla="*/ 417 h 1477"/>
              <a:gd name="T84" fmla="*/ 57 w 1979"/>
              <a:gd name="T85" fmla="*/ 337 h 1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79" h="1477">
                <a:moveTo>
                  <a:pt x="57" y="305"/>
                </a:moveTo>
                <a:lnTo>
                  <a:pt x="57" y="289"/>
                </a:lnTo>
                <a:cubicBezTo>
                  <a:pt x="114" y="273"/>
                  <a:pt x="162" y="305"/>
                  <a:pt x="187" y="305"/>
                </a:cubicBezTo>
                <a:cubicBezTo>
                  <a:pt x="235" y="313"/>
                  <a:pt x="130" y="369"/>
                  <a:pt x="146" y="369"/>
                </a:cubicBezTo>
                <a:cubicBezTo>
                  <a:pt x="162" y="361"/>
                  <a:pt x="146" y="409"/>
                  <a:pt x="170" y="417"/>
                </a:cubicBezTo>
                <a:cubicBezTo>
                  <a:pt x="211" y="425"/>
                  <a:pt x="243" y="393"/>
                  <a:pt x="292" y="393"/>
                </a:cubicBezTo>
                <a:cubicBezTo>
                  <a:pt x="333" y="385"/>
                  <a:pt x="381" y="409"/>
                  <a:pt x="397" y="393"/>
                </a:cubicBezTo>
                <a:cubicBezTo>
                  <a:pt x="430" y="353"/>
                  <a:pt x="560" y="433"/>
                  <a:pt x="624" y="393"/>
                </a:cubicBezTo>
                <a:cubicBezTo>
                  <a:pt x="665" y="361"/>
                  <a:pt x="827" y="345"/>
                  <a:pt x="884" y="345"/>
                </a:cubicBezTo>
                <a:cubicBezTo>
                  <a:pt x="1030" y="337"/>
                  <a:pt x="1038" y="337"/>
                  <a:pt x="1103" y="297"/>
                </a:cubicBezTo>
                <a:cubicBezTo>
                  <a:pt x="1103" y="297"/>
                  <a:pt x="1143" y="209"/>
                  <a:pt x="1167" y="169"/>
                </a:cubicBezTo>
                <a:cubicBezTo>
                  <a:pt x="1184" y="137"/>
                  <a:pt x="1232" y="120"/>
                  <a:pt x="1281" y="88"/>
                </a:cubicBezTo>
                <a:cubicBezTo>
                  <a:pt x="1321" y="56"/>
                  <a:pt x="1427" y="24"/>
                  <a:pt x="1451" y="16"/>
                </a:cubicBezTo>
                <a:cubicBezTo>
                  <a:pt x="1475" y="16"/>
                  <a:pt x="1646" y="24"/>
                  <a:pt x="1646" y="24"/>
                </a:cubicBezTo>
                <a:lnTo>
                  <a:pt x="1735" y="0"/>
                </a:lnTo>
                <a:cubicBezTo>
                  <a:pt x="1735" y="0"/>
                  <a:pt x="1751" y="64"/>
                  <a:pt x="1775" y="72"/>
                </a:cubicBezTo>
                <a:cubicBezTo>
                  <a:pt x="1848" y="80"/>
                  <a:pt x="1905" y="80"/>
                  <a:pt x="1929" y="64"/>
                </a:cubicBezTo>
                <a:cubicBezTo>
                  <a:pt x="1937" y="64"/>
                  <a:pt x="1937" y="80"/>
                  <a:pt x="1946" y="88"/>
                </a:cubicBezTo>
                <a:cubicBezTo>
                  <a:pt x="1954" y="104"/>
                  <a:pt x="1962" y="137"/>
                  <a:pt x="1962" y="137"/>
                </a:cubicBezTo>
                <a:lnTo>
                  <a:pt x="1954" y="177"/>
                </a:lnTo>
                <a:lnTo>
                  <a:pt x="1946" y="185"/>
                </a:lnTo>
                <a:lnTo>
                  <a:pt x="1905" y="209"/>
                </a:lnTo>
                <a:cubicBezTo>
                  <a:pt x="1905" y="209"/>
                  <a:pt x="1889" y="209"/>
                  <a:pt x="1881" y="217"/>
                </a:cubicBezTo>
                <a:cubicBezTo>
                  <a:pt x="1873" y="217"/>
                  <a:pt x="1856" y="225"/>
                  <a:pt x="1856" y="225"/>
                </a:cubicBezTo>
                <a:cubicBezTo>
                  <a:pt x="1856" y="225"/>
                  <a:pt x="1840" y="241"/>
                  <a:pt x="1840" y="249"/>
                </a:cubicBezTo>
                <a:cubicBezTo>
                  <a:pt x="1832" y="265"/>
                  <a:pt x="1824" y="289"/>
                  <a:pt x="1824" y="289"/>
                </a:cubicBezTo>
                <a:lnTo>
                  <a:pt x="1808" y="329"/>
                </a:lnTo>
                <a:lnTo>
                  <a:pt x="1808" y="385"/>
                </a:lnTo>
                <a:lnTo>
                  <a:pt x="1824" y="449"/>
                </a:lnTo>
                <a:lnTo>
                  <a:pt x="1840" y="521"/>
                </a:lnTo>
                <a:cubicBezTo>
                  <a:pt x="1840" y="521"/>
                  <a:pt x="1816" y="545"/>
                  <a:pt x="1808" y="545"/>
                </a:cubicBezTo>
                <a:lnTo>
                  <a:pt x="1800" y="554"/>
                </a:lnTo>
                <a:lnTo>
                  <a:pt x="1800" y="570"/>
                </a:lnTo>
                <a:lnTo>
                  <a:pt x="1792" y="594"/>
                </a:lnTo>
                <a:lnTo>
                  <a:pt x="1783" y="610"/>
                </a:lnTo>
                <a:cubicBezTo>
                  <a:pt x="1783" y="610"/>
                  <a:pt x="1775" y="626"/>
                  <a:pt x="1767" y="626"/>
                </a:cubicBezTo>
                <a:cubicBezTo>
                  <a:pt x="1759" y="634"/>
                  <a:pt x="1743" y="650"/>
                  <a:pt x="1743" y="650"/>
                </a:cubicBezTo>
                <a:lnTo>
                  <a:pt x="1751" y="666"/>
                </a:lnTo>
                <a:lnTo>
                  <a:pt x="1840" y="682"/>
                </a:lnTo>
                <a:lnTo>
                  <a:pt x="1840" y="698"/>
                </a:lnTo>
                <a:lnTo>
                  <a:pt x="1881" y="738"/>
                </a:lnTo>
                <a:lnTo>
                  <a:pt x="1905" y="778"/>
                </a:lnTo>
                <a:lnTo>
                  <a:pt x="1946" y="794"/>
                </a:lnTo>
                <a:lnTo>
                  <a:pt x="1978" y="818"/>
                </a:lnTo>
                <a:cubicBezTo>
                  <a:pt x="1970" y="826"/>
                  <a:pt x="1929" y="842"/>
                  <a:pt x="1929" y="842"/>
                </a:cubicBezTo>
                <a:lnTo>
                  <a:pt x="1905" y="858"/>
                </a:lnTo>
                <a:cubicBezTo>
                  <a:pt x="1905" y="858"/>
                  <a:pt x="1889" y="858"/>
                  <a:pt x="1873" y="866"/>
                </a:cubicBezTo>
                <a:cubicBezTo>
                  <a:pt x="1864" y="874"/>
                  <a:pt x="1816" y="898"/>
                  <a:pt x="1816" y="898"/>
                </a:cubicBezTo>
                <a:lnTo>
                  <a:pt x="1751" y="858"/>
                </a:lnTo>
                <a:lnTo>
                  <a:pt x="1710" y="850"/>
                </a:lnTo>
                <a:lnTo>
                  <a:pt x="1694" y="874"/>
                </a:lnTo>
                <a:lnTo>
                  <a:pt x="1654" y="882"/>
                </a:lnTo>
                <a:lnTo>
                  <a:pt x="1629" y="922"/>
                </a:lnTo>
                <a:cubicBezTo>
                  <a:pt x="1629" y="922"/>
                  <a:pt x="1573" y="938"/>
                  <a:pt x="1557" y="946"/>
                </a:cubicBezTo>
                <a:cubicBezTo>
                  <a:pt x="1548" y="954"/>
                  <a:pt x="1516" y="979"/>
                  <a:pt x="1516" y="979"/>
                </a:cubicBezTo>
                <a:lnTo>
                  <a:pt x="1524" y="1011"/>
                </a:lnTo>
                <a:lnTo>
                  <a:pt x="1492" y="1035"/>
                </a:lnTo>
                <a:cubicBezTo>
                  <a:pt x="1492" y="1035"/>
                  <a:pt x="1467" y="1043"/>
                  <a:pt x="1459" y="1059"/>
                </a:cubicBezTo>
                <a:cubicBezTo>
                  <a:pt x="1459" y="1075"/>
                  <a:pt x="1467" y="1083"/>
                  <a:pt x="1467" y="1083"/>
                </a:cubicBezTo>
                <a:cubicBezTo>
                  <a:pt x="1451" y="1083"/>
                  <a:pt x="1427" y="1091"/>
                  <a:pt x="1419" y="1099"/>
                </a:cubicBezTo>
                <a:cubicBezTo>
                  <a:pt x="1411" y="1099"/>
                  <a:pt x="1411" y="1115"/>
                  <a:pt x="1419" y="1131"/>
                </a:cubicBezTo>
                <a:cubicBezTo>
                  <a:pt x="1419" y="1139"/>
                  <a:pt x="1435" y="1155"/>
                  <a:pt x="1451" y="1179"/>
                </a:cubicBezTo>
                <a:cubicBezTo>
                  <a:pt x="1459" y="1203"/>
                  <a:pt x="1467" y="1203"/>
                  <a:pt x="1467" y="1211"/>
                </a:cubicBezTo>
                <a:cubicBezTo>
                  <a:pt x="1467" y="1219"/>
                  <a:pt x="1459" y="1243"/>
                  <a:pt x="1451" y="1251"/>
                </a:cubicBezTo>
                <a:cubicBezTo>
                  <a:pt x="1435" y="1267"/>
                  <a:pt x="1419" y="1267"/>
                  <a:pt x="1411" y="1267"/>
                </a:cubicBezTo>
                <a:cubicBezTo>
                  <a:pt x="1403" y="1275"/>
                  <a:pt x="1378" y="1291"/>
                  <a:pt x="1370" y="1291"/>
                </a:cubicBezTo>
                <a:cubicBezTo>
                  <a:pt x="1362" y="1299"/>
                  <a:pt x="1321" y="1307"/>
                  <a:pt x="1313" y="1307"/>
                </a:cubicBezTo>
                <a:cubicBezTo>
                  <a:pt x="1305" y="1307"/>
                  <a:pt x="1257" y="1323"/>
                  <a:pt x="1257" y="1323"/>
                </a:cubicBezTo>
                <a:lnTo>
                  <a:pt x="1216" y="1339"/>
                </a:lnTo>
                <a:lnTo>
                  <a:pt x="1192" y="1355"/>
                </a:lnTo>
                <a:lnTo>
                  <a:pt x="1127" y="1339"/>
                </a:lnTo>
                <a:lnTo>
                  <a:pt x="1046" y="1315"/>
                </a:lnTo>
                <a:cubicBezTo>
                  <a:pt x="1046" y="1315"/>
                  <a:pt x="1005" y="1347"/>
                  <a:pt x="997" y="1347"/>
                </a:cubicBezTo>
                <a:cubicBezTo>
                  <a:pt x="989" y="1347"/>
                  <a:pt x="940" y="1315"/>
                  <a:pt x="940" y="1315"/>
                </a:cubicBezTo>
                <a:lnTo>
                  <a:pt x="916" y="1275"/>
                </a:lnTo>
                <a:cubicBezTo>
                  <a:pt x="916" y="1275"/>
                  <a:pt x="868" y="1283"/>
                  <a:pt x="859" y="1283"/>
                </a:cubicBezTo>
                <a:cubicBezTo>
                  <a:pt x="851" y="1283"/>
                  <a:pt x="843" y="1299"/>
                  <a:pt x="843" y="1307"/>
                </a:cubicBezTo>
                <a:lnTo>
                  <a:pt x="803" y="1307"/>
                </a:lnTo>
                <a:cubicBezTo>
                  <a:pt x="778" y="1307"/>
                  <a:pt x="762" y="1323"/>
                  <a:pt x="762" y="1323"/>
                </a:cubicBezTo>
                <a:lnTo>
                  <a:pt x="746" y="1355"/>
                </a:lnTo>
                <a:lnTo>
                  <a:pt x="705" y="1371"/>
                </a:lnTo>
                <a:cubicBezTo>
                  <a:pt x="697" y="1379"/>
                  <a:pt x="624" y="1403"/>
                  <a:pt x="624" y="1403"/>
                </a:cubicBezTo>
                <a:lnTo>
                  <a:pt x="568" y="1420"/>
                </a:lnTo>
                <a:cubicBezTo>
                  <a:pt x="568" y="1420"/>
                  <a:pt x="551" y="1428"/>
                  <a:pt x="543" y="1420"/>
                </a:cubicBezTo>
                <a:cubicBezTo>
                  <a:pt x="535" y="1420"/>
                  <a:pt x="511" y="1444"/>
                  <a:pt x="511" y="1444"/>
                </a:cubicBezTo>
                <a:lnTo>
                  <a:pt x="462" y="1476"/>
                </a:lnTo>
                <a:lnTo>
                  <a:pt x="414" y="1476"/>
                </a:lnTo>
                <a:lnTo>
                  <a:pt x="414" y="1460"/>
                </a:lnTo>
                <a:cubicBezTo>
                  <a:pt x="414" y="1452"/>
                  <a:pt x="406" y="1444"/>
                  <a:pt x="406" y="1428"/>
                </a:cubicBezTo>
                <a:cubicBezTo>
                  <a:pt x="397" y="1412"/>
                  <a:pt x="389" y="1395"/>
                  <a:pt x="389" y="1379"/>
                </a:cubicBezTo>
                <a:cubicBezTo>
                  <a:pt x="389" y="1371"/>
                  <a:pt x="397" y="1363"/>
                  <a:pt x="397" y="1355"/>
                </a:cubicBezTo>
                <a:cubicBezTo>
                  <a:pt x="406" y="1347"/>
                  <a:pt x="406" y="1339"/>
                  <a:pt x="406" y="1323"/>
                </a:cubicBezTo>
                <a:cubicBezTo>
                  <a:pt x="397" y="1291"/>
                  <a:pt x="365" y="1291"/>
                  <a:pt x="357" y="1259"/>
                </a:cubicBezTo>
                <a:cubicBezTo>
                  <a:pt x="349" y="1235"/>
                  <a:pt x="316" y="1211"/>
                  <a:pt x="316" y="1203"/>
                </a:cubicBezTo>
                <a:cubicBezTo>
                  <a:pt x="260" y="1171"/>
                  <a:pt x="227" y="1179"/>
                  <a:pt x="195" y="1147"/>
                </a:cubicBezTo>
                <a:cubicBezTo>
                  <a:pt x="187" y="1139"/>
                  <a:pt x="179" y="1131"/>
                  <a:pt x="179" y="1123"/>
                </a:cubicBezTo>
                <a:lnTo>
                  <a:pt x="187" y="1115"/>
                </a:lnTo>
                <a:cubicBezTo>
                  <a:pt x="187" y="1115"/>
                  <a:pt x="179" y="1115"/>
                  <a:pt x="170" y="1107"/>
                </a:cubicBezTo>
                <a:cubicBezTo>
                  <a:pt x="162" y="1099"/>
                  <a:pt x="154" y="1091"/>
                  <a:pt x="146" y="1083"/>
                </a:cubicBezTo>
                <a:cubicBezTo>
                  <a:pt x="154" y="1083"/>
                  <a:pt x="162" y="1067"/>
                  <a:pt x="162" y="1067"/>
                </a:cubicBezTo>
                <a:lnTo>
                  <a:pt x="170" y="1043"/>
                </a:lnTo>
                <a:lnTo>
                  <a:pt x="179" y="1027"/>
                </a:lnTo>
                <a:cubicBezTo>
                  <a:pt x="179" y="1027"/>
                  <a:pt x="170" y="1003"/>
                  <a:pt x="162" y="1003"/>
                </a:cubicBezTo>
                <a:cubicBezTo>
                  <a:pt x="162" y="995"/>
                  <a:pt x="138" y="987"/>
                  <a:pt x="138" y="987"/>
                </a:cubicBezTo>
                <a:lnTo>
                  <a:pt x="138" y="946"/>
                </a:lnTo>
                <a:lnTo>
                  <a:pt x="130" y="906"/>
                </a:lnTo>
                <a:lnTo>
                  <a:pt x="114" y="882"/>
                </a:lnTo>
                <a:cubicBezTo>
                  <a:pt x="114" y="882"/>
                  <a:pt x="130" y="866"/>
                  <a:pt x="138" y="858"/>
                </a:cubicBezTo>
                <a:cubicBezTo>
                  <a:pt x="138" y="858"/>
                  <a:pt x="146" y="850"/>
                  <a:pt x="154" y="850"/>
                </a:cubicBezTo>
                <a:cubicBezTo>
                  <a:pt x="162" y="842"/>
                  <a:pt x="179" y="842"/>
                  <a:pt x="187" y="842"/>
                </a:cubicBezTo>
                <a:cubicBezTo>
                  <a:pt x="195" y="842"/>
                  <a:pt x="211" y="826"/>
                  <a:pt x="211" y="826"/>
                </a:cubicBezTo>
                <a:cubicBezTo>
                  <a:pt x="211" y="826"/>
                  <a:pt x="211" y="802"/>
                  <a:pt x="203" y="794"/>
                </a:cubicBezTo>
                <a:cubicBezTo>
                  <a:pt x="203" y="778"/>
                  <a:pt x="219" y="762"/>
                  <a:pt x="219" y="762"/>
                </a:cubicBezTo>
                <a:cubicBezTo>
                  <a:pt x="219" y="762"/>
                  <a:pt x="243" y="730"/>
                  <a:pt x="252" y="722"/>
                </a:cubicBezTo>
                <a:cubicBezTo>
                  <a:pt x="260" y="714"/>
                  <a:pt x="268" y="674"/>
                  <a:pt x="268" y="674"/>
                </a:cubicBezTo>
                <a:lnTo>
                  <a:pt x="235" y="674"/>
                </a:lnTo>
                <a:lnTo>
                  <a:pt x="203" y="666"/>
                </a:lnTo>
                <a:lnTo>
                  <a:pt x="170" y="618"/>
                </a:lnTo>
                <a:cubicBezTo>
                  <a:pt x="170" y="610"/>
                  <a:pt x="154" y="610"/>
                  <a:pt x="154" y="610"/>
                </a:cubicBezTo>
                <a:lnTo>
                  <a:pt x="122" y="594"/>
                </a:lnTo>
                <a:cubicBezTo>
                  <a:pt x="114" y="594"/>
                  <a:pt x="89" y="586"/>
                  <a:pt x="89" y="586"/>
                </a:cubicBezTo>
                <a:cubicBezTo>
                  <a:pt x="89" y="586"/>
                  <a:pt x="57" y="545"/>
                  <a:pt x="49" y="529"/>
                </a:cubicBezTo>
                <a:cubicBezTo>
                  <a:pt x="41" y="513"/>
                  <a:pt x="33" y="505"/>
                  <a:pt x="33" y="505"/>
                </a:cubicBezTo>
                <a:cubicBezTo>
                  <a:pt x="33" y="505"/>
                  <a:pt x="25" y="489"/>
                  <a:pt x="16" y="481"/>
                </a:cubicBezTo>
                <a:cubicBezTo>
                  <a:pt x="8" y="473"/>
                  <a:pt x="8" y="457"/>
                  <a:pt x="8" y="457"/>
                </a:cubicBezTo>
                <a:cubicBezTo>
                  <a:pt x="8" y="457"/>
                  <a:pt x="16" y="433"/>
                  <a:pt x="8" y="417"/>
                </a:cubicBezTo>
                <a:cubicBezTo>
                  <a:pt x="8" y="409"/>
                  <a:pt x="0" y="377"/>
                  <a:pt x="8" y="377"/>
                </a:cubicBezTo>
                <a:cubicBezTo>
                  <a:pt x="16" y="361"/>
                  <a:pt x="25" y="345"/>
                  <a:pt x="41" y="337"/>
                </a:cubicBezTo>
                <a:lnTo>
                  <a:pt x="57" y="337"/>
                </a:lnTo>
                <a:cubicBezTo>
                  <a:pt x="65" y="337"/>
                  <a:pt x="57" y="313"/>
                  <a:pt x="57" y="313"/>
                </a:cubicBezTo>
                <a:lnTo>
                  <a:pt x="57" y="305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12" name="Freeform 104">
            <a:extLst>
              <a:ext uri="{FF2B5EF4-FFF2-40B4-BE49-F238E27FC236}">
                <a16:creationId xmlns:a16="http://schemas.microsoft.com/office/drawing/2014/main" id="{FD4359EB-9D20-7E87-B20F-A68D69567445}"/>
              </a:ext>
            </a:extLst>
          </p:cNvPr>
          <p:cNvSpPr>
            <a:spLocks noChangeArrowheads="1"/>
          </p:cNvSpPr>
          <p:nvPr>
            <p:custDataLst>
              <p:tags r:id="rId104"/>
            </p:custDataLst>
          </p:nvPr>
        </p:nvSpPr>
        <p:spPr bwMode="auto">
          <a:xfrm>
            <a:off x="7043848" y="4138630"/>
            <a:ext cx="941833" cy="450994"/>
          </a:xfrm>
          <a:custGeom>
            <a:avLst/>
            <a:gdLst>
              <a:gd name="T0" fmla="*/ 8 w 2292"/>
              <a:gd name="T1" fmla="*/ 867 h 1100"/>
              <a:gd name="T2" fmla="*/ 1544 w 2292"/>
              <a:gd name="T3" fmla="*/ 139 h 1100"/>
              <a:gd name="T4" fmla="*/ 1610 w 2292"/>
              <a:gd name="T5" fmla="*/ 31 h 1100"/>
              <a:gd name="T6" fmla="*/ 1716 w 2292"/>
              <a:gd name="T7" fmla="*/ 23 h 1100"/>
              <a:gd name="T8" fmla="*/ 1855 w 2292"/>
              <a:gd name="T9" fmla="*/ 47 h 1100"/>
              <a:gd name="T10" fmla="*/ 2044 w 2292"/>
              <a:gd name="T11" fmla="*/ 62 h 1100"/>
              <a:gd name="T12" fmla="*/ 2192 w 2292"/>
              <a:gd name="T13" fmla="*/ 124 h 1100"/>
              <a:gd name="T14" fmla="*/ 2209 w 2292"/>
              <a:gd name="T15" fmla="*/ 163 h 1100"/>
              <a:gd name="T16" fmla="*/ 2184 w 2292"/>
              <a:gd name="T17" fmla="*/ 225 h 1100"/>
              <a:gd name="T18" fmla="*/ 2217 w 2292"/>
              <a:gd name="T19" fmla="*/ 279 h 1100"/>
              <a:gd name="T20" fmla="*/ 2274 w 2292"/>
              <a:gd name="T21" fmla="*/ 333 h 1100"/>
              <a:gd name="T22" fmla="*/ 2266 w 2292"/>
              <a:gd name="T23" fmla="*/ 503 h 1100"/>
              <a:gd name="T24" fmla="*/ 2126 w 2292"/>
              <a:gd name="T25" fmla="*/ 488 h 1100"/>
              <a:gd name="T26" fmla="*/ 2143 w 2292"/>
              <a:gd name="T27" fmla="*/ 542 h 1100"/>
              <a:gd name="T28" fmla="*/ 2085 w 2292"/>
              <a:gd name="T29" fmla="*/ 658 h 1100"/>
              <a:gd name="T30" fmla="*/ 2094 w 2292"/>
              <a:gd name="T31" fmla="*/ 805 h 1100"/>
              <a:gd name="T32" fmla="*/ 1995 w 2292"/>
              <a:gd name="T33" fmla="*/ 921 h 1100"/>
              <a:gd name="T34" fmla="*/ 1888 w 2292"/>
              <a:gd name="T35" fmla="*/ 960 h 1100"/>
              <a:gd name="T36" fmla="*/ 1691 w 2292"/>
              <a:gd name="T37" fmla="*/ 991 h 1100"/>
              <a:gd name="T38" fmla="*/ 1610 w 2292"/>
              <a:gd name="T39" fmla="*/ 1060 h 1100"/>
              <a:gd name="T40" fmla="*/ 1479 w 2292"/>
              <a:gd name="T41" fmla="*/ 1099 h 1100"/>
              <a:gd name="T42" fmla="*/ 1199 w 2292"/>
              <a:gd name="T43" fmla="*/ 1068 h 1100"/>
              <a:gd name="T44" fmla="*/ 895 w 2292"/>
              <a:gd name="T45" fmla="*/ 1022 h 1100"/>
              <a:gd name="T46" fmla="*/ 838 w 2292"/>
              <a:gd name="T47" fmla="*/ 921 h 1100"/>
              <a:gd name="T48" fmla="*/ 772 w 2292"/>
              <a:gd name="T49" fmla="*/ 867 h 1100"/>
              <a:gd name="T50" fmla="*/ 567 w 2292"/>
              <a:gd name="T51" fmla="*/ 898 h 1100"/>
              <a:gd name="T52" fmla="*/ 468 w 2292"/>
              <a:gd name="T53" fmla="*/ 998 h 1100"/>
              <a:gd name="T54" fmla="*/ 321 w 2292"/>
              <a:gd name="T55" fmla="*/ 975 h 1100"/>
              <a:gd name="T56" fmla="*/ 321 w 2292"/>
              <a:gd name="T57" fmla="*/ 929 h 1100"/>
              <a:gd name="T58" fmla="*/ 279 w 2292"/>
              <a:gd name="T59" fmla="*/ 905 h 1100"/>
              <a:gd name="T60" fmla="*/ 247 w 2292"/>
              <a:gd name="T61" fmla="*/ 944 h 1100"/>
              <a:gd name="T62" fmla="*/ 197 w 2292"/>
              <a:gd name="T63" fmla="*/ 960 h 1100"/>
              <a:gd name="T64" fmla="*/ 140 w 2292"/>
              <a:gd name="T65" fmla="*/ 929 h 1100"/>
              <a:gd name="T66" fmla="*/ 66 w 2292"/>
              <a:gd name="T67" fmla="*/ 882 h 1100"/>
              <a:gd name="T68" fmla="*/ 17 w 2292"/>
              <a:gd name="T69" fmla="*/ 882 h 1100"/>
              <a:gd name="T70" fmla="*/ 41 w 2292"/>
              <a:gd name="T71" fmla="*/ 875 h 1100"/>
              <a:gd name="T72" fmla="*/ 41 w 2292"/>
              <a:gd name="T73" fmla="*/ 859 h 1100"/>
              <a:gd name="T74" fmla="*/ 25 w 2292"/>
              <a:gd name="T75" fmla="*/ 851 h 1100"/>
              <a:gd name="T76" fmla="*/ 17 w 2292"/>
              <a:gd name="T77" fmla="*/ 828 h 1100"/>
              <a:gd name="T78" fmla="*/ 17 w 2292"/>
              <a:gd name="T79" fmla="*/ 805 h 1100"/>
              <a:gd name="T80" fmla="*/ 58 w 2292"/>
              <a:gd name="T81" fmla="*/ 751 h 1100"/>
              <a:gd name="T82" fmla="*/ 50 w 2292"/>
              <a:gd name="T83" fmla="*/ 704 h 1100"/>
              <a:gd name="T84" fmla="*/ 148 w 2292"/>
              <a:gd name="T85" fmla="*/ 697 h 1100"/>
              <a:gd name="T86" fmla="*/ 189 w 2292"/>
              <a:gd name="T87" fmla="*/ 758 h 1100"/>
              <a:gd name="T88" fmla="*/ 255 w 2292"/>
              <a:gd name="T89" fmla="*/ 797 h 1100"/>
              <a:gd name="T90" fmla="*/ 288 w 2292"/>
              <a:gd name="T91" fmla="*/ 720 h 1100"/>
              <a:gd name="T92" fmla="*/ 337 w 2292"/>
              <a:gd name="T93" fmla="*/ 673 h 1100"/>
              <a:gd name="T94" fmla="*/ 444 w 2292"/>
              <a:gd name="T95" fmla="*/ 704 h 1100"/>
              <a:gd name="T96" fmla="*/ 518 w 2292"/>
              <a:gd name="T97" fmla="*/ 720 h 1100"/>
              <a:gd name="T98" fmla="*/ 633 w 2292"/>
              <a:gd name="T99" fmla="*/ 681 h 1100"/>
              <a:gd name="T100" fmla="*/ 739 w 2292"/>
              <a:gd name="T101" fmla="*/ 635 h 1100"/>
              <a:gd name="T102" fmla="*/ 846 w 2292"/>
              <a:gd name="T103" fmla="*/ 596 h 1100"/>
              <a:gd name="T104" fmla="*/ 945 w 2292"/>
              <a:gd name="T105" fmla="*/ 604 h 1100"/>
              <a:gd name="T106" fmla="*/ 1010 w 2292"/>
              <a:gd name="T107" fmla="*/ 658 h 1100"/>
              <a:gd name="T108" fmla="*/ 1076 w 2292"/>
              <a:gd name="T109" fmla="*/ 596 h 1100"/>
              <a:gd name="T110" fmla="*/ 1019 w 2292"/>
              <a:gd name="T111" fmla="*/ 557 h 1100"/>
              <a:gd name="T112" fmla="*/ 986 w 2292"/>
              <a:gd name="T113" fmla="*/ 457 h 1100"/>
              <a:gd name="T114" fmla="*/ 1043 w 2292"/>
              <a:gd name="T115" fmla="*/ 372 h 1100"/>
              <a:gd name="T116" fmla="*/ 1117 w 2292"/>
              <a:gd name="T117" fmla="*/ 333 h 1100"/>
              <a:gd name="T118" fmla="*/ 1166 w 2292"/>
              <a:gd name="T119" fmla="*/ 217 h 1100"/>
              <a:gd name="T120" fmla="*/ 1265 w 2292"/>
              <a:gd name="T121" fmla="*/ 209 h 1100"/>
              <a:gd name="T122" fmla="*/ 1314 w 2292"/>
              <a:gd name="T123" fmla="*/ 155 h 1100"/>
              <a:gd name="T124" fmla="*/ 1446 w 2292"/>
              <a:gd name="T125" fmla="*/ 186 h 1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92" h="1100">
                <a:moveTo>
                  <a:pt x="8" y="882"/>
                </a:moveTo>
                <a:lnTo>
                  <a:pt x="8" y="875"/>
                </a:lnTo>
                <a:cubicBezTo>
                  <a:pt x="8" y="875"/>
                  <a:pt x="17" y="875"/>
                  <a:pt x="17" y="867"/>
                </a:cubicBezTo>
                <a:lnTo>
                  <a:pt x="8" y="867"/>
                </a:lnTo>
                <a:lnTo>
                  <a:pt x="0" y="882"/>
                </a:lnTo>
                <a:lnTo>
                  <a:pt x="8" y="882"/>
                </a:lnTo>
                <a:close/>
                <a:moveTo>
                  <a:pt x="1536" y="186"/>
                </a:moveTo>
                <a:cubicBezTo>
                  <a:pt x="1536" y="186"/>
                  <a:pt x="1536" y="139"/>
                  <a:pt x="1544" y="139"/>
                </a:cubicBezTo>
                <a:cubicBezTo>
                  <a:pt x="1552" y="139"/>
                  <a:pt x="1569" y="116"/>
                  <a:pt x="1569" y="116"/>
                </a:cubicBezTo>
                <a:lnTo>
                  <a:pt x="1594" y="108"/>
                </a:lnTo>
                <a:cubicBezTo>
                  <a:pt x="1594" y="108"/>
                  <a:pt x="1610" y="93"/>
                  <a:pt x="1610" y="78"/>
                </a:cubicBezTo>
                <a:cubicBezTo>
                  <a:pt x="1602" y="70"/>
                  <a:pt x="1610" y="31"/>
                  <a:pt x="1610" y="31"/>
                </a:cubicBezTo>
                <a:cubicBezTo>
                  <a:pt x="1610" y="31"/>
                  <a:pt x="1602" y="8"/>
                  <a:pt x="1610" y="8"/>
                </a:cubicBezTo>
                <a:cubicBezTo>
                  <a:pt x="1626" y="0"/>
                  <a:pt x="1651" y="16"/>
                  <a:pt x="1651" y="16"/>
                </a:cubicBezTo>
                <a:lnTo>
                  <a:pt x="1691" y="23"/>
                </a:lnTo>
                <a:lnTo>
                  <a:pt x="1716" y="23"/>
                </a:lnTo>
                <a:cubicBezTo>
                  <a:pt x="1724" y="23"/>
                  <a:pt x="1757" y="31"/>
                  <a:pt x="1757" y="31"/>
                </a:cubicBezTo>
                <a:cubicBezTo>
                  <a:pt x="1757" y="31"/>
                  <a:pt x="1790" y="39"/>
                  <a:pt x="1798" y="39"/>
                </a:cubicBezTo>
                <a:lnTo>
                  <a:pt x="1839" y="39"/>
                </a:lnTo>
                <a:lnTo>
                  <a:pt x="1855" y="47"/>
                </a:lnTo>
                <a:lnTo>
                  <a:pt x="1913" y="70"/>
                </a:lnTo>
                <a:lnTo>
                  <a:pt x="1946" y="85"/>
                </a:lnTo>
                <a:lnTo>
                  <a:pt x="2036" y="93"/>
                </a:lnTo>
                <a:lnTo>
                  <a:pt x="2044" y="62"/>
                </a:lnTo>
                <a:cubicBezTo>
                  <a:pt x="2044" y="62"/>
                  <a:pt x="2077" y="54"/>
                  <a:pt x="2077" y="62"/>
                </a:cubicBezTo>
                <a:cubicBezTo>
                  <a:pt x="2085" y="62"/>
                  <a:pt x="2102" y="78"/>
                  <a:pt x="2126" y="85"/>
                </a:cubicBezTo>
                <a:cubicBezTo>
                  <a:pt x="2151" y="85"/>
                  <a:pt x="2176" y="78"/>
                  <a:pt x="2176" y="78"/>
                </a:cubicBezTo>
                <a:lnTo>
                  <a:pt x="2192" y="124"/>
                </a:lnTo>
                <a:lnTo>
                  <a:pt x="2209" y="132"/>
                </a:lnTo>
                <a:lnTo>
                  <a:pt x="2200" y="132"/>
                </a:lnTo>
                <a:lnTo>
                  <a:pt x="2200" y="155"/>
                </a:lnTo>
                <a:lnTo>
                  <a:pt x="2209" y="163"/>
                </a:lnTo>
                <a:lnTo>
                  <a:pt x="2200" y="178"/>
                </a:lnTo>
                <a:lnTo>
                  <a:pt x="2200" y="194"/>
                </a:lnTo>
                <a:lnTo>
                  <a:pt x="2184" y="209"/>
                </a:lnTo>
                <a:lnTo>
                  <a:pt x="2184" y="225"/>
                </a:lnTo>
                <a:lnTo>
                  <a:pt x="2184" y="248"/>
                </a:lnTo>
                <a:cubicBezTo>
                  <a:pt x="2184" y="248"/>
                  <a:pt x="2192" y="256"/>
                  <a:pt x="2200" y="256"/>
                </a:cubicBezTo>
                <a:lnTo>
                  <a:pt x="2200" y="263"/>
                </a:lnTo>
                <a:cubicBezTo>
                  <a:pt x="2200" y="263"/>
                  <a:pt x="2209" y="271"/>
                  <a:pt x="2217" y="279"/>
                </a:cubicBezTo>
                <a:cubicBezTo>
                  <a:pt x="2217" y="279"/>
                  <a:pt x="2225" y="294"/>
                  <a:pt x="2225" y="302"/>
                </a:cubicBezTo>
                <a:cubicBezTo>
                  <a:pt x="2233" y="310"/>
                  <a:pt x="2233" y="317"/>
                  <a:pt x="2233" y="317"/>
                </a:cubicBezTo>
                <a:cubicBezTo>
                  <a:pt x="2233" y="317"/>
                  <a:pt x="2241" y="333"/>
                  <a:pt x="2250" y="333"/>
                </a:cubicBezTo>
                <a:lnTo>
                  <a:pt x="2274" y="333"/>
                </a:lnTo>
                <a:cubicBezTo>
                  <a:pt x="2274" y="341"/>
                  <a:pt x="2266" y="387"/>
                  <a:pt x="2266" y="387"/>
                </a:cubicBezTo>
                <a:lnTo>
                  <a:pt x="2274" y="434"/>
                </a:lnTo>
                <a:cubicBezTo>
                  <a:pt x="2274" y="434"/>
                  <a:pt x="2266" y="457"/>
                  <a:pt x="2266" y="464"/>
                </a:cubicBezTo>
                <a:cubicBezTo>
                  <a:pt x="2274" y="480"/>
                  <a:pt x="2291" y="495"/>
                  <a:pt x="2266" y="503"/>
                </a:cubicBezTo>
                <a:cubicBezTo>
                  <a:pt x="2250" y="503"/>
                  <a:pt x="2225" y="519"/>
                  <a:pt x="2217" y="503"/>
                </a:cubicBezTo>
                <a:cubicBezTo>
                  <a:pt x="2217" y="503"/>
                  <a:pt x="2209" y="488"/>
                  <a:pt x="2209" y="511"/>
                </a:cubicBezTo>
                <a:cubicBezTo>
                  <a:pt x="2217" y="519"/>
                  <a:pt x="2192" y="511"/>
                  <a:pt x="2192" y="511"/>
                </a:cubicBezTo>
                <a:lnTo>
                  <a:pt x="2126" y="488"/>
                </a:lnTo>
                <a:lnTo>
                  <a:pt x="2110" y="503"/>
                </a:lnTo>
                <a:lnTo>
                  <a:pt x="2077" y="526"/>
                </a:lnTo>
                <a:lnTo>
                  <a:pt x="2126" y="542"/>
                </a:lnTo>
                <a:lnTo>
                  <a:pt x="2143" y="542"/>
                </a:lnTo>
                <a:lnTo>
                  <a:pt x="2184" y="604"/>
                </a:lnTo>
                <a:lnTo>
                  <a:pt x="2135" y="635"/>
                </a:lnTo>
                <a:cubicBezTo>
                  <a:pt x="2135" y="635"/>
                  <a:pt x="2110" y="650"/>
                  <a:pt x="2102" y="650"/>
                </a:cubicBezTo>
                <a:cubicBezTo>
                  <a:pt x="2094" y="650"/>
                  <a:pt x="2085" y="658"/>
                  <a:pt x="2085" y="658"/>
                </a:cubicBezTo>
                <a:lnTo>
                  <a:pt x="2110" y="704"/>
                </a:lnTo>
                <a:lnTo>
                  <a:pt x="2110" y="720"/>
                </a:lnTo>
                <a:lnTo>
                  <a:pt x="2118" y="766"/>
                </a:lnTo>
                <a:lnTo>
                  <a:pt x="2094" y="805"/>
                </a:lnTo>
                <a:lnTo>
                  <a:pt x="2069" y="813"/>
                </a:lnTo>
                <a:lnTo>
                  <a:pt x="2044" y="867"/>
                </a:lnTo>
                <a:lnTo>
                  <a:pt x="2003" y="890"/>
                </a:lnTo>
                <a:lnTo>
                  <a:pt x="1995" y="921"/>
                </a:lnTo>
                <a:lnTo>
                  <a:pt x="2003" y="967"/>
                </a:lnTo>
                <a:lnTo>
                  <a:pt x="1954" y="936"/>
                </a:lnTo>
                <a:lnTo>
                  <a:pt x="1913" y="952"/>
                </a:lnTo>
                <a:lnTo>
                  <a:pt x="1888" y="960"/>
                </a:lnTo>
                <a:lnTo>
                  <a:pt x="1839" y="991"/>
                </a:lnTo>
                <a:lnTo>
                  <a:pt x="1798" y="975"/>
                </a:lnTo>
                <a:lnTo>
                  <a:pt x="1740" y="991"/>
                </a:lnTo>
                <a:lnTo>
                  <a:pt x="1691" y="991"/>
                </a:lnTo>
                <a:lnTo>
                  <a:pt x="1667" y="1006"/>
                </a:lnTo>
                <a:lnTo>
                  <a:pt x="1651" y="1037"/>
                </a:lnTo>
                <a:lnTo>
                  <a:pt x="1643" y="1053"/>
                </a:lnTo>
                <a:lnTo>
                  <a:pt x="1610" y="1060"/>
                </a:lnTo>
                <a:lnTo>
                  <a:pt x="1594" y="1083"/>
                </a:lnTo>
                <a:lnTo>
                  <a:pt x="1569" y="1099"/>
                </a:lnTo>
                <a:lnTo>
                  <a:pt x="1553" y="1099"/>
                </a:lnTo>
                <a:lnTo>
                  <a:pt x="1479" y="1099"/>
                </a:lnTo>
                <a:lnTo>
                  <a:pt x="1396" y="1091"/>
                </a:lnTo>
                <a:lnTo>
                  <a:pt x="1323" y="1068"/>
                </a:lnTo>
                <a:lnTo>
                  <a:pt x="1265" y="1076"/>
                </a:lnTo>
                <a:cubicBezTo>
                  <a:pt x="1265" y="1076"/>
                  <a:pt x="1224" y="1068"/>
                  <a:pt x="1199" y="1068"/>
                </a:cubicBezTo>
                <a:cubicBezTo>
                  <a:pt x="1167" y="1068"/>
                  <a:pt x="1101" y="1053"/>
                  <a:pt x="1101" y="1053"/>
                </a:cubicBezTo>
                <a:lnTo>
                  <a:pt x="1019" y="1029"/>
                </a:lnTo>
                <a:lnTo>
                  <a:pt x="969" y="1029"/>
                </a:lnTo>
                <a:lnTo>
                  <a:pt x="895" y="1022"/>
                </a:lnTo>
                <a:cubicBezTo>
                  <a:pt x="895" y="1022"/>
                  <a:pt x="887" y="1006"/>
                  <a:pt x="879" y="998"/>
                </a:cubicBezTo>
                <a:cubicBezTo>
                  <a:pt x="879" y="991"/>
                  <a:pt x="854" y="975"/>
                  <a:pt x="854" y="975"/>
                </a:cubicBezTo>
                <a:lnTo>
                  <a:pt x="854" y="960"/>
                </a:lnTo>
                <a:lnTo>
                  <a:pt x="838" y="921"/>
                </a:lnTo>
                <a:lnTo>
                  <a:pt x="822" y="890"/>
                </a:lnTo>
                <a:lnTo>
                  <a:pt x="838" y="867"/>
                </a:lnTo>
                <a:lnTo>
                  <a:pt x="822" y="859"/>
                </a:lnTo>
                <a:cubicBezTo>
                  <a:pt x="822" y="859"/>
                  <a:pt x="789" y="867"/>
                  <a:pt x="772" y="867"/>
                </a:cubicBezTo>
                <a:cubicBezTo>
                  <a:pt x="764" y="875"/>
                  <a:pt x="715" y="882"/>
                  <a:pt x="715" y="882"/>
                </a:cubicBezTo>
                <a:lnTo>
                  <a:pt x="698" y="890"/>
                </a:lnTo>
                <a:lnTo>
                  <a:pt x="633" y="890"/>
                </a:lnTo>
                <a:lnTo>
                  <a:pt x="567" y="898"/>
                </a:lnTo>
                <a:lnTo>
                  <a:pt x="542" y="913"/>
                </a:lnTo>
                <a:lnTo>
                  <a:pt x="493" y="936"/>
                </a:lnTo>
                <a:lnTo>
                  <a:pt x="493" y="967"/>
                </a:lnTo>
                <a:lnTo>
                  <a:pt x="468" y="998"/>
                </a:lnTo>
                <a:lnTo>
                  <a:pt x="427" y="998"/>
                </a:lnTo>
                <a:lnTo>
                  <a:pt x="386" y="967"/>
                </a:lnTo>
                <a:lnTo>
                  <a:pt x="370" y="983"/>
                </a:lnTo>
                <a:lnTo>
                  <a:pt x="321" y="975"/>
                </a:lnTo>
                <a:lnTo>
                  <a:pt x="312" y="983"/>
                </a:lnTo>
                <a:lnTo>
                  <a:pt x="312" y="975"/>
                </a:lnTo>
                <a:cubicBezTo>
                  <a:pt x="312" y="967"/>
                  <a:pt x="321" y="944"/>
                  <a:pt x="321" y="944"/>
                </a:cubicBezTo>
                <a:lnTo>
                  <a:pt x="321" y="929"/>
                </a:lnTo>
                <a:lnTo>
                  <a:pt x="312" y="921"/>
                </a:lnTo>
                <a:lnTo>
                  <a:pt x="304" y="913"/>
                </a:lnTo>
                <a:lnTo>
                  <a:pt x="296" y="898"/>
                </a:lnTo>
                <a:cubicBezTo>
                  <a:pt x="288" y="905"/>
                  <a:pt x="279" y="905"/>
                  <a:pt x="279" y="905"/>
                </a:cubicBezTo>
                <a:lnTo>
                  <a:pt x="279" y="921"/>
                </a:lnTo>
                <a:cubicBezTo>
                  <a:pt x="271" y="929"/>
                  <a:pt x="263" y="929"/>
                  <a:pt x="263" y="929"/>
                </a:cubicBezTo>
                <a:lnTo>
                  <a:pt x="255" y="929"/>
                </a:lnTo>
                <a:lnTo>
                  <a:pt x="247" y="944"/>
                </a:lnTo>
                <a:lnTo>
                  <a:pt x="238" y="952"/>
                </a:lnTo>
                <a:cubicBezTo>
                  <a:pt x="238" y="952"/>
                  <a:pt x="230" y="952"/>
                  <a:pt x="230" y="960"/>
                </a:cubicBezTo>
                <a:lnTo>
                  <a:pt x="214" y="960"/>
                </a:lnTo>
                <a:lnTo>
                  <a:pt x="197" y="960"/>
                </a:lnTo>
                <a:lnTo>
                  <a:pt x="189" y="952"/>
                </a:lnTo>
                <a:lnTo>
                  <a:pt x="165" y="944"/>
                </a:lnTo>
                <a:lnTo>
                  <a:pt x="148" y="936"/>
                </a:lnTo>
                <a:lnTo>
                  <a:pt x="140" y="929"/>
                </a:lnTo>
                <a:lnTo>
                  <a:pt x="140" y="913"/>
                </a:lnTo>
                <a:lnTo>
                  <a:pt x="123" y="898"/>
                </a:lnTo>
                <a:lnTo>
                  <a:pt x="91" y="890"/>
                </a:lnTo>
                <a:lnTo>
                  <a:pt x="66" y="882"/>
                </a:lnTo>
                <a:lnTo>
                  <a:pt x="50" y="882"/>
                </a:lnTo>
                <a:lnTo>
                  <a:pt x="17" y="882"/>
                </a:lnTo>
                <a:lnTo>
                  <a:pt x="8" y="882"/>
                </a:lnTo>
                <a:lnTo>
                  <a:pt x="17" y="882"/>
                </a:lnTo>
                <a:lnTo>
                  <a:pt x="17" y="875"/>
                </a:lnTo>
                <a:lnTo>
                  <a:pt x="25" y="882"/>
                </a:lnTo>
                <a:lnTo>
                  <a:pt x="33" y="875"/>
                </a:lnTo>
                <a:lnTo>
                  <a:pt x="41" y="875"/>
                </a:lnTo>
                <a:lnTo>
                  <a:pt x="41" y="867"/>
                </a:lnTo>
                <a:lnTo>
                  <a:pt x="33" y="867"/>
                </a:lnTo>
                <a:lnTo>
                  <a:pt x="33" y="859"/>
                </a:lnTo>
                <a:lnTo>
                  <a:pt x="41" y="859"/>
                </a:lnTo>
                <a:lnTo>
                  <a:pt x="33" y="859"/>
                </a:lnTo>
                <a:cubicBezTo>
                  <a:pt x="33" y="851"/>
                  <a:pt x="33" y="859"/>
                  <a:pt x="33" y="859"/>
                </a:cubicBezTo>
                <a:lnTo>
                  <a:pt x="33" y="851"/>
                </a:lnTo>
                <a:lnTo>
                  <a:pt x="25" y="851"/>
                </a:lnTo>
                <a:lnTo>
                  <a:pt x="25" y="836"/>
                </a:lnTo>
                <a:lnTo>
                  <a:pt x="25" y="828"/>
                </a:lnTo>
                <a:cubicBezTo>
                  <a:pt x="25" y="828"/>
                  <a:pt x="17" y="828"/>
                  <a:pt x="17" y="820"/>
                </a:cubicBezTo>
                <a:lnTo>
                  <a:pt x="17" y="828"/>
                </a:lnTo>
                <a:lnTo>
                  <a:pt x="17" y="836"/>
                </a:lnTo>
                <a:lnTo>
                  <a:pt x="8" y="836"/>
                </a:lnTo>
                <a:lnTo>
                  <a:pt x="8" y="828"/>
                </a:lnTo>
                <a:lnTo>
                  <a:pt x="17" y="805"/>
                </a:lnTo>
                <a:lnTo>
                  <a:pt x="33" y="789"/>
                </a:lnTo>
                <a:cubicBezTo>
                  <a:pt x="33" y="789"/>
                  <a:pt x="33" y="774"/>
                  <a:pt x="41" y="774"/>
                </a:cubicBezTo>
                <a:lnTo>
                  <a:pt x="41" y="758"/>
                </a:lnTo>
                <a:lnTo>
                  <a:pt x="58" y="751"/>
                </a:lnTo>
                <a:lnTo>
                  <a:pt x="66" y="743"/>
                </a:lnTo>
                <a:cubicBezTo>
                  <a:pt x="66" y="735"/>
                  <a:pt x="58" y="728"/>
                  <a:pt x="58" y="728"/>
                </a:cubicBezTo>
                <a:cubicBezTo>
                  <a:pt x="58" y="720"/>
                  <a:pt x="66" y="712"/>
                  <a:pt x="66" y="712"/>
                </a:cubicBezTo>
                <a:cubicBezTo>
                  <a:pt x="58" y="712"/>
                  <a:pt x="58" y="704"/>
                  <a:pt x="50" y="704"/>
                </a:cubicBezTo>
                <a:lnTo>
                  <a:pt x="50" y="697"/>
                </a:lnTo>
                <a:cubicBezTo>
                  <a:pt x="66" y="681"/>
                  <a:pt x="82" y="666"/>
                  <a:pt x="82" y="666"/>
                </a:cubicBezTo>
                <a:cubicBezTo>
                  <a:pt x="82" y="666"/>
                  <a:pt x="99" y="658"/>
                  <a:pt x="115" y="666"/>
                </a:cubicBezTo>
                <a:cubicBezTo>
                  <a:pt x="123" y="673"/>
                  <a:pt x="140" y="689"/>
                  <a:pt x="148" y="697"/>
                </a:cubicBezTo>
                <a:cubicBezTo>
                  <a:pt x="148" y="697"/>
                  <a:pt x="156" y="704"/>
                  <a:pt x="165" y="704"/>
                </a:cubicBezTo>
                <a:cubicBezTo>
                  <a:pt x="173" y="704"/>
                  <a:pt x="181" y="712"/>
                  <a:pt x="181" y="712"/>
                </a:cubicBezTo>
                <a:cubicBezTo>
                  <a:pt x="181" y="720"/>
                  <a:pt x="189" y="712"/>
                  <a:pt x="189" y="728"/>
                </a:cubicBezTo>
                <a:cubicBezTo>
                  <a:pt x="181" y="743"/>
                  <a:pt x="181" y="758"/>
                  <a:pt x="189" y="758"/>
                </a:cubicBezTo>
                <a:cubicBezTo>
                  <a:pt x="206" y="751"/>
                  <a:pt x="214" y="743"/>
                  <a:pt x="214" y="751"/>
                </a:cubicBezTo>
                <a:cubicBezTo>
                  <a:pt x="214" y="758"/>
                  <a:pt x="222" y="751"/>
                  <a:pt x="214" y="766"/>
                </a:cubicBezTo>
                <a:cubicBezTo>
                  <a:pt x="214" y="782"/>
                  <a:pt x="206" y="789"/>
                  <a:pt x="214" y="789"/>
                </a:cubicBezTo>
                <a:cubicBezTo>
                  <a:pt x="230" y="797"/>
                  <a:pt x="247" y="805"/>
                  <a:pt x="255" y="797"/>
                </a:cubicBezTo>
                <a:lnTo>
                  <a:pt x="263" y="782"/>
                </a:lnTo>
                <a:cubicBezTo>
                  <a:pt x="271" y="759"/>
                  <a:pt x="271" y="766"/>
                  <a:pt x="279" y="759"/>
                </a:cubicBezTo>
                <a:cubicBezTo>
                  <a:pt x="279" y="743"/>
                  <a:pt x="279" y="751"/>
                  <a:pt x="288" y="735"/>
                </a:cubicBezTo>
                <a:cubicBezTo>
                  <a:pt x="288" y="720"/>
                  <a:pt x="296" y="728"/>
                  <a:pt x="288" y="720"/>
                </a:cubicBezTo>
                <a:cubicBezTo>
                  <a:pt x="288" y="720"/>
                  <a:pt x="288" y="712"/>
                  <a:pt x="279" y="704"/>
                </a:cubicBezTo>
                <a:cubicBezTo>
                  <a:pt x="279" y="689"/>
                  <a:pt x="263" y="697"/>
                  <a:pt x="288" y="689"/>
                </a:cubicBezTo>
                <a:cubicBezTo>
                  <a:pt x="304" y="681"/>
                  <a:pt x="312" y="681"/>
                  <a:pt x="312" y="681"/>
                </a:cubicBezTo>
                <a:cubicBezTo>
                  <a:pt x="312" y="673"/>
                  <a:pt x="337" y="673"/>
                  <a:pt x="337" y="673"/>
                </a:cubicBezTo>
                <a:lnTo>
                  <a:pt x="362" y="673"/>
                </a:lnTo>
                <a:cubicBezTo>
                  <a:pt x="370" y="673"/>
                  <a:pt x="403" y="673"/>
                  <a:pt x="403" y="681"/>
                </a:cubicBezTo>
                <a:cubicBezTo>
                  <a:pt x="403" y="689"/>
                  <a:pt x="419" y="689"/>
                  <a:pt x="419" y="689"/>
                </a:cubicBezTo>
                <a:cubicBezTo>
                  <a:pt x="419" y="689"/>
                  <a:pt x="435" y="689"/>
                  <a:pt x="444" y="704"/>
                </a:cubicBezTo>
                <a:cubicBezTo>
                  <a:pt x="444" y="728"/>
                  <a:pt x="444" y="743"/>
                  <a:pt x="452" y="735"/>
                </a:cubicBezTo>
                <a:cubicBezTo>
                  <a:pt x="460" y="735"/>
                  <a:pt x="477" y="751"/>
                  <a:pt x="477" y="743"/>
                </a:cubicBezTo>
                <a:cubicBezTo>
                  <a:pt x="485" y="735"/>
                  <a:pt x="493" y="728"/>
                  <a:pt x="501" y="728"/>
                </a:cubicBezTo>
                <a:cubicBezTo>
                  <a:pt x="509" y="728"/>
                  <a:pt x="493" y="720"/>
                  <a:pt x="518" y="720"/>
                </a:cubicBezTo>
                <a:cubicBezTo>
                  <a:pt x="550" y="728"/>
                  <a:pt x="542" y="735"/>
                  <a:pt x="559" y="720"/>
                </a:cubicBezTo>
                <a:cubicBezTo>
                  <a:pt x="567" y="704"/>
                  <a:pt x="567" y="704"/>
                  <a:pt x="583" y="697"/>
                </a:cubicBezTo>
                <a:cubicBezTo>
                  <a:pt x="592" y="689"/>
                  <a:pt x="592" y="689"/>
                  <a:pt x="600" y="681"/>
                </a:cubicBezTo>
                <a:lnTo>
                  <a:pt x="633" y="681"/>
                </a:lnTo>
                <a:cubicBezTo>
                  <a:pt x="641" y="673"/>
                  <a:pt x="649" y="658"/>
                  <a:pt x="657" y="658"/>
                </a:cubicBezTo>
                <a:lnTo>
                  <a:pt x="698" y="658"/>
                </a:lnTo>
                <a:cubicBezTo>
                  <a:pt x="707" y="658"/>
                  <a:pt x="723" y="658"/>
                  <a:pt x="731" y="650"/>
                </a:cubicBezTo>
                <a:cubicBezTo>
                  <a:pt x="731" y="642"/>
                  <a:pt x="731" y="642"/>
                  <a:pt x="739" y="635"/>
                </a:cubicBezTo>
                <a:lnTo>
                  <a:pt x="805" y="635"/>
                </a:lnTo>
                <a:cubicBezTo>
                  <a:pt x="813" y="635"/>
                  <a:pt x="822" y="650"/>
                  <a:pt x="822" y="627"/>
                </a:cubicBezTo>
                <a:cubicBezTo>
                  <a:pt x="813" y="604"/>
                  <a:pt x="805" y="604"/>
                  <a:pt x="813" y="596"/>
                </a:cubicBezTo>
                <a:lnTo>
                  <a:pt x="846" y="596"/>
                </a:lnTo>
                <a:cubicBezTo>
                  <a:pt x="854" y="596"/>
                  <a:pt x="887" y="604"/>
                  <a:pt x="895" y="604"/>
                </a:cubicBezTo>
                <a:lnTo>
                  <a:pt x="904" y="619"/>
                </a:lnTo>
                <a:cubicBezTo>
                  <a:pt x="912" y="619"/>
                  <a:pt x="920" y="627"/>
                  <a:pt x="928" y="619"/>
                </a:cubicBezTo>
                <a:cubicBezTo>
                  <a:pt x="928" y="619"/>
                  <a:pt x="936" y="604"/>
                  <a:pt x="945" y="604"/>
                </a:cubicBezTo>
                <a:lnTo>
                  <a:pt x="978" y="604"/>
                </a:lnTo>
                <a:lnTo>
                  <a:pt x="1010" y="612"/>
                </a:lnTo>
                <a:cubicBezTo>
                  <a:pt x="1010" y="612"/>
                  <a:pt x="1002" y="627"/>
                  <a:pt x="1002" y="635"/>
                </a:cubicBezTo>
                <a:cubicBezTo>
                  <a:pt x="1002" y="642"/>
                  <a:pt x="1002" y="650"/>
                  <a:pt x="1010" y="658"/>
                </a:cubicBezTo>
                <a:lnTo>
                  <a:pt x="1027" y="673"/>
                </a:lnTo>
                <a:lnTo>
                  <a:pt x="1068" y="689"/>
                </a:lnTo>
                <a:cubicBezTo>
                  <a:pt x="1068" y="689"/>
                  <a:pt x="1076" y="697"/>
                  <a:pt x="1076" y="666"/>
                </a:cubicBezTo>
                <a:lnTo>
                  <a:pt x="1076" y="596"/>
                </a:lnTo>
                <a:cubicBezTo>
                  <a:pt x="1076" y="596"/>
                  <a:pt x="1076" y="588"/>
                  <a:pt x="1068" y="588"/>
                </a:cubicBezTo>
                <a:lnTo>
                  <a:pt x="1060" y="588"/>
                </a:lnTo>
                <a:cubicBezTo>
                  <a:pt x="1060" y="588"/>
                  <a:pt x="1027" y="581"/>
                  <a:pt x="1019" y="581"/>
                </a:cubicBezTo>
                <a:cubicBezTo>
                  <a:pt x="1010" y="581"/>
                  <a:pt x="1019" y="565"/>
                  <a:pt x="1019" y="557"/>
                </a:cubicBezTo>
                <a:lnTo>
                  <a:pt x="1035" y="542"/>
                </a:lnTo>
                <a:lnTo>
                  <a:pt x="1035" y="519"/>
                </a:lnTo>
                <a:lnTo>
                  <a:pt x="1010" y="480"/>
                </a:lnTo>
                <a:lnTo>
                  <a:pt x="986" y="457"/>
                </a:lnTo>
                <a:lnTo>
                  <a:pt x="969" y="418"/>
                </a:lnTo>
                <a:lnTo>
                  <a:pt x="994" y="403"/>
                </a:lnTo>
                <a:cubicBezTo>
                  <a:pt x="1010" y="387"/>
                  <a:pt x="1035" y="372"/>
                  <a:pt x="1035" y="372"/>
                </a:cubicBezTo>
                <a:lnTo>
                  <a:pt x="1043" y="372"/>
                </a:lnTo>
                <a:lnTo>
                  <a:pt x="1060" y="356"/>
                </a:lnTo>
                <a:lnTo>
                  <a:pt x="1101" y="341"/>
                </a:lnTo>
                <a:lnTo>
                  <a:pt x="1109" y="333"/>
                </a:lnTo>
                <a:lnTo>
                  <a:pt x="1117" y="333"/>
                </a:lnTo>
                <a:lnTo>
                  <a:pt x="1158" y="294"/>
                </a:lnTo>
                <a:lnTo>
                  <a:pt x="1158" y="256"/>
                </a:lnTo>
                <a:lnTo>
                  <a:pt x="1166" y="240"/>
                </a:lnTo>
                <a:lnTo>
                  <a:pt x="1166" y="217"/>
                </a:lnTo>
                <a:lnTo>
                  <a:pt x="1216" y="217"/>
                </a:lnTo>
                <a:cubicBezTo>
                  <a:pt x="1216" y="217"/>
                  <a:pt x="1224" y="225"/>
                  <a:pt x="1232" y="232"/>
                </a:cubicBezTo>
                <a:cubicBezTo>
                  <a:pt x="1240" y="232"/>
                  <a:pt x="1249" y="225"/>
                  <a:pt x="1249" y="225"/>
                </a:cubicBezTo>
                <a:cubicBezTo>
                  <a:pt x="1257" y="225"/>
                  <a:pt x="1265" y="209"/>
                  <a:pt x="1265" y="209"/>
                </a:cubicBezTo>
                <a:lnTo>
                  <a:pt x="1265" y="186"/>
                </a:lnTo>
                <a:lnTo>
                  <a:pt x="1257" y="147"/>
                </a:lnTo>
                <a:lnTo>
                  <a:pt x="1257" y="124"/>
                </a:lnTo>
                <a:cubicBezTo>
                  <a:pt x="1265" y="124"/>
                  <a:pt x="1298" y="147"/>
                  <a:pt x="1314" y="155"/>
                </a:cubicBezTo>
                <a:cubicBezTo>
                  <a:pt x="1323" y="163"/>
                  <a:pt x="1347" y="186"/>
                  <a:pt x="1347" y="186"/>
                </a:cubicBezTo>
                <a:cubicBezTo>
                  <a:pt x="1347" y="186"/>
                  <a:pt x="1388" y="194"/>
                  <a:pt x="1396" y="194"/>
                </a:cubicBezTo>
                <a:lnTo>
                  <a:pt x="1437" y="201"/>
                </a:lnTo>
                <a:lnTo>
                  <a:pt x="1446" y="186"/>
                </a:lnTo>
                <a:lnTo>
                  <a:pt x="1470" y="170"/>
                </a:lnTo>
                <a:lnTo>
                  <a:pt x="1503" y="194"/>
                </a:lnTo>
                <a:lnTo>
                  <a:pt x="1536" y="186"/>
                </a:ln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13" name="Freeform 105">
            <a:extLst>
              <a:ext uri="{FF2B5EF4-FFF2-40B4-BE49-F238E27FC236}">
                <a16:creationId xmlns:a16="http://schemas.microsoft.com/office/drawing/2014/main" id="{19D2E4D1-0C2C-EB3D-31E4-AEE737BEEDF5}"/>
              </a:ext>
            </a:extLst>
          </p:cNvPr>
          <p:cNvSpPr>
            <a:spLocks noChangeArrowheads="1"/>
          </p:cNvSpPr>
          <p:nvPr>
            <p:custDataLst>
              <p:tags r:id="rId105"/>
            </p:custDataLst>
          </p:nvPr>
        </p:nvSpPr>
        <p:spPr bwMode="auto">
          <a:xfrm>
            <a:off x="7043848" y="4495441"/>
            <a:ext cx="7245" cy="7245"/>
          </a:xfrm>
          <a:custGeom>
            <a:avLst/>
            <a:gdLst>
              <a:gd name="T0" fmla="*/ 8 w 18"/>
              <a:gd name="T1" fmla="*/ 15 h 16"/>
              <a:gd name="T2" fmla="*/ 8 w 18"/>
              <a:gd name="T3" fmla="*/ 8 h 16"/>
              <a:gd name="T4" fmla="*/ 17 w 18"/>
              <a:gd name="T5" fmla="*/ 0 h 16"/>
              <a:gd name="T6" fmla="*/ 8 w 18"/>
              <a:gd name="T7" fmla="*/ 0 h 16"/>
              <a:gd name="T8" fmla="*/ 0 w 18"/>
              <a:gd name="T9" fmla="*/ 15 h 16"/>
              <a:gd name="T10" fmla="*/ 8 w 18"/>
              <a:gd name="T11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" h="16">
                <a:moveTo>
                  <a:pt x="8" y="15"/>
                </a:moveTo>
                <a:lnTo>
                  <a:pt x="8" y="8"/>
                </a:lnTo>
                <a:cubicBezTo>
                  <a:pt x="8" y="8"/>
                  <a:pt x="17" y="8"/>
                  <a:pt x="17" y="0"/>
                </a:cubicBezTo>
                <a:lnTo>
                  <a:pt x="8" y="0"/>
                </a:lnTo>
                <a:lnTo>
                  <a:pt x="0" y="15"/>
                </a:lnTo>
                <a:lnTo>
                  <a:pt x="8" y="15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14" name="Freeform 106">
            <a:extLst>
              <a:ext uri="{FF2B5EF4-FFF2-40B4-BE49-F238E27FC236}">
                <a16:creationId xmlns:a16="http://schemas.microsoft.com/office/drawing/2014/main" id="{6C47D4AF-874D-FB5F-C909-8DDEAB57A58B}"/>
              </a:ext>
            </a:extLst>
          </p:cNvPr>
          <p:cNvSpPr>
            <a:spLocks noChangeArrowheads="1"/>
          </p:cNvSpPr>
          <p:nvPr>
            <p:custDataLst>
              <p:tags r:id="rId106"/>
            </p:custDataLst>
          </p:nvPr>
        </p:nvSpPr>
        <p:spPr bwMode="auto">
          <a:xfrm>
            <a:off x="7047471" y="4138630"/>
            <a:ext cx="938210" cy="450994"/>
          </a:xfrm>
          <a:custGeom>
            <a:avLst/>
            <a:gdLst>
              <a:gd name="T0" fmla="*/ 1586 w 2284"/>
              <a:gd name="T1" fmla="*/ 108 h 1100"/>
              <a:gd name="T2" fmla="*/ 1643 w 2284"/>
              <a:gd name="T3" fmla="*/ 16 h 1100"/>
              <a:gd name="T4" fmla="*/ 1790 w 2284"/>
              <a:gd name="T5" fmla="*/ 39 h 1100"/>
              <a:gd name="T6" fmla="*/ 1938 w 2284"/>
              <a:gd name="T7" fmla="*/ 85 h 1100"/>
              <a:gd name="T8" fmla="*/ 2118 w 2284"/>
              <a:gd name="T9" fmla="*/ 85 h 1100"/>
              <a:gd name="T10" fmla="*/ 2192 w 2284"/>
              <a:gd name="T11" fmla="*/ 132 h 1100"/>
              <a:gd name="T12" fmla="*/ 2192 w 2284"/>
              <a:gd name="T13" fmla="*/ 194 h 1100"/>
              <a:gd name="T14" fmla="*/ 2192 w 2284"/>
              <a:gd name="T15" fmla="*/ 256 h 1100"/>
              <a:gd name="T16" fmla="*/ 2225 w 2284"/>
              <a:gd name="T17" fmla="*/ 317 h 1100"/>
              <a:gd name="T18" fmla="*/ 2266 w 2284"/>
              <a:gd name="T19" fmla="*/ 434 h 1100"/>
              <a:gd name="T20" fmla="*/ 2201 w 2284"/>
              <a:gd name="T21" fmla="*/ 511 h 1100"/>
              <a:gd name="T22" fmla="*/ 2069 w 2284"/>
              <a:gd name="T23" fmla="*/ 526 h 1100"/>
              <a:gd name="T24" fmla="*/ 2127 w 2284"/>
              <a:gd name="T25" fmla="*/ 635 h 1100"/>
              <a:gd name="T26" fmla="*/ 2102 w 2284"/>
              <a:gd name="T27" fmla="*/ 720 h 1100"/>
              <a:gd name="T28" fmla="*/ 2036 w 2284"/>
              <a:gd name="T29" fmla="*/ 867 h 1100"/>
              <a:gd name="T30" fmla="*/ 1946 w 2284"/>
              <a:gd name="T31" fmla="*/ 936 h 1100"/>
              <a:gd name="T32" fmla="*/ 1790 w 2284"/>
              <a:gd name="T33" fmla="*/ 975 h 1100"/>
              <a:gd name="T34" fmla="*/ 1643 w 2284"/>
              <a:gd name="T35" fmla="*/ 1037 h 1100"/>
              <a:gd name="T36" fmla="*/ 1561 w 2284"/>
              <a:gd name="T37" fmla="*/ 1099 h 1100"/>
              <a:gd name="T38" fmla="*/ 1315 w 2284"/>
              <a:gd name="T39" fmla="*/ 1068 h 1100"/>
              <a:gd name="T40" fmla="*/ 1011 w 2284"/>
              <a:gd name="T41" fmla="*/ 1029 h 1100"/>
              <a:gd name="T42" fmla="*/ 846 w 2284"/>
              <a:gd name="T43" fmla="*/ 975 h 1100"/>
              <a:gd name="T44" fmla="*/ 830 w 2284"/>
              <a:gd name="T45" fmla="*/ 867 h 1100"/>
              <a:gd name="T46" fmla="*/ 690 w 2284"/>
              <a:gd name="T47" fmla="*/ 890 h 1100"/>
              <a:gd name="T48" fmla="*/ 485 w 2284"/>
              <a:gd name="T49" fmla="*/ 936 h 1100"/>
              <a:gd name="T50" fmla="*/ 378 w 2284"/>
              <a:gd name="T51" fmla="*/ 967 h 1100"/>
              <a:gd name="T52" fmla="*/ 304 w 2284"/>
              <a:gd name="T53" fmla="*/ 975 h 1100"/>
              <a:gd name="T54" fmla="*/ 296 w 2284"/>
              <a:gd name="T55" fmla="*/ 913 h 1100"/>
              <a:gd name="T56" fmla="*/ 255 w 2284"/>
              <a:gd name="T57" fmla="*/ 929 h 1100"/>
              <a:gd name="T58" fmla="*/ 222 w 2284"/>
              <a:gd name="T59" fmla="*/ 960 h 1100"/>
              <a:gd name="T60" fmla="*/ 157 w 2284"/>
              <a:gd name="T61" fmla="*/ 944 h 1100"/>
              <a:gd name="T62" fmla="*/ 115 w 2284"/>
              <a:gd name="T63" fmla="*/ 898 h 1100"/>
              <a:gd name="T64" fmla="*/ 9 w 2284"/>
              <a:gd name="T65" fmla="*/ 882 h 1100"/>
              <a:gd name="T66" fmla="*/ 17 w 2284"/>
              <a:gd name="T67" fmla="*/ 882 h 1100"/>
              <a:gd name="T68" fmla="*/ 25 w 2284"/>
              <a:gd name="T69" fmla="*/ 867 h 1100"/>
              <a:gd name="T70" fmla="*/ 25 w 2284"/>
              <a:gd name="T71" fmla="*/ 859 h 1100"/>
              <a:gd name="T72" fmla="*/ 17 w 2284"/>
              <a:gd name="T73" fmla="*/ 828 h 1100"/>
              <a:gd name="T74" fmla="*/ 0 w 2284"/>
              <a:gd name="T75" fmla="*/ 836 h 1100"/>
              <a:gd name="T76" fmla="*/ 33 w 2284"/>
              <a:gd name="T77" fmla="*/ 774 h 1100"/>
              <a:gd name="T78" fmla="*/ 50 w 2284"/>
              <a:gd name="T79" fmla="*/ 728 h 1100"/>
              <a:gd name="T80" fmla="*/ 74 w 2284"/>
              <a:gd name="T81" fmla="*/ 666 h 1100"/>
              <a:gd name="T82" fmla="*/ 173 w 2284"/>
              <a:gd name="T83" fmla="*/ 712 h 1100"/>
              <a:gd name="T84" fmla="*/ 206 w 2284"/>
              <a:gd name="T85" fmla="*/ 766 h 1100"/>
              <a:gd name="T86" fmla="*/ 271 w 2284"/>
              <a:gd name="T87" fmla="*/ 759 h 1100"/>
              <a:gd name="T88" fmla="*/ 280 w 2284"/>
              <a:gd name="T89" fmla="*/ 689 h 1100"/>
              <a:gd name="T90" fmla="*/ 395 w 2284"/>
              <a:gd name="T91" fmla="*/ 681 h 1100"/>
              <a:gd name="T92" fmla="*/ 469 w 2284"/>
              <a:gd name="T93" fmla="*/ 743 h 1100"/>
              <a:gd name="T94" fmla="*/ 575 w 2284"/>
              <a:gd name="T95" fmla="*/ 697 h 1100"/>
              <a:gd name="T96" fmla="*/ 690 w 2284"/>
              <a:gd name="T97" fmla="*/ 658 h 1100"/>
              <a:gd name="T98" fmla="*/ 814 w 2284"/>
              <a:gd name="T99" fmla="*/ 627 h 1100"/>
              <a:gd name="T100" fmla="*/ 896 w 2284"/>
              <a:gd name="T101" fmla="*/ 619 h 1100"/>
              <a:gd name="T102" fmla="*/ 1002 w 2284"/>
              <a:gd name="T103" fmla="*/ 612 h 1100"/>
              <a:gd name="T104" fmla="*/ 1060 w 2284"/>
              <a:gd name="T105" fmla="*/ 689 h 1100"/>
              <a:gd name="T106" fmla="*/ 1052 w 2284"/>
              <a:gd name="T107" fmla="*/ 588 h 1100"/>
              <a:gd name="T108" fmla="*/ 1027 w 2284"/>
              <a:gd name="T109" fmla="*/ 519 h 1100"/>
              <a:gd name="T110" fmla="*/ 986 w 2284"/>
              <a:gd name="T111" fmla="*/ 403 h 1100"/>
              <a:gd name="T112" fmla="*/ 1093 w 2284"/>
              <a:gd name="T113" fmla="*/ 341 h 1100"/>
              <a:gd name="T114" fmla="*/ 1150 w 2284"/>
              <a:gd name="T115" fmla="*/ 256 h 1100"/>
              <a:gd name="T116" fmla="*/ 1224 w 2284"/>
              <a:gd name="T117" fmla="*/ 232 h 1100"/>
              <a:gd name="T118" fmla="*/ 1249 w 2284"/>
              <a:gd name="T119" fmla="*/ 147 h 1100"/>
              <a:gd name="T120" fmla="*/ 1388 w 2284"/>
              <a:gd name="T121" fmla="*/ 194 h 1100"/>
              <a:gd name="T122" fmla="*/ 1495 w 2284"/>
              <a:gd name="T123" fmla="*/ 194 h 1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284" h="1100">
                <a:moveTo>
                  <a:pt x="1528" y="186"/>
                </a:moveTo>
                <a:cubicBezTo>
                  <a:pt x="1528" y="186"/>
                  <a:pt x="1528" y="139"/>
                  <a:pt x="1536" y="139"/>
                </a:cubicBezTo>
                <a:cubicBezTo>
                  <a:pt x="1544" y="139"/>
                  <a:pt x="1561" y="116"/>
                  <a:pt x="1561" y="116"/>
                </a:cubicBezTo>
                <a:lnTo>
                  <a:pt x="1586" y="108"/>
                </a:lnTo>
                <a:cubicBezTo>
                  <a:pt x="1586" y="108"/>
                  <a:pt x="1602" y="93"/>
                  <a:pt x="1602" y="78"/>
                </a:cubicBezTo>
                <a:cubicBezTo>
                  <a:pt x="1594" y="70"/>
                  <a:pt x="1602" y="31"/>
                  <a:pt x="1602" y="31"/>
                </a:cubicBezTo>
                <a:cubicBezTo>
                  <a:pt x="1602" y="31"/>
                  <a:pt x="1594" y="8"/>
                  <a:pt x="1602" y="8"/>
                </a:cubicBezTo>
                <a:cubicBezTo>
                  <a:pt x="1618" y="0"/>
                  <a:pt x="1643" y="16"/>
                  <a:pt x="1643" y="16"/>
                </a:cubicBezTo>
                <a:lnTo>
                  <a:pt x="1683" y="23"/>
                </a:lnTo>
                <a:lnTo>
                  <a:pt x="1708" y="23"/>
                </a:lnTo>
                <a:cubicBezTo>
                  <a:pt x="1716" y="23"/>
                  <a:pt x="1749" y="31"/>
                  <a:pt x="1749" y="31"/>
                </a:cubicBezTo>
                <a:cubicBezTo>
                  <a:pt x="1749" y="31"/>
                  <a:pt x="1782" y="39"/>
                  <a:pt x="1790" y="39"/>
                </a:cubicBezTo>
                <a:lnTo>
                  <a:pt x="1831" y="39"/>
                </a:lnTo>
                <a:lnTo>
                  <a:pt x="1847" y="47"/>
                </a:lnTo>
                <a:lnTo>
                  <a:pt x="1905" y="70"/>
                </a:lnTo>
                <a:lnTo>
                  <a:pt x="1938" y="85"/>
                </a:lnTo>
                <a:lnTo>
                  <a:pt x="2028" y="93"/>
                </a:lnTo>
                <a:lnTo>
                  <a:pt x="2036" y="62"/>
                </a:lnTo>
                <a:cubicBezTo>
                  <a:pt x="2036" y="62"/>
                  <a:pt x="2069" y="54"/>
                  <a:pt x="2069" y="62"/>
                </a:cubicBezTo>
                <a:cubicBezTo>
                  <a:pt x="2077" y="62"/>
                  <a:pt x="2094" y="78"/>
                  <a:pt x="2118" y="85"/>
                </a:cubicBezTo>
                <a:cubicBezTo>
                  <a:pt x="2143" y="85"/>
                  <a:pt x="2168" y="78"/>
                  <a:pt x="2168" y="78"/>
                </a:cubicBezTo>
                <a:lnTo>
                  <a:pt x="2184" y="124"/>
                </a:lnTo>
                <a:lnTo>
                  <a:pt x="2201" y="132"/>
                </a:lnTo>
                <a:lnTo>
                  <a:pt x="2192" y="132"/>
                </a:lnTo>
                <a:lnTo>
                  <a:pt x="2192" y="155"/>
                </a:lnTo>
                <a:lnTo>
                  <a:pt x="2201" y="163"/>
                </a:lnTo>
                <a:lnTo>
                  <a:pt x="2192" y="178"/>
                </a:lnTo>
                <a:lnTo>
                  <a:pt x="2192" y="194"/>
                </a:lnTo>
                <a:lnTo>
                  <a:pt x="2176" y="209"/>
                </a:lnTo>
                <a:lnTo>
                  <a:pt x="2176" y="225"/>
                </a:lnTo>
                <a:lnTo>
                  <a:pt x="2176" y="248"/>
                </a:lnTo>
                <a:cubicBezTo>
                  <a:pt x="2176" y="248"/>
                  <a:pt x="2184" y="256"/>
                  <a:pt x="2192" y="256"/>
                </a:cubicBezTo>
                <a:lnTo>
                  <a:pt x="2192" y="263"/>
                </a:lnTo>
                <a:cubicBezTo>
                  <a:pt x="2192" y="263"/>
                  <a:pt x="2201" y="271"/>
                  <a:pt x="2209" y="279"/>
                </a:cubicBezTo>
                <a:cubicBezTo>
                  <a:pt x="2209" y="279"/>
                  <a:pt x="2217" y="294"/>
                  <a:pt x="2217" y="302"/>
                </a:cubicBezTo>
                <a:cubicBezTo>
                  <a:pt x="2225" y="310"/>
                  <a:pt x="2225" y="317"/>
                  <a:pt x="2225" y="317"/>
                </a:cubicBezTo>
                <a:cubicBezTo>
                  <a:pt x="2225" y="317"/>
                  <a:pt x="2233" y="333"/>
                  <a:pt x="2242" y="333"/>
                </a:cubicBezTo>
                <a:lnTo>
                  <a:pt x="2266" y="333"/>
                </a:lnTo>
                <a:cubicBezTo>
                  <a:pt x="2266" y="341"/>
                  <a:pt x="2258" y="387"/>
                  <a:pt x="2258" y="387"/>
                </a:cubicBezTo>
                <a:lnTo>
                  <a:pt x="2266" y="434"/>
                </a:lnTo>
                <a:cubicBezTo>
                  <a:pt x="2266" y="434"/>
                  <a:pt x="2258" y="457"/>
                  <a:pt x="2258" y="464"/>
                </a:cubicBezTo>
                <a:cubicBezTo>
                  <a:pt x="2266" y="480"/>
                  <a:pt x="2283" y="495"/>
                  <a:pt x="2258" y="503"/>
                </a:cubicBezTo>
                <a:cubicBezTo>
                  <a:pt x="2242" y="503"/>
                  <a:pt x="2217" y="519"/>
                  <a:pt x="2209" y="503"/>
                </a:cubicBezTo>
                <a:cubicBezTo>
                  <a:pt x="2209" y="503"/>
                  <a:pt x="2201" y="488"/>
                  <a:pt x="2201" y="511"/>
                </a:cubicBezTo>
                <a:cubicBezTo>
                  <a:pt x="2209" y="519"/>
                  <a:pt x="2184" y="511"/>
                  <a:pt x="2184" y="511"/>
                </a:cubicBezTo>
                <a:lnTo>
                  <a:pt x="2118" y="488"/>
                </a:lnTo>
                <a:lnTo>
                  <a:pt x="2102" y="503"/>
                </a:lnTo>
                <a:lnTo>
                  <a:pt x="2069" y="526"/>
                </a:lnTo>
                <a:lnTo>
                  <a:pt x="2118" y="542"/>
                </a:lnTo>
                <a:lnTo>
                  <a:pt x="2135" y="542"/>
                </a:lnTo>
                <a:lnTo>
                  <a:pt x="2176" y="604"/>
                </a:lnTo>
                <a:lnTo>
                  <a:pt x="2127" y="635"/>
                </a:lnTo>
                <a:cubicBezTo>
                  <a:pt x="2127" y="635"/>
                  <a:pt x="2102" y="650"/>
                  <a:pt x="2094" y="650"/>
                </a:cubicBezTo>
                <a:cubicBezTo>
                  <a:pt x="2086" y="650"/>
                  <a:pt x="2077" y="658"/>
                  <a:pt x="2077" y="658"/>
                </a:cubicBezTo>
                <a:lnTo>
                  <a:pt x="2102" y="704"/>
                </a:lnTo>
                <a:lnTo>
                  <a:pt x="2102" y="720"/>
                </a:lnTo>
                <a:lnTo>
                  <a:pt x="2110" y="766"/>
                </a:lnTo>
                <a:lnTo>
                  <a:pt x="2086" y="805"/>
                </a:lnTo>
                <a:lnTo>
                  <a:pt x="2061" y="813"/>
                </a:lnTo>
                <a:lnTo>
                  <a:pt x="2036" y="867"/>
                </a:lnTo>
                <a:lnTo>
                  <a:pt x="1995" y="890"/>
                </a:lnTo>
                <a:lnTo>
                  <a:pt x="1987" y="921"/>
                </a:lnTo>
                <a:lnTo>
                  <a:pt x="1995" y="967"/>
                </a:lnTo>
                <a:lnTo>
                  <a:pt x="1946" y="936"/>
                </a:lnTo>
                <a:lnTo>
                  <a:pt x="1905" y="952"/>
                </a:lnTo>
                <a:lnTo>
                  <a:pt x="1880" y="960"/>
                </a:lnTo>
                <a:lnTo>
                  <a:pt x="1831" y="991"/>
                </a:lnTo>
                <a:lnTo>
                  <a:pt x="1790" y="975"/>
                </a:lnTo>
                <a:lnTo>
                  <a:pt x="1732" y="991"/>
                </a:lnTo>
                <a:lnTo>
                  <a:pt x="1683" y="991"/>
                </a:lnTo>
                <a:lnTo>
                  <a:pt x="1659" y="1006"/>
                </a:lnTo>
                <a:lnTo>
                  <a:pt x="1643" y="1037"/>
                </a:lnTo>
                <a:lnTo>
                  <a:pt x="1635" y="1053"/>
                </a:lnTo>
                <a:lnTo>
                  <a:pt x="1602" y="1060"/>
                </a:lnTo>
                <a:lnTo>
                  <a:pt x="1586" y="1083"/>
                </a:lnTo>
                <a:lnTo>
                  <a:pt x="1561" y="1099"/>
                </a:lnTo>
                <a:lnTo>
                  <a:pt x="1545" y="1099"/>
                </a:lnTo>
                <a:lnTo>
                  <a:pt x="1471" y="1099"/>
                </a:lnTo>
                <a:lnTo>
                  <a:pt x="1388" y="1091"/>
                </a:lnTo>
                <a:lnTo>
                  <a:pt x="1315" y="1068"/>
                </a:lnTo>
                <a:lnTo>
                  <a:pt x="1257" y="1076"/>
                </a:lnTo>
                <a:cubicBezTo>
                  <a:pt x="1257" y="1076"/>
                  <a:pt x="1216" y="1068"/>
                  <a:pt x="1191" y="1068"/>
                </a:cubicBezTo>
                <a:cubicBezTo>
                  <a:pt x="1159" y="1068"/>
                  <a:pt x="1093" y="1053"/>
                  <a:pt x="1093" y="1053"/>
                </a:cubicBezTo>
                <a:lnTo>
                  <a:pt x="1011" y="1029"/>
                </a:lnTo>
                <a:lnTo>
                  <a:pt x="961" y="1029"/>
                </a:lnTo>
                <a:lnTo>
                  <a:pt x="887" y="1022"/>
                </a:lnTo>
                <a:cubicBezTo>
                  <a:pt x="887" y="1022"/>
                  <a:pt x="879" y="1006"/>
                  <a:pt x="871" y="998"/>
                </a:cubicBezTo>
                <a:cubicBezTo>
                  <a:pt x="871" y="991"/>
                  <a:pt x="846" y="975"/>
                  <a:pt x="846" y="975"/>
                </a:cubicBezTo>
                <a:lnTo>
                  <a:pt x="846" y="960"/>
                </a:lnTo>
                <a:lnTo>
                  <a:pt x="830" y="921"/>
                </a:lnTo>
                <a:lnTo>
                  <a:pt x="814" y="890"/>
                </a:lnTo>
                <a:lnTo>
                  <a:pt x="830" y="867"/>
                </a:lnTo>
                <a:lnTo>
                  <a:pt x="814" y="859"/>
                </a:lnTo>
                <a:cubicBezTo>
                  <a:pt x="814" y="859"/>
                  <a:pt x="781" y="867"/>
                  <a:pt x="764" y="867"/>
                </a:cubicBezTo>
                <a:cubicBezTo>
                  <a:pt x="756" y="875"/>
                  <a:pt x="707" y="882"/>
                  <a:pt x="707" y="882"/>
                </a:cubicBezTo>
                <a:lnTo>
                  <a:pt x="690" y="890"/>
                </a:lnTo>
                <a:lnTo>
                  <a:pt x="625" y="890"/>
                </a:lnTo>
                <a:lnTo>
                  <a:pt x="559" y="898"/>
                </a:lnTo>
                <a:lnTo>
                  <a:pt x="534" y="913"/>
                </a:lnTo>
                <a:lnTo>
                  <a:pt x="485" y="936"/>
                </a:lnTo>
                <a:lnTo>
                  <a:pt x="485" y="967"/>
                </a:lnTo>
                <a:lnTo>
                  <a:pt x="460" y="998"/>
                </a:lnTo>
                <a:lnTo>
                  <a:pt x="419" y="998"/>
                </a:lnTo>
                <a:lnTo>
                  <a:pt x="378" y="967"/>
                </a:lnTo>
                <a:lnTo>
                  <a:pt x="362" y="983"/>
                </a:lnTo>
                <a:lnTo>
                  <a:pt x="313" y="975"/>
                </a:lnTo>
                <a:lnTo>
                  <a:pt x="304" y="983"/>
                </a:lnTo>
                <a:lnTo>
                  <a:pt x="304" y="975"/>
                </a:lnTo>
                <a:cubicBezTo>
                  <a:pt x="304" y="967"/>
                  <a:pt x="313" y="944"/>
                  <a:pt x="313" y="944"/>
                </a:cubicBezTo>
                <a:lnTo>
                  <a:pt x="313" y="929"/>
                </a:lnTo>
                <a:lnTo>
                  <a:pt x="304" y="921"/>
                </a:lnTo>
                <a:lnTo>
                  <a:pt x="296" y="913"/>
                </a:lnTo>
                <a:lnTo>
                  <a:pt x="288" y="898"/>
                </a:lnTo>
                <a:cubicBezTo>
                  <a:pt x="280" y="905"/>
                  <a:pt x="271" y="905"/>
                  <a:pt x="271" y="905"/>
                </a:cubicBezTo>
                <a:lnTo>
                  <a:pt x="271" y="921"/>
                </a:lnTo>
                <a:cubicBezTo>
                  <a:pt x="263" y="929"/>
                  <a:pt x="255" y="929"/>
                  <a:pt x="255" y="929"/>
                </a:cubicBezTo>
                <a:lnTo>
                  <a:pt x="247" y="929"/>
                </a:lnTo>
                <a:lnTo>
                  <a:pt x="239" y="944"/>
                </a:lnTo>
                <a:lnTo>
                  <a:pt x="230" y="952"/>
                </a:lnTo>
                <a:cubicBezTo>
                  <a:pt x="230" y="952"/>
                  <a:pt x="222" y="952"/>
                  <a:pt x="222" y="960"/>
                </a:cubicBezTo>
                <a:lnTo>
                  <a:pt x="206" y="960"/>
                </a:lnTo>
                <a:lnTo>
                  <a:pt x="189" y="960"/>
                </a:lnTo>
                <a:lnTo>
                  <a:pt x="181" y="952"/>
                </a:lnTo>
                <a:lnTo>
                  <a:pt x="157" y="944"/>
                </a:lnTo>
                <a:lnTo>
                  <a:pt x="140" y="936"/>
                </a:lnTo>
                <a:lnTo>
                  <a:pt x="132" y="929"/>
                </a:lnTo>
                <a:lnTo>
                  <a:pt x="132" y="913"/>
                </a:lnTo>
                <a:lnTo>
                  <a:pt x="115" y="898"/>
                </a:lnTo>
                <a:lnTo>
                  <a:pt x="83" y="890"/>
                </a:lnTo>
                <a:lnTo>
                  <a:pt x="58" y="882"/>
                </a:lnTo>
                <a:lnTo>
                  <a:pt x="42" y="882"/>
                </a:lnTo>
                <a:lnTo>
                  <a:pt x="9" y="882"/>
                </a:lnTo>
                <a:lnTo>
                  <a:pt x="0" y="882"/>
                </a:lnTo>
                <a:lnTo>
                  <a:pt x="9" y="882"/>
                </a:lnTo>
                <a:lnTo>
                  <a:pt x="9" y="875"/>
                </a:lnTo>
                <a:lnTo>
                  <a:pt x="17" y="882"/>
                </a:lnTo>
                <a:lnTo>
                  <a:pt x="25" y="875"/>
                </a:lnTo>
                <a:lnTo>
                  <a:pt x="33" y="875"/>
                </a:lnTo>
                <a:lnTo>
                  <a:pt x="33" y="867"/>
                </a:lnTo>
                <a:lnTo>
                  <a:pt x="25" y="867"/>
                </a:lnTo>
                <a:lnTo>
                  <a:pt x="25" y="859"/>
                </a:lnTo>
                <a:lnTo>
                  <a:pt x="33" y="859"/>
                </a:lnTo>
                <a:lnTo>
                  <a:pt x="25" y="859"/>
                </a:lnTo>
                <a:cubicBezTo>
                  <a:pt x="25" y="851"/>
                  <a:pt x="25" y="859"/>
                  <a:pt x="25" y="859"/>
                </a:cubicBezTo>
                <a:lnTo>
                  <a:pt x="25" y="851"/>
                </a:lnTo>
                <a:lnTo>
                  <a:pt x="17" y="851"/>
                </a:lnTo>
                <a:lnTo>
                  <a:pt x="17" y="836"/>
                </a:lnTo>
                <a:lnTo>
                  <a:pt x="17" y="828"/>
                </a:lnTo>
                <a:cubicBezTo>
                  <a:pt x="17" y="828"/>
                  <a:pt x="9" y="828"/>
                  <a:pt x="9" y="820"/>
                </a:cubicBezTo>
                <a:lnTo>
                  <a:pt x="9" y="828"/>
                </a:lnTo>
                <a:lnTo>
                  <a:pt x="9" y="836"/>
                </a:lnTo>
                <a:lnTo>
                  <a:pt x="0" y="836"/>
                </a:lnTo>
                <a:lnTo>
                  <a:pt x="0" y="828"/>
                </a:lnTo>
                <a:lnTo>
                  <a:pt x="9" y="805"/>
                </a:lnTo>
                <a:lnTo>
                  <a:pt x="25" y="789"/>
                </a:lnTo>
                <a:cubicBezTo>
                  <a:pt x="25" y="789"/>
                  <a:pt x="25" y="774"/>
                  <a:pt x="33" y="774"/>
                </a:cubicBezTo>
                <a:lnTo>
                  <a:pt x="33" y="758"/>
                </a:lnTo>
                <a:lnTo>
                  <a:pt x="50" y="751"/>
                </a:lnTo>
                <a:lnTo>
                  <a:pt x="58" y="743"/>
                </a:lnTo>
                <a:cubicBezTo>
                  <a:pt x="58" y="735"/>
                  <a:pt x="50" y="728"/>
                  <a:pt x="50" y="728"/>
                </a:cubicBezTo>
                <a:cubicBezTo>
                  <a:pt x="50" y="720"/>
                  <a:pt x="58" y="712"/>
                  <a:pt x="58" y="712"/>
                </a:cubicBezTo>
                <a:cubicBezTo>
                  <a:pt x="50" y="712"/>
                  <a:pt x="50" y="704"/>
                  <a:pt x="42" y="704"/>
                </a:cubicBezTo>
                <a:lnTo>
                  <a:pt x="42" y="697"/>
                </a:lnTo>
                <a:cubicBezTo>
                  <a:pt x="58" y="681"/>
                  <a:pt x="74" y="666"/>
                  <a:pt x="74" y="666"/>
                </a:cubicBezTo>
                <a:cubicBezTo>
                  <a:pt x="74" y="666"/>
                  <a:pt x="91" y="658"/>
                  <a:pt x="107" y="666"/>
                </a:cubicBezTo>
                <a:cubicBezTo>
                  <a:pt x="115" y="673"/>
                  <a:pt x="132" y="689"/>
                  <a:pt x="140" y="697"/>
                </a:cubicBezTo>
                <a:cubicBezTo>
                  <a:pt x="140" y="697"/>
                  <a:pt x="148" y="704"/>
                  <a:pt x="157" y="704"/>
                </a:cubicBezTo>
                <a:cubicBezTo>
                  <a:pt x="165" y="704"/>
                  <a:pt x="173" y="712"/>
                  <a:pt x="173" y="712"/>
                </a:cubicBezTo>
                <a:cubicBezTo>
                  <a:pt x="173" y="720"/>
                  <a:pt x="181" y="712"/>
                  <a:pt x="181" y="728"/>
                </a:cubicBezTo>
                <a:cubicBezTo>
                  <a:pt x="173" y="743"/>
                  <a:pt x="173" y="758"/>
                  <a:pt x="181" y="758"/>
                </a:cubicBezTo>
                <a:cubicBezTo>
                  <a:pt x="198" y="751"/>
                  <a:pt x="206" y="743"/>
                  <a:pt x="206" y="751"/>
                </a:cubicBezTo>
                <a:cubicBezTo>
                  <a:pt x="206" y="758"/>
                  <a:pt x="214" y="751"/>
                  <a:pt x="206" y="766"/>
                </a:cubicBezTo>
                <a:cubicBezTo>
                  <a:pt x="206" y="782"/>
                  <a:pt x="198" y="789"/>
                  <a:pt x="206" y="789"/>
                </a:cubicBezTo>
                <a:cubicBezTo>
                  <a:pt x="222" y="797"/>
                  <a:pt x="239" y="805"/>
                  <a:pt x="247" y="797"/>
                </a:cubicBezTo>
                <a:lnTo>
                  <a:pt x="255" y="782"/>
                </a:lnTo>
                <a:cubicBezTo>
                  <a:pt x="263" y="759"/>
                  <a:pt x="263" y="766"/>
                  <a:pt x="271" y="759"/>
                </a:cubicBezTo>
                <a:cubicBezTo>
                  <a:pt x="271" y="743"/>
                  <a:pt x="271" y="751"/>
                  <a:pt x="280" y="735"/>
                </a:cubicBezTo>
                <a:cubicBezTo>
                  <a:pt x="280" y="720"/>
                  <a:pt x="288" y="728"/>
                  <a:pt x="280" y="720"/>
                </a:cubicBezTo>
                <a:cubicBezTo>
                  <a:pt x="280" y="720"/>
                  <a:pt x="280" y="712"/>
                  <a:pt x="271" y="704"/>
                </a:cubicBezTo>
                <a:cubicBezTo>
                  <a:pt x="271" y="689"/>
                  <a:pt x="255" y="697"/>
                  <a:pt x="280" y="689"/>
                </a:cubicBezTo>
                <a:cubicBezTo>
                  <a:pt x="296" y="681"/>
                  <a:pt x="304" y="681"/>
                  <a:pt x="304" y="681"/>
                </a:cubicBezTo>
                <a:cubicBezTo>
                  <a:pt x="304" y="673"/>
                  <a:pt x="329" y="673"/>
                  <a:pt x="329" y="673"/>
                </a:cubicBezTo>
                <a:lnTo>
                  <a:pt x="354" y="673"/>
                </a:lnTo>
                <a:cubicBezTo>
                  <a:pt x="362" y="673"/>
                  <a:pt x="395" y="673"/>
                  <a:pt x="395" y="681"/>
                </a:cubicBezTo>
                <a:cubicBezTo>
                  <a:pt x="395" y="689"/>
                  <a:pt x="411" y="689"/>
                  <a:pt x="411" y="689"/>
                </a:cubicBezTo>
                <a:cubicBezTo>
                  <a:pt x="411" y="689"/>
                  <a:pt x="427" y="689"/>
                  <a:pt x="436" y="704"/>
                </a:cubicBezTo>
                <a:cubicBezTo>
                  <a:pt x="436" y="728"/>
                  <a:pt x="436" y="743"/>
                  <a:pt x="444" y="735"/>
                </a:cubicBezTo>
                <a:cubicBezTo>
                  <a:pt x="452" y="735"/>
                  <a:pt x="469" y="751"/>
                  <a:pt x="469" y="743"/>
                </a:cubicBezTo>
                <a:cubicBezTo>
                  <a:pt x="477" y="735"/>
                  <a:pt x="485" y="728"/>
                  <a:pt x="493" y="728"/>
                </a:cubicBezTo>
                <a:cubicBezTo>
                  <a:pt x="501" y="728"/>
                  <a:pt x="485" y="720"/>
                  <a:pt x="510" y="720"/>
                </a:cubicBezTo>
                <a:cubicBezTo>
                  <a:pt x="542" y="728"/>
                  <a:pt x="534" y="735"/>
                  <a:pt x="551" y="720"/>
                </a:cubicBezTo>
                <a:cubicBezTo>
                  <a:pt x="559" y="704"/>
                  <a:pt x="559" y="704"/>
                  <a:pt x="575" y="697"/>
                </a:cubicBezTo>
                <a:cubicBezTo>
                  <a:pt x="584" y="689"/>
                  <a:pt x="584" y="689"/>
                  <a:pt x="592" y="681"/>
                </a:cubicBezTo>
                <a:lnTo>
                  <a:pt x="625" y="681"/>
                </a:lnTo>
                <a:cubicBezTo>
                  <a:pt x="633" y="673"/>
                  <a:pt x="641" y="658"/>
                  <a:pt x="649" y="658"/>
                </a:cubicBezTo>
                <a:lnTo>
                  <a:pt x="690" y="658"/>
                </a:lnTo>
                <a:cubicBezTo>
                  <a:pt x="699" y="658"/>
                  <a:pt x="715" y="658"/>
                  <a:pt x="723" y="650"/>
                </a:cubicBezTo>
                <a:cubicBezTo>
                  <a:pt x="723" y="642"/>
                  <a:pt x="723" y="642"/>
                  <a:pt x="731" y="635"/>
                </a:cubicBezTo>
                <a:lnTo>
                  <a:pt x="797" y="635"/>
                </a:lnTo>
                <a:cubicBezTo>
                  <a:pt x="805" y="635"/>
                  <a:pt x="814" y="650"/>
                  <a:pt x="814" y="627"/>
                </a:cubicBezTo>
                <a:cubicBezTo>
                  <a:pt x="805" y="604"/>
                  <a:pt x="797" y="604"/>
                  <a:pt x="805" y="596"/>
                </a:cubicBezTo>
                <a:lnTo>
                  <a:pt x="838" y="596"/>
                </a:lnTo>
                <a:cubicBezTo>
                  <a:pt x="846" y="596"/>
                  <a:pt x="879" y="604"/>
                  <a:pt x="887" y="604"/>
                </a:cubicBezTo>
                <a:lnTo>
                  <a:pt x="896" y="619"/>
                </a:lnTo>
                <a:cubicBezTo>
                  <a:pt x="904" y="619"/>
                  <a:pt x="912" y="627"/>
                  <a:pt x="920" y="619"/>
                </a:cubicBezTo>
                <a:cubicBezTo>
                  <a:pt x="920" y="619"/>
                  <a:pt x="928" y="604"/>
                  <a:pt x="937" y="604"/>
                </a:cubicBezTo>
                <a:lnTo>
                  <a:pt x="970" y="604"/>
                </a:lnTo>
                <a:lnTo>
                  <a:pt x="1002" y="612"/>
                </a:lnTo>
                <a:cubicBezTo>
                  <a:pt x="1002" y="612"/>
                  <a:pt x="994" y="627"/>
                  <a:pt x="994" y="635"/>
                </a:cubicBezTo>
                <a:cubicBezTo>
                  <a:pt x="994" y="642"/>
                  <a:pt x="994" y="650"/>
                  <a:pt x="1002" y="658"/>
                </a:cubicBezTo>
                <a:lnTo>
                  <a:pt x="1019" y="673"/>
                </a:lnTo>
                <a:lnTo>
                  <a:pt x="1060" y="689"/>
                </a:lnTo>
                <a:cubicBezTo>
                  <a:pt x="1060" y="689"/>
                  <a:pt x="1068" y="697"/>
                  <a:pt x="1068" y="666"/>
                </a:cubicBezTo>
                <a:lnTo>
                  <a:pt x="1068" y="596"/>
                </a:lnTo>
                <a:cubicBezTo>
                  <a:pt x="1068" y="596"/>
                  <a:pt x="1068" y="588"/>
                  <a:pt x="1060" y="588"/>
                </a:cubicBezTo>
                <a:lnTo>
                  <a:pt x="1052" y="588"/>
                </a:lnTo>
                <a:cubicBezTo>
                  <a:pt x="1052" y="588"/>
                  <a:pt x="1019" y="581"/>
                  <a:pt x="1011" y="581"/>
                </a:cubicBezTo>
                <a:cubicBezTo>
                  <a:pt x="1002" y="581"/>
                  <a:pt x="1011" y="565"/>
                  <a:pt x="1011" y="557"/>
                </a:cubicBezTo>
                <a:lnTo>
                  <a:pt x="1027" y="542"/>
                </a:lnTo>
                <a:lnTo>
                  <a:pt x="1027" y="519"/>
                </a:lnTo>
                <a:lnTo>
                  <a:pt x="1002" y="480"/>
                </a:lnTo>
                <a:lnTo>
                  <a:pt x="978" y="457"/>
                </a:lnTo>
                <a:lnTo>
                  <a:pt x="961" y="418"/>
                </a:lnTo>
                <a:lnTo>
                  <a:pt x="986" y="403"/>
                </a:lnTo>
                <a:cubicBezTo>
                  <a:pt x="1002" y="387"/>
                  <a:pt x="1027" y="372"/>
                  <a:pt x="1027" y="372"/>
                </a:cubicBezTo>
                <a:lnTo>
                  <a:pt x="1035" y="372"/>
                </a:lnTo>
                <a:lnTo>
                  <a:pt x="1052" y="356"/>
                </a:lnTo>
                <a:lnTo>
                  <a:pt x="1093" y="341"/>
                </a:lnTo>
                <a:lnTo>
                  <a:pt x="1101" y="333"/>
                </a:lnTo>
                <a:lnTo>
                  <a:pt x="1109" y="333"/>
                </a:lnTo>
                <a:lnTo>
                  <a:pt x="1150" y="294"/>
                </a:lnTo>
                <a:lnTo>
                  <a:pt x="1150" y="256"/>
                </a:lnTo>
                <a:lnTo>
                  <a:pt x="1158" y="240"/>
                </a:lnTo>
                <a:lnTo>
                  <a:pt x="1158" y="217"/>
                </a:lnTo>
                <a:lnTo>
                  <a:pt x="1208" y="217"/>
                </a:lnTo>
                <a:cubicBezTo>
                  <a:pt x="1208" y="217"/>
                  <a:pt x="1216" y="225"/>
                  <a:pt x="1224" y="232"/>
                </a:cubicBezTo>
                <a:cubicBezTo>
                  <a:pt x="1232" y="232"/>
                  <a:pt x="1241" y="225"/>
                  <a:pt x="1241" y="225"/>
                </a:cubicBezTo>
                <a:cubicBezTo>
                  <a:pt x="1249" y="225"/>
                  <a:pt x="1257" y="209"/>
                  <a:pt x="1257" y="209"/>
                </a:cubicBezTo>
                <a:lnTo>
                  <a:pt x="1257" y="186"/>
                </a:lnTo>
                <a:lnTo>
                  <a:pt x="1249" y="147"/>
                </a:lnTo>
                <a:lnTo>
                  <a:pt x="1249" y="124"/>
                </a:lnTo>
                <a:cubicBezTo>
                  <a:pt x="1257" y="124"/>
                  <a:pt x="1290" y="147"/>
                  <a:pt x="1306" y="155"/>
                </a:cubicBezTo>
                <a:cubicBezTo>
                  <a:pt x="1315" y="163"/>
                  <a:pt x="1339" y="186"/>
                  <a:pt x="1339" y="186"/>
                </a:cubicBezTo>
                <a:cubicBezTo>
                  <a:pt x="1339" y="186"/>
                  <a:pt x="1380" y="194"/>
                  <a:pt x="1388" y="194"/>
                </a:cubicBezTo>
                <a:lnTo>
                  <a:pt x="1429" y="201"/>
                </a:lnTo>
                <a:lnTo>
                  <a:pt x="1438" y="186"/>
                </a:lnTo>
                <a:lnTo>
                  <a:pt x="1462" y="170"/>
                </a:lnTo>
                <a:lnTo>
                  <a:pt x="1495" y="194"/>
                </a:lnTo>
                <a:lnTo>
                  <a:pt x="1528" y="18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15" name="Freeform 107">
            <a:extLst>
              <a:ext uri="{FF2B5EF4-FFF2-40B4-BE49-F238E27FC236}">
                <a16:creationId xmlns:a16="http://schemas.microsoft.com/office/drawing/2014/main" id="{6529C36B-6053-1FF7-4C38-9D9219F38CF5}"/>
              </a:ext>
            </a:extLst>
          </p:cNvPr>
          <p:cNvSpPr>
            <a:spLocks noChangeArrowheads="1"/>
          </p:cNvSpPr>
          <p:nvPr>
            <p:custDataLst>
              <p:tags r:id="rId107"/>
            </p:custDataLst>
          </p:nvPr>
        </p:nvSpPr>
        <p:spPr bwMode="auto">
          <a:xfrm>
            <a:off x="5315948" y="3765520"/>
            <a:ext cx="1742391" cy="1753258"/>
          </a:xfrm>
          <a:custGeom>
            <a:avLst/>
            <a:gdLst>
              <a:gd name="T0" fmla="*/ 4165 w 4240"/>
              <a:gd name="T1" fmla="*/ 4150 h 4270"/>
              <a:gd name="T2" fmla="*/ 4230 w 4240"/>
              <a:gd name="T3" fmla="*/ 3753 h 4270"/>
              <a:gd name="T4" fmla="*/ 4092 w 4240"/>
              <a:gd name="T5" fmla="*/ 3690 h 4270"/>
              <a:gd name="T6" fmla="*/ 3961 w 4240"/>
              <a:gd name="T7" fmla="*/ 3991 h 4270"/>
              <a:gd name="T8" fmla="*/ 3652 w 4240"/>
              <a:gd name="T9" fmla="*/ 1595 h 4270"/>
              <a:gd name="T10" fmla="*/ 1565 w 4240"/>
              <a:gd name="T11" fmla="*/ 3618 h 4270"/>
              <a:gd name="T12" fmla="*/ 2160 w 4240"/>
              <a:gd name="T13" fmla="*/ 3404 h 4270"/>
              <a:gd name="T14" fmla="*/ 2592 w 4240"/>
              <a:gd name="T15" fmla="*/ 3309 h 4270"/>
              <a:gd name="T16" fmla="*/ 3024 w 4240"/>
              <a:gd name="T17" fmla="*/ 3476 h 4270"/>
              <a:gd name="T18" fmla="*/ 3440 w 4240"/>
              <a:gd name="T19" fmla="*/ 3285 h 4270"/>
              <a:gd name="T20" fmla="*/ 3570 w 4240"/>
              <a:gd name="T21" fmla="*/ 3214 h 4270"/>
              <a:gd name="T22" fmla="*/ 3432 w 4240"/>
              <a:gd name="T23" fmla="*/ 2849 h 4270"/>
              <a:gd name="T24" fmla="*/ 3464 w 4240"/>
              <a:gd name="T25" fmla="*/ 2579 h 4270"/>
              <a:gd name="T26" fmla="*/ 3423 w 4240"/>
              <a:gd name="T27" fmla="*/ 2269 h 4270"/>
              <a:gd name="T28" fmla="*/ 3391 w 4240"/>
              <a:gd name="T29" fmla="*/ 2134 h 4270"/>
              <a:gd name="T30" fmla="*/ 3277 w 4240"/>
              <a:gd name="T31" fmla="*/ 2079 h 4270"/>
              <a:gd name="T32" fmla="*/ 3220 w 4240"/>
              <a:gd name="T33" fmla="*/ 2174 h 4270"/>
              <a:gd name="T34" fmla="*/ 3130 w 4240"/>
              <a:gd name="T35" fmla="*/ 2174 h 4270"/>
              <a:gd name="T36" fmla="*/ 3163 w 4240"/>
              <a:gd name="T37" fmla="*/ 2063 h 4270"/>
              <a:gd name="T38" fmla="*/ 3277 w 4240"/>
              <a:gd name="T39" fmla="*/ 1936 h 4270"/>
              <a:gd name="T40" fmla="*/ 3334 w 4240"/>
              <a:gd name="T41" fmla="*/ 1841 h 4270"/>
              <a:gd name="T42" fmla="*/ 3407 w 4240"/>
              <a:gd name="T43" fmla="*/ 1761 h 4270"/>
              <a:gd name="T44" fmla="*/ 3432 w 4240"/>
              <a:gd name="T45" fmla="*/ 1682 h 4270"/>
              <a:gd name="T46" fmla="*/ 3448 w 4240"/>
              <a:gd name="T47" fmla="*/ 1619 h 4270"/>
              <a:gd name="T48" fmla="*/ 3578 w 4240"/>
              <a:gd name="T49" fmla="*/ 1634 h 4270"/>
              <a:gd name="T50" fmla="*/ 3652 w 4240"/>
              <a:gd name="T51" fmla="*/ 1587 h 4270"/>
              <a:gd name="T52" fmla="*/ 3774 w 4240"/>
              <a:gd name="T53" fmla="*/ 1055 h 4270"/>
              <a:gd name="T54" fmla="*/ 3464 w 4240"/>
              <a:gd name="T55" fmla="*/ 881 h 4270"/>
              <a:gd name="T56" fmla="*/ 3277 w 4240"/>
              <a:gd name="T57" fmla="*/ 754 h 4270"/>
              <a:gd name="T58" fmla="*/ 3187 w 4240"/>
              <a:gd name="T59" fmla="*/ 754 h 4270"/>
              <a:gd name="T60" fmla="*/ 3130 w 4240"/>
              <a:gd name="T61" fmla="*/ 714 h 4270"/>
              <a:gd name="T62" fmla="*/ 3008 w 4240"/>
              <a:gd name="T63" fmla="*/ 682 h 4270"/>
              <a:gd name="T64" fmla="*/ 2877 w 4240"/>
              <a:gd name="T65" fmla="*/ 595 h 4270"/>
              <a:gd name="T66" fmla="*/ 2845 w 4240"/>
              <a:gd name="T67" fmla="*/ 484 h 4270"/>
              <a:gd name="T68" fmla="*/ 2698 w 4240"/>
              <a:gd name="T69" fmla="*/ 476 h 4270"/>
              <a:gd name="T70" fmla="*/ 2666 w 4240"/>
              <a:gd name="T71" fmla="*/ 349 h 4270"/>
              <a:gd name="T72" fmla="*/ 2535 w 4240"/>
              <a:gd name="T73" fmla="*/ 277 h 4270"/>
              <a:gd name="T74" fmla="*/ 2429 w 4240"/>
              <a:gd name="T75" fmla="*/ 142 h 4270"/>
              <a:gd name="T76" fmla="*/ 2291 w 4240"/>
              <a:gd name="T77" fmla="*/ 55 h 4270"/>
              <a:gd name="T78" fmla="*/ 1989 w 4240"/>
              <a:gd name="T79" fmla="*/ 182 h 4270"/>
              <a:gd name="T80" fmla="*/ 1525 w 4240"/>
              <a:gd name="T81" fmla="*/ 539 h 4270"/>
              <a:gd name="T82" fmla="*/ 1117 w 4240"/>
              <a:gd name="T83" fmla="*/ 595 h 4270"/>
              <a:gd name="T84" fmla="*/ 970 w 4240"/>
              <a:gd name="T85" fmla="*/ 547 h 4270"/>
              <a:gd name="T86" fmla="*/ 889 w 4240"/>
              <a:gd name="T87" fmla="*/ 920 h 4270"/>
              <a:gd name="T88" fmla="*/ 546 w 4240"/>
              <a:gd name="T89" fmla="*/ 746 h 4270"/>
              <a:gd name="T90" fmla="*/ 82 w 4240"/>
              <a:gd name="T91" fmla="*/ 801 h 4270"/>
              <a:gd name="T92" fmla="*/ 131 w 4240"/>
              <a:gd name="T93" fmla="*/ 1007 h 4270"/>
              <a:gd name="T94" fmla="*/ 245 w 4240"/>
              <a:gd name="T95" fmla="*/ 1158 h 4270"/>
              <a:gd name="T96" fmla="*/ 555 w 4240"/>
              <a:gd name="T97" fmla="*/ 1317 h 4270"/>
              <a:gd name="T98" fmla="*/ 726 w 4240"/>
              <a:gd name="T99" fmla="*/ 1555 h 4270"/>
              <a:gd name="T100" fmla="*/ 718 w 4240"/>
              <a:gd name="T101" fmla="*/ 1722 h 4270"/>
              <a:gd name="T102" fmla="*/ 938 w 4240"/>
              <a:gd name="T103" fmla="*/ 1976 h 4270"/>
              <a:gd name="T104" fmla="*/ 921 w 4240"/>
              <a:gd name="T105" fmla="*/ 2079 h 4270"/>
              <a:gd name="T106" fmla="*/ 897 w 4240"/>
              <a:gd name="T107" fmla="*/ 2166 h 4270"/>
              <a:gd name="T108" fmla="*/ 930 w 4240"/>
              <a:gd name="T109" fmla="*/ 2253 h 4270"/>
              <a:gd name="T110" fmla="*/ 791 w 4240"/>
              <a:gd name="T111" fmla="*/ 2793 h 4270"/>
              <a:gd name="T112" fmla="*/ 881 w 4240"/>
              <a:gd name="T113" fmla="*/ 3380 h 4270"/>
              <a:gd name="T114" fmla="*/ 1565 w 4240"/>
              <a:gd name="T115" fmla="*/ 3602 h 4270"/>
              <a:gd name="T116" fmla="*/ 1630 w 4240"/>
              <a:gd name="T117" fmla="*/ 3587 h 4270"/>
              <a:gd name="T118" fmla="*/ 1671 w 4240"/>
              <a:gd name="T119" fmla="*/ 3610 h 4270"/>
              <a:gd name="T120" fmla="*/ 1663 w 4240"/>
              <a:gd name="T121" fmla="*/ 3650 h 4270"/>
              <a:gd name="T122" fmla="*/ 1606 w 4240"/>
              <a:gd name="T123" fmla="*/ 3658 h 4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240" h="4270">
                <a:moveTo>
                  <a:pt x="4018" y="4126"/>
                </a:moveTo>
                <a:lnTo>
                  <a:pt x="4002" y="4158"/>
                </a:lnTo>
                <a:lnTo>
                  <a:pt x="3986" y="4182"/>
                </a:lnTo>
                <a:lnTo>
                  <a:pt x="4027" y="4198"/>
                </a:lnTo>
                <a:lnTo>
                  <a:pt x="4051" y="4229"/>
                </a:lnTo>
                <a:cubicBezTo>
                  <a:pt x="4051" y="4229"/>
                  <a:pt x="4067" y="4253"/>
                  <a:pt x="4084" y="4253"/>
                </a:cubicBezTo>
                <a:cubicBezTo>
                  <a:pt x="4100" y="4253"/>
                  <a:pt x="4124" y="4269"/>
                  <a:pt x="4124" y="4269"/>
                </a:cubicBezTo>
                <a:cubicBezTo>
                  <a:pt x="4124" y="4269"/>
                  <a:pt x="4141" y="4245"/>
                  <a:pt x="4141" y="4214"/>
                </a:cubicBezTo>
                <a:cubicBezTo>
                  <a:pt x="4149" y="4190"/>
                  <a:pt x="4116" y="4158"/>
                  <a:pt x="4165" y="4150"/>
                </a:cubicBezTo>
                <a:cubicBezTo>
                  <a:pt x="4214" y="4150"/>
                  <a:pt x="4181" y="4095"/>
                  <a:pt x="4181" y="4095"/>
                </a:cubicBezTo>
                <a:lnTo>
                  <a:pt x="4181" y="4055"/>
                </a:lnTo>
                <a:lnTo>
                  <a:pt x="4173" y="4007"/>
                </a:lnTo>
                <a:lnTo>
                  <a:pt x="4181" y="3991"/>
                </a:lnTo>
                <a:lnTo>
                  <a:pt x="4206" y="3960"/>
                </a:lnTo>
                <a:lnTo>
                  <a:pt x="4230" y="3936"/>
                </a:lnTo>
                <a:cubicBezTo>
                  <a:pt x="4230" y="3936"/>
                  <a:pt x="4239" y="3912"/>
                  <a:pt x="4239" y="3896"/>
                </a:cubicBezTo>
                <a:cubicBezTo>
                  <a:pt x="4230" y="3888"/>
                  <a:pt x="4206" y="3849"/>
                  <a:pt x="4206" y="3849"/>
                </a:cubicBezTo>
                <a:lnTo>
                  <a:pt x="4230" y="3753"/>
                </a:lnTo>
                <a:lnTo>
                  <a:pt x="4222" y="3737"/>
                </a:lnTo>
                <a:lnTo>
                  <a:pt x="4214" y="3714"/>
                </a:lnTo>
                <a:lnTo>
                  <a:pt x="4198" y="3642"/>
                </a:lnTo>
                <a:lnTo>
                  <a:pt x="4198" y="3547"/>
                </a:lnTo>
                <a:lnTo>
                  <a:pt x="4149" y="3563"/>
                </a:lnTo>
                <a:lnTo>
                  <a:pt x="4165" y="3603"/>
                </a:lnTo>
                <a:lnTo>
                  <a:pt x="4149" y="3674"/>
                </a:lnTo>
                <a:lnTo>
                  <a:pt x="4108" y="3682"/>
                </a:lnTo>
                <a:lnTo>
                  <a:pt x="4092" y="3690"/>
                </a:lnTo>
                <a:lnTo>
                  <a:pt x="4067" y="3714"/>
                </a:lnTo>
                <a:lnTo>
                  <a:pt x="4027" y="3722"/>
                </a:lnTo>
                <a:lnTo>
                  <a:pt x="3986" y="3753"/>
                </a:lnTo>
                <a:lnTo>
                  <a:pt x="3953" y="3793"/>
                </a:lnTo>
                <a:lnTo>
                  <a:pt x="3929" y="3817"/>
                </a:lnTo>
                <a:cubicBezTo>
                  <a:pt x="3929" y="3817"/>
                  <a:pt x="3929" y="3833"/>
                  <a:pt x="3945" y="3849"/>
                </a:cubicBezTo>
                <a:cubicBezTo>
                  <a:pt x="3961" y="3872"/>
                  <a:pt x="3921" y="3952"/>
                  <a:pt x="3921" y="3952"/>
                </a:cubicBezTo>
                <a:lnTo>
                  <a:pt x="3953" y="3952"/>
                </a:lnTo>
                <a:lnTo>
                  <a:pt x="3961" y="3991"/>
                </a:lnTo>
                <a:lnTo>
                  <a:pt x="3937" y="4031"/>
                </a:lnTo>
                <a:lnTo>
                  <a:pt x="3961" y="4047"/>
                </a:lnTo>
                <a:lnTo>
                  <a:pt x="3986" y="4047"/>
                </a:lnTo>
                <a:lnTo>
                  <a:pt x="3961" y="4095"/>
                </a:lnTo>
                <a:lnTo>
                  <a:pt x="3961" y="4110"/>
                </a:lnTo>
                <a:lnTo>
                  <a:pt x="4018" y="4126"/>
                </a:lnTo>
                <a:close/>
                <a:moveTo>
                  <a:pt x="3668" y="1603"/>
                </a:moveTo>
                <a:lnTo>
                  <a:pt x="3660" y="1603"/>
                </a:lnTo>
                <a:lnTo>
                  <a:pt x="3652" y="1595"/>
                </a:lnTo>
                <a:cubicBezTo>
                  <a:pt x="3660" y="1595"/>
                  <a:pt x="3660" y="1587"/>
                  <a:pt x="3660" y="1587"/>
                </a:cubicBezTo>
                <a:cubicBezTo>
                  <a:pt x="3660" y="1595"/>
                  <a:pt x="3668" y="1595"/>
                  <a:pt x="3668" y="1603"/>
                </a:cubicBezTo>
                <a:close/>
                <a:moveTo>
                  <a:pt x="1565" y="3618"/>
                </a:moveTo>
                <a:lnTo>
                  <a:pt x="1573" y="3618"/>
                </a:lnTo>
                <a:lnTo>
                  <a:pt x="1573" y="3626"/>
                </a:lnTo>
                <a:lnTo>
                  <a:pt x="1582" y="3634"/>
                </a:lnTo>
                <a:lnTo>
                  <a:pt x="1573" y="3634"/>
                </a:lnTo>
                <a:lnTo>
                  <a:pt x="1565" y="3634"/>
                </a:lnTo>
                <a:lnTo>
                  <a:pt x="1565" y="3618"/>
                </a:lnTo>
                <a:close/>
                <a:moveTo>
                  <a:pt x="2111" y="3737"/>
                </a:moveTo>
                <a:lnTo>
                  <a:pt x="2128" y="3714"/>
                </a:lnTo>
                <a:cubicBezTo>
                  <a:pt x="2128" y="3714"/>
                  <a:pt x="2128" y="3666"/>
                  <a:pt x="2111" y="3658"/>
                </a:cubicBezTo>
                <a:cubicBezTo>
                  <a:pt x="2103" y="3650"/>
                  <a:pt x="2095" y="3642"/>
                  <a:pt x="2095" y="3642"/>
                </a:cubicBezTo>
                <a:lnTo>
                  <a:pt x="2095" y="3547"/>
                </a:lnTo>
                <a:cubicBezTo>
                  <a:pt x="2095" y="3539"/>
                  <a:pt x="2103" y="3507"/>
                  <a:pt x="2103" y="3499"/>
                </a:cubicBezTo>
                <a:cubicBezTo>
                  <a:pt x="2103" y="3499"/>
                  <a:pt x="2095" y="3499"/>
                  <a:pt x="2111" y="3484"/>
                </a:cubicBezTo>
                <a:cubicBezTo>
                  <a:pt x="2128" y="3460"/>
                  <a:pt x="2128" y="3444"/>
                  <a:pt x="2128" y="3444"/>
                </a:cubicBezTo>
                <a:lnTo>
                  <a:pt x="2160" y="3404"/>
                </a:lnTo>
                <a:cubicBezTo>
                  <a:pt x="2160" y="3404"/>
                  <a:pt x="2185" y="3364"/>
                  <a:pt x="2193" y="3364"/>
                </a:cubicBezTo>
                <a:cubicBezTo>
                  <a:pt x="2201" y="3372"/>
                  <a:pt x="2234" y="3364"/>
                  <a:pt x="2242" y="3364"/>
                </a:cubicBezTo>
                <a:cubicBezTo>
                  <a:pt x="2250" y="3364"/>
                  <a:pt x="2282" y="3396"/>
                  <a:pt x="2299" y="3364"/>
                </a:cubicBezTo>
                <a:cubicBezTo>
                  <a:pt x="2315" y="3341"/>
                  <a:pt x="2323" y="3325"/>
                  <a:pt x="2323" y="3317"/>
                </a:cubicBezTo>
                <a:cubicBezTo>
                  <a:pt x="2331" y="3309"/>
                  <a:pt x="2340" y="3285"/>
                  <a:pt x="2364" y="3285"/>
                </a:cubicBezTo>
                <a:cubicBezTo>
                  <a:pt x="2388" y="3277"/>
                  <a:pt x="2445" y="3277"/>
                  <a:pt x="2445" y="3277"/>
                </a:cubicBezTo>
                <a:lnTo>
                  <a:pt x="2470" y="3285"/>
                </a:lnTo>
                <a:lnTo>
                  <a:pt x="2535" y="3309"/>
                </a:lnTo>
                <a:lnTo>
                  <a:pt x="2592" y="3309"/>
                </a:lnTo>
                <a:lnTo>
                  <a:pt x="2617" y="3341"/>
                </a:lnTo>
                <a:cubicBezTo>
                  <a:pt x="2617" y="3341"/>
                  <a:pt x="2649" y="3357"/>
                  <a:pt x="2657" y="3357"/>
                </a:cubicBezTo>
                <a:cubicBezTo>
                  <a:pt x="2666" y="3357"/>
                  <a:pt x="2731" y="3341"/>
                  <a:pt x="2731" y="3341"/>
                </a:cubicBezTo>
                <a:cubicBezTo>
                  <a:pt x="2731" y="3341"/>
                  <a:pt x="2755" y="3333"/>
                  <a:pt x="2763" y="3341"/>
                </a:cubicBezTo>
                <a:cubicBezTo>
                  <a:pt x="2771" y="3349"/>
                  <a:pt x="2796" y="3357"/>
                  <a:pt x="2804" y="3364"/>
                </a:cubicBezTo>
                <a:cubicBezTo>
                  <a:pt x="2804" y="3372"/>
                  <a:pt x="2869" y="3404"/>
                  <a:pt x="2886" y="3412"/>
                </a:cubicBezTo>
                <a:cubicBezTo>
                  <a:pt x="2894" y="3420"/>
                  <a:pt x="2926" y="3412"/>
                  <a:pt x="2926" y="3412"/>
                </a:cubicBezTo>
                <a:lnTo>
                  <a:pt x="2943" y="3452"/>
                </a:lnTo>
                <a:lnTo>
                  <a:pt x="3024" y="3476"/>
                </a:lnTo>
                <a:lnTo>
                  <a:pt x="3057" y="3476"/>
                </a:lnTo>
                <a:lnTo>
                  <a:pt x="3171" y="3515"/>
                </a:lnTo>
                <a:lnTo>
                  <a:pt x="3244" y="3460"/>
                </a:lnTo>
                <a:cubicBezTo>
                  <a:pt x="3244" y="3460"/>
                  <a:pt x="3260" y="3468"/>
                  <a:pt x="3269" y="3468"/>
                </a:cubicBezTo>
                <a:cubicBezTo>
                  <a:pt x="3277" y="3468"/>
                  <a:pt x="3293" y="3404"/>
                  <a:pt x="3293" y="3404"/>
                </a:cubicBezTo>
                <a:cubicBezTo>
                  <a:pt x="3293" y="3404"/>
                  <a:pt x="3293" y="3388"/>
                  <a:pt x="3301" y="3388"/>
                </a:cubicBezTo>
                <a:cubicBezTo>
                  <a:pt x="3318" y="3388"/>
                  <a:pt x="3375" y="3364"/>
                  <a:pt x="3375" y="3364"/>
                </a:cubicBezTo>
                <a:cubicBezTo>
                  <a:pt x="3375" y="3357"/>
                  <a:pt x="3366" y="3325"/>
                  <a:pt x="3391" y="3317"/>
                </a:cubicBezTo>
                <a:cubicBezTo>
                  <a:pt x="3407" y="3309"/>
                  <a:pt x="3440" y="3285"/>
                  <a:pt x="3440" y="3285"/>
                </a:cubicBezTo>
                <a:cubicBezTo>
                  <a:pt x="3448" y="3277"/>
                  <a:pt x="3432" y="3261"/>
                  <a:pt x="3456" y="3253"/>
                </a:cubicBezTo>
                <a:cubicBezTo>
                  <a:pt x="3472" y="3253"/>
                  <a:pt x="3497" y="3245"/>
                  <a:pt x="3513" y="3245"/>
                </a:cubicBezTo>
                <a:lnTo>
                  <a:pt x="3513" y="3237"/>
                </a:lnTo>
                <a:lnTo>
                  <a:pt x="3521" y="3237"/>
                </a:lnTo>
                <a:lnTo>
                  <a:pt x="3529" y="3230"/>
                </a:lnTo>
                <a:lnTo>
                  <a:pt x="3546" y="3230"/>
                </a:lnTo>
                <a:lnTo>
                  <a:pt x="3546" y="3222"/>
                </a:lnTo>
                <a:lnTo>
                  <a:pt x="3554" y="3222"/>
                </a:lnTo>
                <a:cubicBezTo>
                  <a:pt x="3562" y="3214"/>
                  <a:pt x="3570" y="3214"/>
                  <a:pt x="3570" y="3214"/>
                </a:cubicBezTo>
                <a:lnTo>
                  <a:pt x="3619" y="3174"/>
                </a:lnTo>
                <a:lnTo>
                  <a:pt x="3643" y="3087"/>
                </a:lnTo>
                <a:lnTo>
                  <a:pt x="3611" y="3063"/>
                </a:lnTo>
                <a:lnTo>
                  <a:pt x="3538" y="3063"/>
                </a:lnTo>
                <a:lnTo>
                  <a:pt x="3456" y="3031"/>
                </a:lnTo>
                <a:lnTo>
                  <a:pt x="3415" y="2968"/>
                </a:lnTo>
                <a:lnTo>
                  <a:pt x="3391" y="2968"/>
                </a:lnTo>
                <a:cubicBezTo>
                  <a:pt x="3383" y="2912"/>
                  <a:pt x="3366" y="2936"/>
                  <a:pt x="3399" y="2896"/>
                </a:cubicBezTo>
                <a:lnTo>
                  <a:pt x="3432" y="2849"/>
                </a:lnTo>
                <a:lnTo>
                  <a:pt x="3423" y="2769"/>
                </a:lnTo>
                <a:lnTo>
                  <a:pt x="3399" y="2745"/>
                </a:lnTo>
                <a:lnTo>
                  <a:pt x="3358" y="2722"/>
                </a:lnTo>
                <a:cubicBezTo>
                  <a:pt x="3358" y="2722"/>
                  <a:pt x="3334" y="2690"/>
                  <a:pt x="3326" y="2682"/>
                </a:cubicBezTo>
                <a:lnTo>
                  <a:pt x="3326" y="2666"/>
                </a:lnTo>
                <a:cubicBezTo>
                  <a:pt x="3318" y="2658"/>
                  <a:pt x="3350" y="2658"/>
                  <a:pt x="3350" y="2658"/>
                </a:cubicBezTo>
                <a:cubicBezTo>
                  <a:pt x="3358" y="2658"/>
                  <a:pt x="3383" y="2650"/>
                  <a:pt x="3391" y="2650"/>
                </a:cubicBezTo>
                <a:cubicBezTo>
                  <a:pt x="3399" y="2650"/>
                  <a:pt x="3432" y="2618"/>
                  <a:pt x="3432" y="2618"/>
                </a:cubicBezTo>
                <a:cubicBezTo>
                  <a:pt x="3432" y="2618"/>
                  <a:pt x="3448" y="2587"/>
                  <a:pt x="3464" y="2579"/>
                </a:cubicBezTo>
                <a:cubicBezTo>
                  <a:pt x="3472" y="2571"/>
                  <a:pt x="3489" y="2507"/>
                  <a:pt x="3489" y="2499"/>
                </a:cubicBezTo>
                <a:cubicBezTo>
                  <a:pt x="3489" y="2499"/>
                  <a:pt x="3472" y="2460"/>
                  <a:pt x="3464" y="2460"/>
                </a:cubicBezTo>
                <a:cubicBezTo>
                  <a:pt x="3391" y="2428"/>
                  <a:pt x="3407" y="2412"/>
                  <a:pt x="3375" y="2396"/>
                </a:cubicBezTo>
                <a:lnTo>
                  <a:pt x="3375" y="2357"/>
                </a:lnTo>
                <a:lnTo>
                  <a:pt x="3415" y="2325"/>
                </a:lnTo>
                <a:cubicBezTo>
                  <a:pt x="3423" y="2317"/>
                  <a:pt x="3440" y="2309"/>
                  <a:pt x="3448" y="2309"/>
                </a:cubicBezTo>
                <a:lnTo>
                  <a:pt x="3456" y="2293"/>
                </a:lnTo>
                <a:lnTo>
                  <a:pt x="3440" y="2277"/>
                </a:lnTo>
                <a:cubicBezTo>
                  <a:pt x="3440" y="2277"/>
                  <a:pt x="3432" y="2269"/>
                  <a:pt x="3423" y="2269"/>
                </a:cubicBezTo>
                <a:lnTo>
                  <a:pt x="3415" y="2261"/>
                </a:lnTo>
                <a:cubicBezTo>
                  <a:pt x="3415" y="2261"/>
                  <a:pt x="3407" y="2253"/>
                  <a:pt x="3399" y="2253"/>
                </a:cubicBezTo>
                <a:cubicBezTo>
                  <a:pt x="3391" y="2253"/>
                  <a:pt x="3399" y="2238"/>
                  <a:pt x="3407" y="2238"/>
                </a:cubicBezTo>
                <a:lnTo>
                  <a:pt x="3407" y="2214"/>
                </a:lnTo>
                <a:lnTo>
                  <a:pt x="3375" y="2214"/>
                </a:lnTo>
                <a:lnTo>
                  <a:pt x="3375" y="2206"/>
                </a:lnTo>
                <a:cubicBezTo>
                  <a:pt x="3375" y="2206"/>
                  <a:pt x="3383" y="2182"/>
                  <a:pt x="3391" y="2182"/>
                </a:cubicBezTo>
                <a:lnTo>
                  <a:pt x="3391" y="2142"/>
                </a:lnTo>
                <a:cubicBezTo>
                  <a:pt x="3399" y="2134"/>
                  <a:pt x="3391" y="2134"/>
                  <a:pt x="3391" y="2134"/>
                </a:cubicBezTo>
                <a:cubicBezTo>
                  <a:pt x="3391" y="2134"/>
                  <a:pt x="3383" y="2126"/>
                  <a:pt x="3375" y="2126"/>
                </a:cubicBezTo>
                <a:lnTo>
                  <a:pt x="3383" y="2118"/>
                </a:lnTo>
                <a:cubicBezTo>
                  <a:pt x="3391" y="2103"/>
                  <a:pt x="3391" y="2111"/>
                  <a:pt x="3391" y="2111"/>
                </a:cubicBezTo>
                <a:lnTo>
                  <a:pt x="3391" y="2095"/>
                </a:lnTo>
                <a:lnTo>
                  <a:pt x="3375" y="2087"/>
                </a:lnTo>
                <a:lnTo>
                  <a:pt x="3350" y="2071"/>
                </a:lnTo>
                <a:lnTo>
                  <a:pt x="3318" y="2071"/>
                </a:lnTo>
                <a:lnTo>
                  <a:pt x="3293" y="2071"/>
                </a:lnTo>
                <a:lnTo>
                  <a:pt x="3277" y="2079"/>
                </a:lnTo>
                <a:lnTo>
                  <a:pt x="3269" y="2087"/>
                </a:lnTo>
                <a:lnTo>
                  <a:pt x="3244" y="2095"/>
                </a:lnTo>
                <a:lnTo>
                  <a:pt x="3220" y="2103"/>
                </a:lnTo>
                <a:cubicBezTo>
                  <a:pt x="3220" y="2103"/>
                  <a:pt x="3212" y="2118"/>
                  <a:pt x="3203" y="2126"/>
                </a:cubicBezTo>
                <a:lnTo>
                  <a:pt x="3203" y="2134"/>
                </a:lnTo>
                <a:lnTo>
                  <a:pt x="3220" y="2142"/>
                </a:lnTo>
                <a:lnTo>
                  <a:pt x="3220" y="2158"/>
                </a:lnTo>
                <a:lnTo>
                  <a:pt x="3228" y="2158"/>
                </a:lnTo>
                <a:lnTo>
                  <a:pt x="3220" y="2174"/>
                </a:lnTo>
                <a:cubicBezTo>
                  <a:pt x="3220" y="2174"/>
                  <a:pt x="3212" y="2174"/>
                  <a:pt x="3203" y="2182"/>
                </a:cubicBezTo>
                <a:cubicBezTo>
                  <a:pt x="3195" y="2190"/>
                  <a:pt x="3195" y="2198"/>
                  <a:pt x="3195" y="2198"/>
                </a:cubicBezTo>
                <a:lnTo>
                  <a:pt x="3171" y="2206"/>
                </a:lnTo>
                <a:lnTo>
                  <a:pt x="3155" y="2198"/>
                </a:lnTo>
                <a:lnTo>
                  <a:pt x="3138" y="2206"/>
                </a:lnTo>
                <a:lnTo>
                  <a:pt x="3130" y="2206"/>
                </a:lnTo>
                <a:lnTo>
                  <a:pt x="3130" y="2190"/>
                </a:lnTo>
                <a:lnTo>
                  <a:pt x="3122" y="2182"/>
                </a:lnTo>
                <a:lnTo>
                  <a:pt x="3130" y="2174"/>
                </a:lnTo>
                <a:lnTo>
                  <a:pt x="3138" y="2166"/>
                </a:lnTo>
                <a:cubicBezTo>
                  <a:pt x="3146" y="2166"/>
                  <a:pt x="3155" y="2158"/>
                  <a:pt x="3155" y="2158"/>
                </a:cubicBezTo>
                <a:lnTo>
                  <a:pt x="3171" y="2158"/>
                </a:lnTo>
                <a:lnTo>
                  <a:pt x="3171" y="2142"/>
                </a:lnTo>
                <a:lnTo>
                  <a:pt x="3179" y="2126"/>
                </a:lnTo>
                <a:lnTo>
                  <a:pt x="3179" y="2103"/>
                </a:lnTo>
                <a:lnTo>
                  <a:pt x="3171" y="2095"/>
                </a:lnTo>
                <a:lnTo>
                  <a:pt x="3163" y="2087"/>
                </a:lnTo>
                <a:lnTo>
                  <a:pt x="3163" y="2063"/>
                </a:lnTo>
                <a:lnTo>
                  <a:pt x="3171" y="2055"/>
                </a:lnTo>
                <a:cubicBezTo>
                  <a:pt x="3171" y="2055"/>
                  <a:pt x="3179" y="2047"/>
                  <a:pt x="3179" y="2039"/>
                </a:cubicBezTo>
                <a:lnTo>
                  <a:pt x="3179" y="2015"/>
                </a:lnTo>
                <a:lnTo>
                  <a:pt x="3212" y="1984"/>
                </a:lnTo>
                <a:lnTo>
                  <a:pt x="3228" y="1968"/>
                </a:lnTo>
                <a:cubicBezTo>
                  <a:pt x="3228" y="1968"/>
                  <a:pt x="3244" y="1968"/>
                  <a:pt x="3244" y="1960"/>
                </a:cubicBezTo>
                <a:lnTo>
                  <a:pt x="3260" y="1960"/>
                </a:lnTo>
                <a:lnTo>
                  <a:pt x="3269" y="1952"/>
                </a:lnTo>
                <a:cubicBezTo>
                  <a:pt x="3277" y="1944"/>
                  <a:pt x="3277" y="1936"/>
                  <a:pt x="3277" y="1936"/>
                </a:cubicBezTo>
                <a:lnTo>
                  <a:pt x="3277" y="1912"/>
                </a:lnTo>
                <a:cubicBezTo>
                  <a:pt x="3277" y="1904"/>
                  <a:pt x="3285" y="1904"/>
                  <a:pt x="3285" y="1904"/>
                </a:cubicBezTo>
                <a:lnTo>
                  <a:pt x="3285" y="1888"/>
                </a:lnTo>
                <a:cubicBezTo>
                  <a:pt x="3285" y="1888"/>
                  <a:pt x="3277" y="1880"/>
                  <a:pt x="3277" y="1873"/>
                </a:cubicBezTo>
                <a:lnTo>
                  <a:pt x="3277" y="1865"/>
                </a:lnTo>
                <a:cubicBezTo>
                  <a:pt x="3285" y="1857"/>
                  <a:pt x="3293" y="1857"/>
                  <a:pt x="3293" y="1857"/>
                </a:cubicBezTo>
                <a:lnTo>
                  <a:pt x="3309" y="1857"/>
                </a:lnTo>
                <a:cubicBezTo>
                  <a:pt x="3309" y="1857"/>
                  <a:pt x="3318" y="1849"/>
                  <a:pt x="3326" y="1849"/>
                </a:cubicBezTo>
                <a:lnTo>
                  <a:pt x="3334" y="1841"/>
                </a:lnTo>
                <a:lnTo>
                  <a:pt x="3342" y="1825"/>
                </a:lnTo>
                <a:lnTo>
                  <a:pt x="3350" y="1825"/>
                </a:lnTo>
                <a:lnTo>
                  <a:pt x="3358" y="1817"/>
                </a:lnTo>
                <a:lnTo>
                  <a:pt x="3358" y="1801"/>
                </a:lnTo>
                <a:lnTo>
                  <a:pt x="3375" y="1793"/>
                </a:lnTo>
                <a:lnTo>
                  <a:pt x="3375" y="1785"/>
                </a:lnTo>
                <a:lnTo>
                  <a:pt x="3383" y="1777"/>
                </a:lnTo>
                <a:lnTo>
                  <a:pt x="3391" y="1777"/>
                </a:lnTo>
                <a:lnTo>
                  <a:pt x="3407" y="1761"/>
                </a:lnTo>
                <a:lnTo>
                  <a:pt x="3423" y="1753"/>
                </a:lnTo>
                <a:cubicBezTo>
                  <a:pt x="3423" y="1753"/>
                  <a:pt x="3432" y="1738"/>
                  <a:pt x="3432" y="1730"/>
                </a:cubicBezTo>
                <a:cubicBezTo>
                  <a:pt x="3432" y="1722"/>
                  <a:pt x="3432" y="1722"/>
                  <a:pt x="3440" y="1714"/>
                </a:cubicBezTo>
                <a:cubicBezTo>
                  <a:pt x="3440" y="1714"/>
                  <a:pt x="3448" y="1714"/>
                  <a:pt x="3456" y="1706"/>
                </a:cubicBezTo>
                <a:lnTo>
                  <a:pt x="3456" y="1698"/>
                </a:lnTo>
                <a:lnTo>
                  <a:pt x="3464" y="1698"/>
                </a:lnTo>
                <a:lnTo>
                  <a:pt x="3464" y="1674"/>
                </a:lnTo>
                <a:lnTo>
                  <a:pt x="3448" y="1682"/>
                </a:lnTo>
                <a:lnTo>
                  <a:pt x="3432" y="1682"/>
                </a:lnTo>
                <a:lnTo>
                  <a:pt x="3415" y="1682"/>
                </a:lnTo>
                <a:cubicBezTo>
                  <a:pt x="3407" y="1674"/>
                  <a:pt x="3415" y="1674"/>
                  <a:pt x="3415" y="1674"/>
                </a:cubicBezTo>
                <a:cubicBezTo>
                  <a:pt x="3415" y="1674"/>
                  <a:pt x="3423" y="1674"/>
                  <a:pt x="3423" y="1666"/>
                </a:cubicBezTo>
                <a:lnTo>
                  <a:pt x="3432" y="1650"/>
                </a:lnTo>
                <a:lnTo>
                  <a:pt x="3440" y="1650"/>
                </a:lnTo>
                <a:lnTo>
                  <a:pt x="3448" y="1642"/>
                </a:lnTo>
                <a:lnTo>
                  <a:pt x="3456" y="1642"/>
                </a:lnTo>
                <a:lnTo>
                  <a:pt x="3448" y="1634"/>
                </a:lnTo>
                <a:lnTo>
                  <a:pt x="3448" y="1619"/>
                </a:lnTo>
                <a:lnTo>
                  <a:pt x="3464" y="1626"/>
                </a:lnTo>
                <a:lnTo>
                  <a:pt x="3489" y="1626"/>
                </a:lnTo>
                <a:lnTo>
                  <a:pt x="3497" y="1619"/>
                </a:lnTo>
                <a:lnTo>
                  <a:pt x="3505" y="1634"/>
                </a:lnTo>
                <a:cubicBezTo>
                  <a:pt x="3505" y="1642"/>
                  <a:pt x="3505" y="1650"/>
                  <a:pt x="3513" y="1650"/>
                </a:cubicBezTo>
                <a:lnTo>
                  <a:pt x="3529" y="1658"/>
                </a:lnTo>
                <a:cubicBezTo>
                  <a:pt x="3529" y="1658"/>
                  <a:pt x="3529" y="1650"/>
                  <a:pt x="3538" y="1650"/>
                </a:cubicBezTo>
                <a:lnTo>
                  <a:pt x="3578" y="1650"/>
                </a:lnTo>
                <a:lnTo>
                  <a:pt x="3578" y="1634"/>
                </a:lnTo>
                <a:lnTo>
                  <a:pt x="3586" y="1619"/>
                </a:lnTo>
                <a:lnTo>
                  <a:pt x="3603" y="1619"/>
                </a:lnTo>
                <a:lnTo>
                  <a:pt x="3603" y="1603"/>
                </a:lnTo>
                <a:lnTo>
                  <a:pt x="3611" y="1603"/>
                </a:lnTo>
                <a:lnTo>
                  <a:pt x="3611" y="1587"/>
                </a:lnTo>
                <a:lnTo>
                  <a:pt x="3627" y="1587"/>
                </a:lnTo>
                <a:cubicBezTo>
                  <a:pt x="3635" y="1587"/>
                  <a:pt x="3627" y="1587"/>
                  <a:pt x="3627" y="1587"/>
                </a:cubicBezTo>
                <a:lnTo>
                  <a:pt x="3652" y="1579"/>
                </a:lnTo>
                <a:lnTo>
                  <a:pt x="3652" y="1587"/>
                </a:lnTo>
                <a:cubicBezTo>
                  <a:pt x="3635" y="1563"/>
                  <a:pt x="3611" y="1531"/>
                  <a:pt x="3611" y="1531"/>
                </a:cubicBezTo>
                <a:lnTo>
                  <a:pt x="3627" y="1499"/>
                </a:lnTo>
                <a:cubicBezTo>
                  <a:pt x="3627" y="1499"/>
                  <a:pt x="3635" y="1444"/>
                  <a:pt x="3635" y="1428"/>
                </a:cubicBezTo>
                <a:lnTo>
                  <a:pt x="3635" y="1373"/>
                </a:lnTo>
                <a:cubicBezTo>
                  <a:pt x="3635" y="1373"/>
                  <a:pt x="3603" y="1365"/>
                  <a:pt x="3627" y="1341"/>
                </a:cubicBezTo>
                <a:cubicBezTo>
                  <a:pt x="3652" y="1309"/>
                  <a:pt x="3676" y="1269"/>
                  <a:pt x="3676" y="1269"/>
                </a:cubicBezTo>
                <a:lnTo>
                  <a:pt x="3676" y="1190"/>
                </a:lnTo>
                <a:cubicBezTo>
                  <a:pt x="3676" y="1190"/>
                  <a:pt x="3652" y="1166"/>
                  <a:pt x="3684" y="1150"/>
                </a:cubicBezTo>
                <a:cubicBezTo>
                  <a:pt x="3717" y="1126"/>
                  <a:pt x="3774" y="1055"/>
                  <a:pt x="3774" y="1055"/>
                </a:cubicBezTo>
                <a:lnTo>
                  <a:pt x="3831" y="992"/>
                </a:lnTo>
                <a:lnTo>
                  <a:pt x="3733" y="968"/>
                </a:lnTo>
                <a:lnTo>
                  <a:pt x="3676" y="960"/>
                </a:lnTo>
                <a:lnTo>
                  <a:pt x="3635" y="936"/>
                </a:lnTo>
                <a:lnTo>
                  <a:pt x="3611" y="896"/>
                </a:lnTo>
                <a:lnTo>
                  <a:pt x="3586" y="912"/>
                </a:lnTo>
                <a:lnTo>
                  <a:pt x="3562" y="928"/>
                </a:lnTo>
                <a:lnTo>
                  <a:pt x="3505" y="920"/>
                </a:lnTo>
                <a:lnTo>
                  <a:pt x="3464" y="881"/>
                </a:lnTo>
                <a:lnTo>
                  <a:pt x="3432" y="904"/>
                </a:lnTo>
                <a:lnTo>
                  <a:pt x="3399" y="881"/>
                </a:lnTo>
                <a:lnTo>
                  <a:pt x="3375" y="841"/>
                </a:lnTo>
                <a:lnTo>
                  <a:pt x="3366" y="809"/>
                </a:lnTo>
                <a:lnTo>
                  <a:pt x="3326" y="769"/>
                </a:lnTo>
                <a:lnTo>
                  <a:pt x="3309" y="769"/>
                </a:lnTo>
                <a:cubicBezTo>
                  <a:pt x="3309" y="777"/>
                  <a:pt x="3301" y="777"/>
                  <a:pt x="3301" y="777"/>
                </a:cubicBezTo>
                <a:lnTo>
                  <a:pt x="3277" y="769"/>
                </a:lnTo>
                <a:lnTo>
                  <a:pt x="3277" y="754"/>
                </a:lnTo>
                <a:lnTo>
                  <a:pt x="3269" y="746"/>
                </a:lnTo>
                <a:lnTo>
                  <a:pt x="3252" y="746"/>
                </a:lnTo>
                <a:lnTo>
                  <a:pt x="3236" y="754"/>
                </a:lnTo>
                <a:lnTo>
                  <a:pt x="3228" y="761"/>
                </a:lnTo>
                <a:lnTo>
                  <a:pt x="3220" y="769"/>
                </a:lnTo>
                <a:lnTo>
                  <a:pt x="3212" y="769"/>
                </a:lnTo>
                <a:lnTo>
                  <a:pt x="3203" y="769"/>
                </a:lnTo>
                <a:lnTo>
                  <a:pt x="3187" y="769"/>
                </a:lnTo>
                <a:lnTo>
                  <a:pt x="3187" y="754"/>
                </a:lnTo>
                <a:lnTo>
                  <a:pt x="3171" y="746"/>
                </a:lnTo>
                <a:lnTo>
                  <a:pt x="3163" y="746"/>
                </a:lnTo>
                <a:lnTo>
                  <a:pt x="3155" y="738"/>
                </a:lnTo>
                <a:cubicBezTo>
                  <a:pt x="3146" y="738"/>
                  <a:pt x="3146" y="730"/>
                  <a:pt x="3146" y="730"/>
                </a:cubicBezTo>
                <a:lnTo>
                  <a:pt x="3138" y="722"/>
                </a:lnTo>
                <a:lnTo>
                  <a:pt x="3155" y="722"/>
                </a:lnTo>
                <a:lnTo>
                  <a:pt x="3155" y="714"/>
                </a:lnTo>
                <a:lnTo>
                  <a:pt x="3146" y="714"/>
                </a:lnTo>
                <a:lnTo>
                  <a:pt x="3130" y="714"/>
                </a:lnTo>
                <a:lnTo>
                  <a:pt x="3122" y="722"/>
                </a:lnTo>
                <a:lnTo>
                  <a:pt x="3106" y="722"/>
                </a:lnTo>
                <a:lnTo>
                  <a:pt x="3089" y="730"/>
                </a:lnTo>
                <a:lnTo>
                  <a:pt x="3065" y="730"/>
                </a:lnTo>
                <a:lnTo>
                  <a:pt x="3057" y="714"/>
                </a:lnTo>
                <a:lnTo>
                  <a:pt x="3049" y="698"/>
                </a:lnTo>
                <a:lnTo>
                  <a:pt x="3040" y="690"/>
                </a:lnTo>
                <a:lnTo>
                  <a:pt x="3032" y="690"/>
                </a:lnTo>
                <a:lnTo>
                  <a:pt x="3008" y="682"/>
                </a:lnTo>
                <a:lnTo>
                  <a:pt x="3016" y="666"/>
                </a:lnTo>
                <a:lnTo>
                  <a:pt x="3008" y="650"/>
                </a:lnTo>
                <a:lnTo>
                  <a:pt x="2992" y="650"/>
                </a:lnTo>
                <a:lnTo>
                  <a:pt x="2975" y="634"/>
                </a:lnTo>
                <a:cubicBezTo>
                  <a:pt x="2975" y="634"/>
                  <a:pt x="2975" y="627"/>
                  <a:pt x="2967" y="619"/>
                </a:cubicBezTo>
                <a:cubicBezTo>
                  <a:pt x="2959" y="619"/>
                  <a:pt x="2959" y="611"/>
                  <a:pt x="2951" y="611"/>
                </a:cubicBezTo>
                <a:lnTo>
                  <a:pt x="2926" y="611"/>
                </a:lnTo>
                <a:cubicBezTo>
                  <a:pt x="2926" y="611"/>
                  <a:pt x="2918" y="595"/>
                  <a:pt x="2910" y="595"/>
                </a:cubicBezTo>
                <a:lnTo>
                  <a:pt x="2877" y="595"/>
                </a:lnTo>
                <a:lnTo>
                  <a:pt x="2886" y="571"/>
                </a:lnTo>
                <a:lnTo>
                  <a:pt x="2886" y="531"/>
                </a:lnTo>
                <a:cubicBezTo>
                  <a:pt x="2886" y="531"/>
                  <a:pt x="2877" y="523"/>
                  <a:pt x="2886" y="507"/>
                </a:cubicBezTo>
                <a:cubicBezTo>
                  <a:pt x="2894" y="492"/>
                  <a:pt x="2886" y="500"/>
                  <a:pt x="2894" y="484"/>
                </a:cubicBezTo>
                <a:cubicBezTo>
                  <a:pt x="2902" y="460"/>
                  <a:pt x="2902" y="452"/>
                  <a:pt x="2902" y="452"/>
                </a:cubicBezTo>
                <a:lnTo>
                  <a:pt x="2886" y="444"/>
                </a:lnTo>
                <a:cubicBezTo>
                  <a:pt x="2886" y="444"/>
                  <a:pt x="2877" y="436"/>
                  <a:pt x="2869" y="444"/>
                </a:cubicBezTo>
                <a:cubicBezTo>
                  <a:pt x="2869" y="460"/>
                  <a:pt x="2861" y="460"/>
                  <a:pt x="2861" y="460"/>
                </a:cubicBezTo>
                <a:lnTo>
                  <a:pt x="2845" y="484"/>
                </a:lnTo>
                <a:lnTo>
                  <a:pt x="2845" y="507"/>
                </a:lnTo>
                <a:cubicBezTo>
                  <a:pt x="2845" y="507"/>
                  <a:pt x="2853" y="515"/>
                  <a:pt x="2829" y="515"/>
                </a:cubicBezTo>
                <a:lnTo>
                  <a:pt x="2796" y="515"/>
                </a:lnTo>
                <a:cubicBezTo>
                  <a:pt x="2796" y="515"/>
                  <a:pt x="2812" y="531"/>
                  <a:pt x="2788" y="531"/>
                </a:cubicBezTo>
                <a:lnTo>
                  <a:pt x="2747" y="531"/>
                </a:lnTo>
                <a:lnTo>
                  <a:pt x="2731" y="515"/>
                </a:lnTo>
                <a:lnTo>
                  <a:pt x="2698" y="523"/>
                </a:lnTo>
                <a:lnTo>
                  <a:pt x="2698" y="500"/>
                </a:lnTo>
                <a:cubicBezTo>
                  <a:pt x="2698" y="492"/>
                  <a:pt x="2690" y="476"/>
                  <a:pt x="2698" y="476"/>
                </a:cubicBezTo>
                <a:cubicBezTo>
                  <a:pt x="2706" y="476"/>
                  <a:pt x="2714" y="468"/>
                  <a:pt x="2714" y="468"/>
                </a:cubicBezTo>
                <a:lnTo>
                  <a:pt x="2706" y="444"/>
                </a:lnTo>
                <a:cubicBezTo>
                  <a:pt x="2706" y="444"/>
                  <a:pt x="2698" y="444"/>
                  <a:pt x="2698" y="436"/>
                </a:cubicBezTo>
                <a:cubicBezTo>
                  <a:pt x="2698" y="428"/>
                  <a:pt x="2706" y="412"/>
                  <a:pt x="2706" y="412"/>
                </a:cubicBezTo>
                <a:cubicBezTo>
                  <a:pt x="2714" y="404"/>
                  <a:pt x="2714" y="388"/>
                  <a:pt x="2714" y="388"/>
                </a:cubicBezTo>
                <a:lnTo>
                  <a:pt x="2706" y="388"/>
                </a:lnTo>
                <a:cubicBezTo>
                  <a:pt x="2706" y="388"/>
                  <a:pt x="2690" y="396"/>
                  <a:pt x="2690" y="381"/>
                </a:cubicBezTo>
                <a:cubicBezTo>
                  <a:pt x="2690" y="373"/>
                  <a:pt x="2682" y="357"/>
                  <a:pt x="2682" y="357"/>
                </a:cubicBezTo>
                <a:lnTo>
                  <a:pt x="2666" y="349"/>
                </a:lnTo>
                <a:cubicBezTo>
                  <a:pt x="2657" y="349"/>
                  <a:pt x="2657" y="349"/>
                  <a:pt x="2649" y="357"/>
                </a:cubicBezTo>
                <a:lnTo>
                  <a:pt x="2625" y="349"/>
                </a:lnTo>
                <a:lnTo>
                  <a:pt x="2600" y="349"/>
                </a:lnTo>
                <a:cubicBezTo>
                  <a:pt x="2592" y="349"/>
                  <a:pt x="2584" y="365"/>
                  <a:pt x="2584" y="365"/>
                </a:cubicBezTo>
                <a:lnTo>
                  <a:pt x="2568" y="341"/>
                </a:lnTo>
                <a:lnTo>
                  <a:pt x="2576" y="317"/>
                </a:lnTo>
                <a:cubicBezTo>
                  <a:pt x="2576" y="317"/>
                  <a:pt x="2560" y="301"/>
                  <a:pt x="2560" y="293"/>
                </a:cubicBezTo>
                <a:lnTo>
                  <a:pt x="2551" y="277"/>
                </a:lnTo>
                <a:lnTo>
                  <a:pt x="2535" y="277"/>
                </a:lnTo>
                <a:lnTo>
                  <a:pt x="2527" y="269"/>
                </a:lnTo>
                <a:lnTo>
                  <a:pt x="2503" y="269"/>
                </a:lnTo>
                <a:lnTo>
                  <a:pt x="2486" y="269"/>
                </a:lnTo>
                <a:lnTo>
                  <a:pt x="2470" y="254"/>
                </a:lnTo>
                <a:lnTo>
                  <a:pt x="2470" y="230"/>
                </a:lnTo>
                <a:cubicBezTo>
                  <a:pt x="2462" y="222"/>
                  <a:pt x="2454" y="206"/>
                  <a:pt x="2454" y="198"/>
                </a:cubicBezTo>
                <a:lnTo>
                  <a:pt x="2462" y="182"/>
                </a:lnTo>
                <a:cubicBezTo>
                  <a:pt x="2454" y="174"/>
                  <a:pt x="2437" y="158"/>
                  <a:pt x="2437" y="158"/>
                </a:cubicBezTo>
                <a:lnTo>
                  <a:pt x="2429" y="142"/>
                </a:lnTo>
                <a:cubicBezTo>
                  <a:pt x="2429" y="142"/>
                  <a:pt x="2405" y="158"/>
                  <a:pt x="2397" y="158"/>
                </a:cubicBezTo>
                <a:cubicBezTo>
                  <a:pt x="2388" y="158"/>
                  <a:pt x="2372" y="150"/>
                  <a:pt x="2372" y="158"/>
                </a:cubicBezTo>
                <a:cubicBezTo>
                  <a:pt x="2372" y="158"/>
                  <a:pt x="2380" y="174"/>
                  <a:pt x="2372" y="174"/>
                </a:cubicBezTo>
                <a:cubicBezTo>
                  <a:pt x="2364" y="174"/>
                  <a:pt x="2348" y="174"/>
                  <a:pt x="2340" y="166"/>
                </a:cubicBezTo>
                <a:cubicBezTo>
                  <a:pt x="2331" y="158"/>
                  <a:pt x="2331" y="150"/>
                  <a:pt x="2331" y="142"/>
                </a:cubicBezTo>
                <a:cubicBezTo>
                  <a:pt x="2323" y="142"/>
                  <a:pt x="2323" y="127"/>
                  <a:pt x="2315" y="127"/>
                </a:cubicBezTo>
                <a:cubicBezTo>
                  <a:pt x="2307" y="127"/>
                  <a:pt x="2299" y="127"/>
                  <a:pt x="2299" y="119"/>
                </a:cubicBezTo>
                <a:lnTo>
                  <a:pt x="2299" y="79"/>
                </a:lnTo>
                <a:cubicBezTo>
                  <a:pt x="2299" y="79"/>
                  <a:pt x="2299" y="55"/>
                  <a:pt x="2291" y="55"/>
                </a:cubicBezTo>
                <a:cubicBezTo>
                  <a:pt x="2291" y="47"/>
                  <a:pt x="2282" y="39"/>
                  <a:pt x="2282" y="39"/>
                </a:cubicBezTo>
                <a:lnTo>
                  <a:pt x="2282" y="15"/>
                </a:lnTo>
                <a:lnTo>
                  <a:pt x="2291" y="7"/>
                </a:lnTo>
                <a:cubicBezTo>
                  <a:pt x="2291" y="7"/>
                  <a:pt x="2291" y="0"/>
                  <a:pt x="2299" y="0"/>
                </a:cubicBezTo>
                <a:lnTo>
                  <a:pt x="2111" y="31"/>
                </a:lnTo>
                <a:lnTo>
                  <a:pt x="2030" y="39"/>
                </a:lnTo>
                <a:lnTo>
                  <a:pt x="1997" y="79"/>
                </a:lnTo>
                <a:lnTo>
                  <a:pt x="1981" y="119"/>
                </a:lnTo>
                <a:lnTo>
                  <a:pt x="1989" y="182"/>
                </a:lnTo>
                <a:lnTo>
                  <a:pt x="1965" y="222"/>
                </a:lnTo>
                <a:lnTo>
                  <a:pt x="1965" y="269"/>
                </a:lnTo>
                <a:lnTo>
                  <a:pt x="1965" y="341"/>
                </a:lnTo>
                <a:lnTo>
                  <a:pt x="1924" y="365"/>
                </a:lnTo>
                <a:lnTo>
                  <a:pt x="1867" y="420"/>
                </a:lnTo>
                <a:lnTo>
                  <a:pt x="1785" y="452"/>
                </a:lnTo>
                <a:lnTo>
                  <a:pt x="1679" y="476"/>
                </a:lnTo>
                <a:lnTo>
                  <a:pt x="1598" y="500"/>
                </a:lnTo>
                <a:lnTo>
                  <a:pt x="1525" y="539"/>
                </a:lnTo>
                <a:lnTo>
                  <a:pt x="1508" y="595"/>
                </a:lnTo>
                <a:lnTo>
                  <a:pt x="1500" y="666"/>
                </a:lnTo>
                <a:lnTo>
                  <a:pt x="1443" y="690"/>
                </a:lnTo>
                <a:cubicBezTo>
                  <a:pt x="1443" y="690"/>
                  <a:pt x="1419" y="706"/>
                  <a:pt x="1402" y="698"/>
                </a:cubicBezTo>
                <a:cubicBezTo>
                  <a:pt x="1378" y="698"/>
                  <a:pt x="1329" y="682"/>
                  <a:pt x="1329" y="682"/>
                </a:cubicBezTo>
                <a:cubicBezTo>
                  <a:pt x="1329" y="682"/>
                  <a:pt x="1272" y="650"/>
                  <a:pt x="1247" y="650"/>
                </a:cubicBezTo>
                <a:cubicBezTo>
                  <a:pt x="1223" y="642"/>
                  <a:pt x="1182" y="603"/>
                  <a:pt x="1182" y="603"/>
                </a:cubicBezTo>
                <a:lnTo>
                  <a:pt x="1141" y="634"/>
                </a:lnTo>
                <a:cubicBezTo>
                  <a:pt x="1141" y="634"/>
                  <a:pt x="1117" y="611"/>
                  <a:pt x="1117" y="595"/>
                </a:cubicBezTo>
                <a:lnTo>
                  <a:pt x="1117" y="507"/>
                </a:lnTo>
                <a:lnTo>
                  <a:pt x="1060" y="484"/>
                </a:lnTo>
                <a:lnTo>
                  <a:pt x="1003" y="476"/>
                </a:lnTo>
                <a:cubicBezTo>
                  <a:pt x="1003" y="476"/>
                  <a:pt x="1003" y="492"/>
                  <a:pt x="987" y="476"/>
                </a:cubicBezTo>
                <a:cubicBezTo>
                  <a:pt x="962" y="460"/>
                  <a:pt x="962" y="428"/>
                  <a:pt x="962" y="428"/>
                </a:cubicBezTo>
                <a:lnTo>
                  <a:pt x="913" y="404"/>
                </a:lnTo>
                <a:lnTo>
                  <a:pt x="897" y="468"/>
                </a:lnTo>
                <a:lnTo>
                  <a:pt x="954" y="515"/>
                </a:lnTo>
                <a:lnTo>
                  <a:pt x="970" y="547"/>
                </a:lnTo>
                <a:lnTo>
                  <a:pt x="954" y="595"/>
                </a:lnTo>
                <a:lnTo>
                  <a:pt x="970" y="634"/>
                </a:lnTo>
                <a:lnTo>
                  <a:pt x="978" y="666"/>
                </a:lnTo>
                <a:cubicBezTo>
                  <a:pt x="978" y="666"/>
                  <a:pt x="987" y="666"/>
                  <a:pt x="987" y="690"/>
                </a:cubicBezTo>
                <a:cubicBezTo>
                  <a:pt x="987" y="706"/>
                  <a:pt x="978" y="785"/>
                  <a:pt x="978" y="785"/>
                </a:cubicBezTo>
                <a:lnTo>
                  <a:pt x="978" y="849"/>
                </a:lnTo>
                <a:lnTo>
                  <a:pt x="1003" y="912"/>
                </a:lnTo>
                <a:cubicBezTo>
                  <a:pt x="1003" y="912"/>
                  <a:pt x="962" y="936"/>
                  <a:pt x="946" y="936"/>
                </a:cubicBezTo>
                <a:cubicBezTo>
                  <a:pt x="930" y="936"/>
                  <a:pt x="889" y="920"/>
                  <a:pt x="889" y="920"/>
                </a:cubicBezTo>
                <a:lnTo>
                  <a:pt x="873" y="880"/>
                </a:lnTo>
                <a:lnTo>
                  <a:pt x="775" y="888"/>
                </a:lnTo>
                <a:lnTo>
                  <a:pt x="718" y="880"/>
                </a:lnTo>
                <a:lnTo>
                  <a:pt x="669" y="912"/>
                </a:lnTo>
                <a:lnTo>
                  <a:pt x="636" y="904"/>
                </a:lnTo>
                <a:lnTo>
                  <a:pt x="604" y="872"/>
                </a:lnTo>
                <a:lnTo>
                  <a:pt x="595" y="825"/>
                </a:lnTo>
                <a:lnTo>
                  <a:pt x="579" y="785"/>
                </a:lnTo>
                <a:lnTo>
                  <a:pt x="546" y="746"/>
                </a:lnTo>
                <a:lnTo>
                  <a:pt x="441" y="753"/>
                </a:lnTo>
                <a:lnTo>
                  <a:pt x="400" y="761"/>
                </a:lnTo>
                <a:lnTo>
                  <a:pt x="375" y="785"/>
                </a:lnTo>
                <a:lnTo>
                  <a:pt x="326" y="777"/>
                </a:lnTo>
                <a:lnTo>
                  <a:pt x="310" y="801"/>
                </a:lnTo>
                <a:lnTo>
                  <a:pt x="253" y="785"/>
                </a:lnTo>
                <a:lnTo>
                  <a:pt x="196" y="793"/>
                </a:lnTo>
                <a:lnTo>
                  <a:pt x="155" y="785"/>
                </a:lnTo>
                <a:lnTo>
                  <a:pt x="82" y="801"/>
                </a:lnTo>
                <a:lnTo>
                  <a:pt x="41" y="833"/>
                </a:lnTo>
                <a:lnTo>
                  <a:pt x="0" y="896"/>
                </a:lnTo>
                <a:lnTo>
                  <a:pt x="33" y="896"/>
                </a:lnTo>
                <a:cubicBezTo>
                  <a:pt x="41" y="896"/>
                  <a:pt x="115" y="904"/>
                  <a:pt x="115" y="904"/>
                </a:cubicBezTo>
                <a:lnTo>
                  <a:pt x="131" y="928"/>
                </a:lnTo>
                <a:lnTo>
                  <a:pt x="82" y="952"/>
                </a:lnTo>
                <a:lnTo>
                  <a:pt x="123" y="968"/>
                </a:lnTo>
                <a:lnTo>
                  <a:pt x="131" y="984"/>
                </a:lnTo>
                <a:lnTo>
                  <a:pt x="131" y="1007"/>
                </a:lnTo>
                <a:lnTo>
                  <a:pt x="41" y="1015"/>
                </a:lnTo>
                <a:cubicBezTo>
                  <a:pt x="41" y="1015"/>
                  <a:pt x="17" y="1007"/>
                  <a:pt x="17" y="1023"/>
                </a:cubicBezTo>
                <a:cubicBezTo>
                  <a:pt x="9" y="1039"/>
                  <a:pt x="41" y="1047"/>
                  <a:pt x="41" y="1047"/>
                </a:cubicBezTo>
                <a:lnTo>
                  <a:pt x="82" y="1071"/>
                </a:lnTo>
                <a:lnTo>
                  <a:pt x="74" y="1150"/>
                </a:lnTo>
                <a:lnTo>
                  <a:pt x="155" y="1150"/>
                </a:lnTo>
                <a:cubicBezTo>
                  <a:pt x="155" y="1150"/>
                  <a:pt x="163" y="1134"/>
                  <a:pt x="188" y="1126"/>
                </a:cubicBezTo>
                <a:lnTo>
                  <a:pt x="229" y="1126"/>
                </a:lnTo>
                <a:cubicBezTo>
                  <a:pt x="229" y="1126"/>
                  <a:pt x="229" y="1118"/>
                  <a:pt x="245" y="1158"/>
                </a:cubicBezTo>
                <a:lnTo>
                  <a:pt x="253" y="1190"/>
                </a:lnTo>
                <a:lnTo>
                  <a:pt x="286" y="1198"/>
                </a:lnTo>
                <a:lnTo>
                  <a:pt x="302" y="1206"/>
                </a:lnTo>
                <a:cubicBezTo>
                  <a:pt x="302" y="1206"/>
                  <a:pt x="335" y="1222"/>
                  <a:pt x="351" y="1230"/>
                </a:cubicBezTo>
                <a:cubicBezTo>
                  <a:pt x="367" y="1238"/>
                  <a:pt x="400" y="1269"/>
                  <a:pt x="400" y="1269"/>
                </a:cubicBezTo>
                <a:lnTo>
                  <a:pt x="416" y="1277"/>
                </a:lnTo>
                <a:lnTo>
                  <a:pt x="416" y="1317"/>
                </a:lnTo>
                <a:cubicBezTo>
                  <a:pt x="416" y="1317"/>
                  <a:pt x="449" y="1325"/>
                  <a:pt x="473" y="1325"/>
                </a:cubicBezTo>
                <a:cubicBezTo>
                  <a:pt x="498" y="1325"/>
                  <a:pt x="555" y="1317"/>
                  <a:pt x="555" y="1317"/>
                </a:cubicBezTo>
                <a:lnTo>
                  <a:pt x="571" y="1349"/>
                </a:lnTo>
                <a:cubicBezTo>
                  <a:pt x="587" y="1349"/>
                  <a:pt x="661" y="1372"/>
                  <a:pt x="661" y="1372"/>
                </a:cubicBezTo>
                <a:lnTo>
                  <a:pt x="636" y="1404"/>
                </a:lnTo>
                <a:lnTo>
                  <a:pt x="612" y="1428"/>
                </a:lnTo>
                <a:lnTo>
                  <a:pt x="604" y="1452"/>
                </a:lnTo>
                <a:cubicBezTo>
                  <a:pt x="604" y="1452"/>
                  <a:pt x="612" y="1452"/>
                  <a:pt x="644" y="1460"/>
                </a:cubicBezTo>
                <a:cubicBezTo>
                  <a:pt x="677" y="1468"/>
                  <a:pt x="701" y="1484"/>
                  <a:pt x="701" y="1484"/>
                </a:cubicBezTo>
                <a:lnTo>
                  <a:pt x="685" y="1523"/>
                </a:lnTo>
                <a:lnTo>
                  <a:pt x="726" y="1555"/>
                </a:lnTo>
                <a:cubicBezTo>
                  <a:pt x="726" y="1555"/>
                  <a:pt x="742" y="1579"/>
                  <a:pt x="742" y="1587"/>
                </a:cubicBezTo>
                <a:cubicBezTo>
                  <a:pt x="734" y="1595"/>
                  <a:pt x="734" y="1611"/>
                  <a:pt x="734" y="1611"/>
                </a:cubicBezTo>
                <a:lnTo>
                  <a:pt x="709" y="1603"/>
                </a:lnTo>
                <a:cubicBezTo>
                  <a:pt x="709" y="1603"/>
                  <a:pt x="709" y="1618"/>
                  <a:pt x="701" y="1603"/>
                </a:cubicBezTo>
                <a:cubicBezTo>
                  <a:pt x="685" y="1587"/>
                  <a:pt x="677" y="1571"/>
                  <a:pt x="677" y="1571"/>
                </a:cubicBezTo>
                <a:lnTo>
                  <a:pt x="669" y="1603"/>
                </a:lnTo>
                <a:cubicBezTo>
                  <a:pt x="669" y="1603"/>
                  <a:pt x="677" y="1634"/>
                  <a:pt x="685" y="1642"/>
                </a:cubicBezTo>
                <a:cubicBezTo>
                  <a:pt x="701" y="1642"/>
                  <a:pt x="701" y="1634"/>
                  <a:pt x="701" y="1658"/>
                </a:cubicBezTo>
                <a:cubicBezTo>
                  <a:pt x="701" y="1674"/>
                  <a:pt x="709" y="1714"/>
                  <a:pt x="718" y="1722"/>
                </a:cubicBezTo>
                <a:cubicBezTo>
                  <a:pt x="726" y="1738"/>
                  <a:pt x="726" y="1777"/>
                  <a:pt x="734" y="1785"/>
                </a:cubicBezTo>
                <a:cubicBezTo>
                  <a:pt x="750" y="1785"/>
                  <a:pt x="758" y="1793"/>
                  <a:pt x="758" y="1793"/>
                </a:cubicBezTo>
                <a:lnTo>
                  <a:pt x="775" y="1809"/>
                </a:lnTo>
                <a:lnTo>
                  <a:pt x="824" y="1849"/>
                </a:lnTo>
                <a:cubicBezTo>
                  <a:pt x="824" y="1849"/>
                  <a:pt x="856" y="1872"/>
                  <a:pt x="872" y="1880"/>
                </a:cubicBezTo>
                <a:cubicBezTo>
                  <a:pt x="889" y="1888"/>
                  <a:pt x="897" y="1888"/>
                  <a:pt x="897" y="1888"/>
                </a:cubicBezTo>
                <a:lnTo>
                  <a:pt x="938" y="1928"/>
                </a:lnTo>
                <a:cubicBezTo>
                  <a:pt x="938" y="1928"/>
                  <a:pt x="962" y="1968"/>
                  <a:pt x="954" y="1968"/>
                </a:cubicBezTo>
                <a:cubicBezTo>
                  <a:pt x="946" y="1968"/>
                  <a:pt x="954" y="1976"/>
                  <a:pt x="938" y="1976"/>
                </a:cubicBezTo>
                <a:cubicBezTo>
                  <a:pt x="913" y="1976"/>
                  <a:pt x="921" y="1992"/>
                  <a:pt x="905" y="1976"/>
                </a:cubicBezTo>
                <a:cubicBezTo>
                  <a:pt x="881" y="1960"/>
                  <a:pt x="864" y="1936"/>
                  <a:pt x="840" y="1936"/>
                </a:cubicBezTo>
                <a:lnTo>
                  <a:pt x="815" y="1936"/>
                </a:lnTo>
                <a:lnTo>
                  <a:pt x="864" y="1976"/>
                </a:lnTo>
                <a:lnTo>
                  <a:pt x="889" y="1984"/>
                </a:lnTo>
                <a:lnTo>
                  <a:pt x="921" y="2015"/>
                </a:lnTo>
                <a:lnTo>
                  <a:pt x="930" y="2015"/>
                </a:lnTo>
                <a:cubicBezTo>
                  <a:pt x="930" y="2015"/>
                  <a:pt x="938" y="2031"/>
                  <a:pt x="938" y="2039"/>
                </a:cubicBezTo>
                <a:cubicBezTo>
                  <a:pt x="938" y="2047"/>
                  <a:pt x="930" y="2071"/>
                  <a:pt x="921" y="2079"/>
                </a:cubicBezTo>
                <a:lnTo>
                  <a:pt x="921" y="2111"/>
                </a:lnTo>
                <a:lnTo>
                  <a:pt x="897" y="2055"/>
                </a:lnTo>
                <a:cubicBezTo>
                  <a:pt x="897" y="2055"/>
                  <a:pt x="905" y="2039"/>
                  <a:pt x="889" y="2031"/>
                </a:cubicBezTo>
                <a:cubicBezTo>
                  <a:pt x="873" y="2031"/>
                  <a:pt x="856" y="2039"/>
                  <a:pt x="856" y="2039"/>
                </a:cubicBezTo>
                <a:cubicBezTo>
                  <a:pt x="856" y="2039"/>
                  <a:pt x="848" y="2055"/>
                  <a:pt x="856" y="2063"/>
                </a:cubicBezTo>
                <a:cubicBezTo>
                  <a:pt x="873" y="2071"/>
                  <a:pt x="881" y="2079"/>
                  <a:pt x="881" y="2087"/>
                </a:cubicBezTo>
                <a:cubicBezTo>
                  <a:pt x="889" y="2095"/>
                  <a:pt x="889" y="2103"/>
                  <a:pt x="889" y="2103"/>
                </a:cubicBezTo>
                <a:cubicBezTo>
                  <a:pt x="889" y="2103"/>
                  <a:pt x="905" y="2103"/>
                  <a:pt x="905" y="2118"/>
                </a:cubicBezTo>
                <a:cubicBezTo>
                  <a:pt x="905" y="2142"/>
                  <a:pt x="897" y="2166"/>
                  <a:pt x="897" y="2166"/>
                </a:cubicBezTo>
                <a:cubicBezTo>
                  <a:pt x="897" y="2166"/>
                  <a:pt x="881" y="2166"/>
                  <a:pt x="905" y="2182"/>
                </a:cubicBezTo>
                <a:cubicBezTo>
                  <a:pt x="930" y="2198"/>
                  <a:pt x="938" y="2206"/>
                  <a:pt x="946" y="2214"/>
                </a:cubicBezTo>
                <a:cubicBezTo>
                  <a:pt x="954" y="2222"/>
                  <a:pt x="987" y="2261"/>
                  <a:pt x="987" y="2261"/>
                </a:cubicBezTo>
                <a:lnTo>
                  <a:pt x="1011" y="2293"/>
                </a:lnTo>
                <a:lnTo>
                  <a:pt x="1011" y="2309"/>
                </a:lnTo>
                <a:lnTo>
                  <a:pt x="987" y="2309"/>
                </a:lnTo>
                <a:cubicBezTo>
                  <a:pt x="987" y="2309"/>
                  <a:pt x="978" y="2309"/>
                  <a:pt x="970" y="2301"/>
                </a:cubicBezTo>
                <a:cubicBezTo>
                  <a:pt x="962" y="2285"/>
                  <a:pt x="946" y="2261"/>
                  <a:pt x="946" y="2261"/>
                </a:cubicBezTo>
                <a:lnTo>
                  <a:pt x="930" y="2253"/>
                </a:lnTo>
                <a:lnTo>
                  <a:pt x="913" y="2261"/>
                </a:lnTo>
                <a:lnTo>
                  <a:pt x="897" y="2293"/>
                </a:lnTo>
                <a:cubicBezTo>
                  <a:pt x="897" y="2301"/>
                  <a:pt x="872" y="2349"/>
                  <a:pt x="872" y="2349"/>
                </a:cubicBezTo>
                <a:lnTo>
                  <a:pt x="856" y="2444"/>
                </a:lnTo>
                <a:cubicBezTo>
                  <a:pt x="856" y="2444"/>
                  <a:pt x="856" y="2555"/>
                  <a:pt x="848" y="2563"/>
                </a:cubicBezTo>
                <a:cubicBezTo>
                  <a:pt x="848" y="2571"/>
                  <a:pt x="815" y="2650"/>
                  <a:pt x="815" y="2650"/>
                </a:cubicBezTo>
                <a:lnTo>
                  <a:pt x="815" y="2682"/>
                </a:lnTo>
                <a:cubicBezTo>
                  <a:pt x="807" y="2706"/>
                  <a:pt x="799" y="2745"/>
                  <a:pt x="799" y="2745"/>
                </a:cubicBezTo>
                <a:cubicBezTo>
                  <a:pt x="799" y="2745"/>
                  <a:pt x="791" y="2777"/>
                  <a:pt x="791" y="2793"/>
                </a:cubicBezTo>
                <a:cubicBezTo>
                  <a:pt x="783" y="2809"/>
                  <a:pt x="758" y="2872"/>
                  <a:pt x="758" y="2872"/>
                </a:cubicBezTo>
                <a:lnTo>
                  <a:pt x="750" y="2944"/>
                </a:lnTo>
                <a:lnTo>
                  <a:pt x="685" y="3079"/>
                </a:lnTo>
                <a:lnTo>
                  <a:pt x="636" y="3118"/>
                </a:lnTo>
                <a:lnTo>
                  <a:pt x="612" y="3134"/>
                </a:lnTo>
                <a:cubicBezTo>
                  <a:pt x="636" y="3142"/>
                  <a:pt x="652" y="3150"/>
                  <a:pt x="661" y="3174"/>
                </a:cubicBezTo>
                <a:cubicBezTo>
                  <a:pt x="677" y="3214"/>
                  <a:pt x="709" y="3277"/>
                  <a:pt x="709" y="3277"/>
                </a:cubicBezTo>
                <a:lnTo>
                  <a:pt x="815" y="3317"/>
                </a:lnTo>
                <a:cubicBezTo>
                  <a:pt x="815" y="3317"/>
                  <a:pt x="872" y="3364"/>
                  <a:pt x="881" y="3380"/>
                </a:cubicBezTo>
                <a:cubicBezTo>
                  <a:pt x="889" y="3388"/>
                  <a:pt x="1011" y="3428"/>
                  <a:pt x="1011" y="3428"/>
                </a:cubicBezTo>
                <a:lnTo>
                  <a:pt x="1093" y="3499"/>
                </a:lnTo>
                <a:lnTo>
                  <a:pt x="1215" y="3499"/>
                </a:lnTo>
                <a:lnTo>
                  <a:pt x="1296" y="3515"/>
                </a:lnTo>
                <a:lnTo>
                  <a:pt x="1337" y="3468"/>
                </a:lnTo>
                <a:cubicBezTo>
                  <a:pt x="1337" y="3468"/>
                  <a:pt x="1541" y="3563"/>
                  <a:pt x="1549" y="3563"/>
                </a:cubicBezTo>
                <a:cubicBezTo>
                  <a:pt x="1557" y="3563"/>
                  <a:pt x="1557" y="3587"/>
                  <a:pt x="1565" y="3610"/>
                </a:cubicBezTo>
                <a:lnTo>
                  <a:pt x="1573" y="3610"/>
                </a:lnTo>
                <a:lnTo>
                  <a:pt x="1565" y="3602"/>
                </a:lnTo>
                <a:lnTo>
                  <a:pt x="1565" y="3595"/>
                </a:lnTo>
                <a:lnTo>
                  <a:pt x="1582" y="3595"/>
                </a:lnTo>
                <a:lnTo>
                  <a:pt x="1590" y="3587"/>
                </a:lnTo>
                <a:cubicBezTo>
                  <a:pt x="1590" y="3579"/>
                  <a:pt x="1582" y="3579"/>
                  <a:pt x="1582" y="3579"/>
                </a:cubicBezTo>
                <a:cubicBezTo>
                  <a:pt x="1582" y="3579"/>
                  <a:pt x="1590" y="3579"/>
                  <a:pt x="1590" y="3571"/>
                </a:cubicBezTo>
                <a:lnTo>
                  <a:pt x="1622" y="3571"/>
                </a:lnTo>
                <a:lnTo>
                  <a:pt x="1622" y="3579"/>
                </a:lnTo>
                <a:lnTo>
                  <a:pt x="1630" y="3579"/>
                </a:lnTo>
                <a:lnTo>
                  <a:pt x="1630" y="3587"/>
                </a:lnTo>
                <a:lnTo>
                  <a:pt x="1647" y="3587"/>
                </a:lnTo>
                <a:lnTo>
                  <a:pt x="1647" y="3595"/>
                </a:lnTo>
                <a:lnTo>
                  <a:pt x="1655" y="3595"/>
                </a:lnTo>
                <a:cubicBezTo>
                  <a:pt x="1655" y="3587"/>
                  <a:pt x="1663" y="3587"/>
                  <a:pt x="1663" y="3587"/>
                </a:cubicBezTo>
                <a:lnTo>
                  <a:pt x="1663" y="3595"/>
                </a:lnTo>
                <a:lnTo>
                  <a:pt x="1679" y="3595"/>
                </a:lnTo>
                <a:lnTo>
                  <a:pt x="1679" y="3602"/>
                </a:lnTo>
                <a:lnTo>
                  <a:pt x="1671" y="3602"/>
                </a:lnTo>
                <a:lnTo>
                  <a:pt x="1671" y="3610"/>
                </a:lnTo>
                <a:lnTo>
                  <a:pt x="1679" y="3610"/>
                </a:lnTo>
                <a:lnTo>
                  <a:pt x="1696" y="3618"/>
                </a:lnTo>
                <a:lnTo>
                  <a:pt x="1687" y="3618"/>
                </a:lnTo>
                <a:lnTo>
                  <a:pt x="1679" y="3618"/>
                </a:lnTo>
                <a:lnTo>
                  <a:pt x="1671" y="3618"/>
                </a:lnTo>
                <a:lnTo>
                  <a:pt x="1671" y="3626"/>
                </a:lnTo>
                <a:lnTo>
                  <a:pt x="1671" y="3642"/>
                </a:lnTo>
                <a:lnTo>
                  <a:pt x="1663" y="3642"/>
                </a:lnTo>
                <a:lnTo>
                  <a:pt x="1663" y="3650"/>
                </a:lnTo>
                <a:lnTo>
                  <a:pt x="1655" y="3650"/>
                </a:lnTo>
                <a:lnTo>
                  <a:pt x="1647" y="3642"/>
                </a:lnTo>
                <a:lnTo>
                  <a:pt x="1647" y="3650"/>
                </a:lnTo>
                <a:lnTo>
                  <a:pt x="1647" y="3658"/>
                </a:lnTo>
                <a:lnTo>
                  <a:pt x="1639" y="3658"/>
                </a:lnTo>
                <a:lnTo>
                  <a:pt x="1630" y="3658"/>
                </a:lnTo>
                <a:lnTo>
                  <a:pt x="1622" y="3658"/>
                </a:lnTo>
                <a:lnTo>
                  <a:pt x="1614" y="3666"/>
                </a:lnTo>
                <a:lnTo>
                  <a:pt x="1606" y="3658"/>
                </a:lnTo>
                <a:lnTo>
                  <a:pt x="1606" y="3666"/>
                </a:lnTo>
                <a:lnTo>
                  <a:pt x="1712" y="3690"/>
                </a:lnTo>
                <a:cubicBezTo>
                  <a:pt x="1736" y="3698"/>
                  <a:pt x="1736" y="3714"/>
                  <a:pt x="1761" y="3729"/>
                </a:cubicBezTo>
                <a:lnTo>
                  <a:pt x="1826" y="3706"/>
                </a:lnTo>
                <a:lnTo>
                  <a:pt x="1908" y="3761"/>
                </a:lnTo>
                <a:lnTo>
                  <a:pt x="1981" y="3737"/>
                </a:lnTo>
                <a:lnTo>
                  <a:pt x="2054" y="3737"/>
                </a:lnTo>
                <a:cubicBezTo>
                  <a:pt x="2054" y="3729"/>
                  <a:pt x="2087" y="3729"/>
                  <a:pt x="2111" y="373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16" name="Freeform 108">
            <a:extLst>
              <a:ext uri="{FF2B5EF4-FFF2-40B4-BE49-F238E27FC236}">
                <a16:creationId xmlns:a16="http://schemas.microsoft.com/office/drawing/2014/main" id="{7050A8E4-3B54-1C22-C3D9-88C5ACA8F22A}"/>
              </a:ext>
            </a:extLst>
          </p:cNvPr>
          <p:cNvSpPr>
            <a:spLocks noChangeArrowheads="1"/>
          </p:cNvSpPr>
          <p:nvPr>
            <p:custDataLst>
              <p:tags r:id="rId108"/>
            </p:custDataLst>
          </p:nvPr>
        </p:nvSpPr>
        <p:spPr bwMode="auto">
          <a:xfrm>
            <a:off x="6926120" y="5221738"/>
            <a:ext cx="130408" cy="297040"/>
          </a:xfrm>
          <a:custGeom>
            <a:avLst/>
            <a:gdLst>
              <a:gd name="T0" fmla="*/ 97 w 319"/>
              <a:gd name="T1" fmla="*/ 579 h 723"/>
              <a:gd name="T2" fmla="*/ 81 w 319"/>
              <a:gd name="T3" fmla="*/ 611 h 723"/>
              <a:gd name="T4" fmla="*/ 65 w 319"/>
              <a:gd name="T5" fmla="*/ 635 h 723"/>
              <a:gd name="T6" fmla="*/ 106 w 319"/>
              <a:gd name="T7" fmla="*/ 651 h 723"/>
              <a:gd name="T8" fmla="*/ 130 w 319"/>
              <a:gd name="T9" fmla="*/ 682 h 723"/>
              <a:gd name="T10" fmla="*/ 163 w 319"/>
              <a:gd name="T11" fmla="*/ 706 h 723"/>
              <a:gd name="T12" fmla="*/ 203 w 319"/>
              <a:gd name="T13" fmla="*/ 722 h 723"/>
              <a:gd name="T14" fmla="*/ 220 w 319"/>
              <a:gd name="T15" fmla="*/ 667 h 723"/>
              <a:gd name="T16" fmla="*/ 244 w 319"/>
              <a:gd name="T17" fmla="*/ 603 h 723"/>
              <a:gd name="T18" fmla="*/ 260 w 319"/>
              <a:gd name="T19" fmla="*/ 548 h 723"/>
              <a:gd name="T20" fmla="*/ 260 w 319"/>
              <a:gd name="T21" fmla="*/ 508 h 723"/>
              <a:gd name="T22" fmla="*/ 252 w 319"/>
              <a:gd name="T23" fmla="*/ 460 h 723"/>
              <a:gd name="T24" fmla="*/ 260 w 319"/>
              <a:gd name="T25" fmla="*/ 444 h 723"/>
              <a:gd name="T26" fmla="*/ 285 w 319"/>
              <a:gd name="T27" fmla="*/ 413 h 723"/>
              <a:gd name="T28" fmla="*/ 309 w 319"/>
              <a:gd name="T29" fmla="*/ 389 h 723"/>
              <a:gd name="T30" fmla="*/ 318 w 319"/>
              <a:gd name="T31" fmla="*/ 349 h 723"/>
              <a:gd name="T32" fmla="*/ 285 w 319"/>
              <a:gd name="T33" fmla="*/ 302 h 723"/>
              <a:gd name="T34" fmla="*/ 309 w 319"/>
              <a:gd name="T35" fmla="*/ 206 h 723"/>
              <a:gd name="T36" fmla="*/ 301 w 319"/>
              <a:gd name="T37" fmla="*/ 190 h 723"/>
              <a:gd name="T38" fmla="*/ 293 w 319"/>
              <a:gd name="T39" fmla="*/ 167 h 723"/>
              <a:gd name="T40" fmla="*/ 277 w 319"/>
              <a:gd name="T41" fmla="*/ 95 h 723"/>
              <a:gd name="T42" fmla="*/ 277 w 319"/>
              <a:gd name="T43" fmla="*/ 0 h 723"/>
              <a:gd name="T44" fmla="*/ 228 w 319"/>
              <a:gd name="T45" fmla="*/ 16 h 723"/>
              <a:gd name="T46" fmla="*/ 244 w 319"/>
              <a:gd name="T47" fmla="*/ 56 h 723"/>
              <a:gd name="T48" fmla="*/ 228 w 319"/>
              <a:gd name="T49" fmla="*/ 127 h 723"/>
              <a:gd name="T50" fmla="*/ 187 w 319"/>
              <a:gd name="T51" fmla="*/ 135 h 723"/>
              <a:gd name="T52" fmla="*/ 171 w 319"/>
              <a:gd name="T53" fmla="*/ 143 h 723"/>
              <a:gd name="T54" fmla="*/ 146 w 319"/>
              <a:gd name="T55" fmla="*/ 167 h 723"/>
              <a:gd name="T56" fmla="*/ 106 w 319"/>
              <a:gd name="T57" fmla="*/ 175 h 723"/>
              <a:gd name="T58" fmla="*/ 65 w 319"/>
              <a:gd name="T59" fmla="*/ 206 h 723"/>
              <a:gd name="T60" fmla="*/ 32 w 319"/>
              <a:gd name="T61" fmla="*/ 246 h 723"/>
              <a:gd name="T62" fmla="*/ 8 w 319"/>
              <a:gd name="T63" fmla="*/ 270 h 723"/>
              <a:gd name="T64" fmla="*/ 24 w 319"/>
              <a:gd name="T65" fmla="*/ 302 h 723"/>
              <a:gd name="T66" fmla="*/ 0 w 319"/>
              <a:gd name="T67" fmla="*/ 405 h 723"/>
              <a:gd name="T68" fmla="*/ 32 w 319"/>
              <a:gd name="T69" fmla="*/ 405 h 723"/>
              <a:gd name="T70" fmla="*/ 40 w 319"/>
              <a:gd name="T71" fmla="*/ 444 h 723"/>
              <a:gd name="T72" fmla="*/ 16 w 319"/>
              <a:gd name="T73" fmla="*/ 484 h 723"/>
              <a:gd name="T74" fmla="*/ 40 w 319"/>
              <a:gd name="T75" fmla="*/ 500 h 723"/>
              <a:gd name="T76" fmla="*/ 65 w 319"/>
              <a:gd name="T77" fmla="*/ 500 h 723"/>
              <a:gd name="T78" fmla="*/ 40 w 319"/>
              <a:gd name="T79" fmla="*/ 548 h 723"/>
              <a:gd name="T80" fmla="*/ 40 w 319"/>
              <a:gd name="T81" fmla="*/ 563 h 723"/>
              <a:gd name="T82" fmla="*/ 97 w 319"/>
              <a:gd name="T83" fmla="*/ 579 h 7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19" h="723">
                <a:moveTo>
                  <a:pt x="97" y="579"/>
                </a:moveTo>
                <a:lnTo>
                  <a:pt x="81" y="611"/>
                </a:lnTo>
                <a:lnTo>
                  <a:pt x="65" y="635"/>
                </a:lnTo>
                <a:lnTo>
                  <a:pt x="106" y="651"/>
                </a:lnTo>
                <a:lnTo>
                  <a:pt x="130" y="682"/>
                </a:lnTo>
                <a:cubicBezTo>
                  <a:pt x="130" y="682"/>
                  <a:pt x="146" y="706"/>
                  <a:pt x="163" y="706"/>
                </a:cubicBezTo>
                <a:cubicBezTo>
                  <a:pt x="179" y="706"/>
                  <a:pt x="203" y="722"/>
                  <a:pt x="203" y="722"/>
                </a:cubicBezTo>
                <a:cubicBezTo>
                  <a:pt x="203" y="722"/>
                  <a:pt x="220" y="698"/>
                  <a:pt x="220" y="667"/>
                </a:cubicBezTo>
                <a:cubicBezTo>
                  <a:pt x="228" y="643"/>
                  <a:pt x="195" y="611"/>
                  <a:pt x="244" y="603"/>
                </a:cubicBezTo>
                <a:cubicBezTo>
                  <a:pt x="293" y="603"/>
                  <a:pt x="260" y="548"/>
                  <a:pt x="260" y="548"/>
                </a:cubicBezTo>
                <a:lnTo>
                  <a:pt x="260" y="508"/>
                </a:lnTo>
                <a:lnTo>
                  <a:pt x="252" y="460"/>
                </a:lnTo>
                <a:lnTo>
                  <a:pt x="260" y="444"/>
                </a:lnTo>
                <a:lnTo>
                  <a:pt x="285" y="413"/>
                </a:lnTo>
                <a:lnTo>
                  <a:pt x="309" y="389"/>
                </a:lnTo>
                <a:cubicBezTo>
                  <a:pt x="309" y="389"/>
                  <a:pt x="318" y="365"/>
                  <a:pt x="318" y="349"/>
                </a:cubicBezTo>
                <a:cubicBezTo>
                  <a:pt x="309" y="341"/>
                  <a:pt x="285" y="302"/>
                  <a:pt x="285" y="302"/>
                </a:cubicBezTo>
                <a:lnTo>
                  <a:pt x="309" y="206"/>
                </a:lnTo>
                <a:lnTo>
                  <a:pt x="301" y="190"/>
                </a:lnTo>
                <a:lnTo>
                  <a:pt x="293" y="167"/>
                </a:lnTo>
                <a:lnTo>
                  <a:pt x="277" y="95"/>
                </a:lnTo>
                <a:lnTo>
                  <a:pt x="277" y="0"/>
                </a:lnTo>
                <a:lnTo>
                  <a:pt x="228" y="16"/>
                </a:lnTo>
                <a:lnTo>
                  <a:pt x="244" y="56"/>
                </a:lnTo>
                <a:lnTo>
                  <a:pt x="228" y="127"/>
                </a:lnTo>
                <a:lnTo>
                  <a:pt x="187" y="135"/>
                </a:lnTo>
                <a:lnTo>
                  <a:pt x="171" y="143"/>
                </a:lnTo>
                <a:lnTo>
                  <a:pt x="146" y="167"/>
                </a:lnTo>
                <a:lnTo>
                  <a:pt x="106" y="175"/>
                </a:lnTo>
                <a:lnTo>
                  <a:pt x="65" y="206"/>
                </a:lnTo>
                <a:lnTo>
                  <a:pt x="32" y="246"/>
                </a:lnTo>
                <a:lnTo>
                  <a:pt x="8" y="270"/>
                </a:lnTo>
                <a:cubicBezTo>
                  <a:pt x="8" y="270"/>
                  <a:pt x="8" y="286"/>
                  <a:pt x="24" y="302"/>
                </a:cubicBezTo>
                <a:cubicBezTo>
                  <a:pt x="40" y="325"/>
                  <a:pt x="0" y="405"/>
                  <a:pt x="0" y="405"/>
                </a:cubicBezTo>
                <a:lnTo>
                  <a:pt x="32" y="405"/>
                </a:lnTo>
                <a:lnTo>
                  <a:pt x="40" y="444"/>
                </a:lnTo>
                <a:lnTo>
                  <a:pt x="16" y="484"/>
                </a:lnTo>
                <a:lnTo>
                  <a:pt x="40" y="500"/>
                </a:lnTo>
                <a:lnTo>
                  <a:pt x="65" y="500"/>
                </a:lnTo>
                <a:lnTo>
                  <a:pt x="40" y="548"/>
                </a:lnTo>
                <a:lnTo>
                  <a:pt x="40" y="563"/>
                </a:lnTo>
                <a:lnTo>
                  <a:pt x="97" y="579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17" name="Freeform 109">
            <a:extLst>
              <a:ext uri="{FF2B5EF4-FFF2-40B4-BE49-F238E27FC236}">
                <a16:creationId xmlns:a16="http://schemas.microsoft.com/office/drawing/2014/main" id="{FEF2A2E7-8226-0B81-580F-BF01C6169335}"/>
              </a:ext>
            </a:extLst>
          </p:cNvPr>
          <p:cNvSpPr>
            <a:spLocks noChangeArrowheads="1"/>
          </p:cNvSpPr>
          <p:nvPr>
            <p:custDataLst>
              <p:tags r:id="rId109"/>
            </p:custDataLst>
          </p:nvPr>
        </p:nvSpPr>
        <p:spPr bwMode="auto">
          <a:xfrm>
            <a:off x="6815635" y="4417558"/>
            <a:ext cx="7245" cy="7245"/>
          </a:xfrm>
          <a:custGeom>
            <a:avLst/>
            <a:gdLst>
              <a:gd name="T0" fmla="*/ 16 w 17"/>
              <a:gd name="T1" fmla="*/ 16 h 17"/>
              <a:gd name="T2" fmla="*/ 8 w 17"/>
              <a:gd name="T3" fmla="*/ 16 h 17"/>
              <a:gd name="T4" fmla="*/ 0 w 17"/>
              <a:gd name="T5" fmla="*/ 8 h 17"/>
              <a:gd name="T6" fmla="*/ 8 w 17"/>
              <a:gd name="T7" fmla="*/ 0 h 17"/>
              <a:gd name="T8" fmla="*/ 16 w 17"/>
              <a:gd name="T9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17">
                <a:moveTo>
                  <a:pt x="16" y="16"/>
                </a:moveTo>
                <a:lnTo>
                  <a:pt x="8" y="16"/>
                </a:lnTo>
                <a:lnTo>
                  <a:pt x="0" y="8"/>
                </a:lnTo>
                <a:cubicBezTo>
                  <a:pt x="8" y="8"/>
                  <a:pt x="8" y="0"/>
                  <a:pt x="8" y="0"/>
                </a:cubicBezTo>
                <a:cubicBezTo>
                  <a:pt x="8" y="8"/>
                  <a:pt x="16" y="8"/>
                  <a:pt x="16" y="16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18" name="Freeform 110">
            <a:extLst>
              <a:ext uri="{FF2B5EF4-FFF2-40B4-BE49-F238E27FC236}">
                <a16:creationId xmlns:a16="http://schemas.microsoft.com/office/drawing/2014/main" id="{A092495C-B63F-AF55-CB63-13EAEF89961D}"/>
              </a:ext>
            </a:extLst>
          </p:cNvPr>
          <p:cNvSpPr>
            <a:spLocks noChangeArrowheads="1"/>
          </p:cNvSpPr>
          <p:nvPr>
            <p:custDataLst>
              <p:tags r:id="rId110"/>
            </p:custDataLst>
          </p:nvPr>
        </p:nvSpPr>
        <p:spPr bwMode="auto">
          <a:xfrm>
            <a:off x="5958930" y="5250718"/>
            <a:ext cx="7245" cy="7245"/>
          </a:xfrm>
          <a:custGeom>
            <a:avLst/>
            <a:gdLst>
              <a:gd name="T0" fmla="*/ 0 w 18"/>
              <a:gd name="T1" fmla="*/ 0 h 17"/>
              <a:gd name="T2" fmla="*/ 8 w 18"/>
              <a:gd name="T3" fmla="*/ 0 h 17"/>
              <a:gd name="T4" fmla="*/ 8 w 18"/>
              <a:gd name="T5" fmla="*/ 8 h 17"/>
              <a:gd name="T6" fmla="*/ 17 w 18"/>
              <a:gd name="T7" fmla="*/ 16 h 17"/>
              <a:gd name="T8" fmla="*/ 8 w 18"/>
              <a:gd name="T9" fmla="*/ 16 h 17"/>
              <a:gd name="T10" fmla="*/ 0 w 18"/>
              <a:gd name="T11" fmla="*/ 16 h 17"/>
              <a:gd name="T12" fmla="*/ 0 w 18"/>
              <a:gd name="T1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17">
                <a:moveTo>
                  <a:pt x="0" y="0"/>
                </a:moveTo>
                <a:lnTo>
                  <a:pt x="8" y="0"/>
                </a:lnTo>
                <a:lnTo>
                  <a:pt x="8" y="8"/>
                </a:lnTo>
                <a:lnTo>
                  <a:pt x="17" y="16"/>
                </a:lnTo>
                <a:lnTo>
                  <a:pt x="8" y="16"/>
                </a:lnTo>
                <a:lnTo>
                  <a:pt x="0" y="16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19" name="Freeform 111">
            <a:extLst>
              <a:ext uri="{FF2B5EF4-FFF2-40B4-BE49-F238E27FC236}">
                <a16:creationId xmlns:a16="http://schemas.microsoft.com/office/drawing/2014/main" id="{F3CA10DC-154A-A187-ABCC-6FB290969B6E}"/>
              </a:ext>
            </a:extLst>
          </p:cNvPr>
          <p:cNvSpPr>
            <a:spLocks noChangeArrowheads="1"/>
          </p:cNvSpPr>
          <p:nvPr>
            <p:custDataLst>
              <p:tags r:id="rId111"/>
            </p:custDataLst>
          </p:nvPr>
        </p:nvSpPr>
        <p:spPr bwMode="auto">
          <a:xfrm>
            <a:off x="5315948" y="3765520"/>
            <a:ext cx="1573948" cy="1544969"/>
          </a:xfrm>
          <a:custGeom>
            <a:avLst/>
            <a:gdLst>
              <a:gd name="T0" fmla="*/ 2160 w 3832"/>
              <a:gd name="T1" fmla="*/ 3404 h 3762"/>
              <a:gd name="T2" fmla="*/ 2592 w 3832"/>
              <a:gd name="T3" fmla="*/ 3309 h 3762"/>
              <a:gd name="T4" fmla="*/ 3024 w 3832"/>
              <a:gd name="T5" fmla="*/ 3476 h 3762"/>
              <a:gd name="T6" fmla="*/ 3440 w 3832"/>
              <a:gd name="T7" fmla="*/ 3285 h 3762"/>
              <a:gd name="T8" fmla="*/ 3570 w 3832"/>
              <a:gd name="T9" fmla="*/ 3214 h 3762"/>
              <a:gd name="T10" fmla="*/ 3432 w 3832"/>
              <a:gd name="T11" fmla="*/ 2849 h 3762"/>
              <a:gd name="T12" fmla="*/ 3464 w 3832"/>
              <a:gd name="T13" fmla="*/ 2579 h 3762"/>
              <a:gd name="T14" fmla="*/ 3423 w 3832"/>
              <a:gd name="T15" fmla="*/ 2269 h 3762"/>
              <a:gd name="T16" fmla="*/ 3391 w 3832"/>
              <a:gd name="T17" fmla="*/ 2134 h 3762"/>
              <a:gd name="T18" fmla="*/ 3277 w 3832"/>
              <a:gd name="T19" fmla="*/ 2079 h 3762"/>
              <a:gd name="T20" fmla="*/ 3220 w 3832"/>
              <a:gd name="T21" fmla="*/ 2174 h 3762"/>
              <a:gd name="T22" fmla="*/ 3130 w 3832"/>
              <a:gd name="T23" fmla="*/ 2174 h 3762"/>
              <a:gd name="T24" fmla="*/ 3163 w 3832"/>
              <a:gd name="T25" fmla="*/ 2063 h 3762"/>
              <a:gd name="T26" fmla="*/ 3277 w 3832"/>
              <a:gd name="T27" fmla="*/ 1936 h 3762"/>
              <a:gd name="T28" fmla="*/ 3334 w 3832"/>
              <a:gd name="T29" fmla="*/ 1841 h 3762"/>
              <a:gd name="T30" fmla="*/ 3407 w 3832"/>
              <a:gd name="T31" fmla="*/ 1761 h 3762"/>
              <a:gd name="T32" fmla="*/ 3432 w 3832"/>
              <a:gd name="T33" fmla="*/ 1682 h 3762"/>
              <a:gd name="T34" fmla="*/ 3448 w 3832"/>
              <a:gd name="T35" fmla="*/ 1619 h 3762"/>
              <a:gd name="T36" fmla="*/ 3578 w 3832"/>
              <a:gd name="T37" fmla="*/ 1634 h 3762"/>
              <a:gd name="T38" fmla="*/ 3652 w 3832"/>
              <a:gd name="T39" fmla="*/ 1587 h 3762"/>
              <a:gd name="T40" fmla="*/ 3774 w 3832"/>
              <a:gd name="T41" fmla="*/ 1055 h 3762"/>
              <a:gd name="T42" fmla="*/ 3464 w 3832"/>
              <a:gd name="T43" fmla="*/ 881 h 3762"/>
              <a:gd name="T44" fmla="*/ 3277 w 3832"/>
              <a:gd name="T45" fmla="*/ 754 h 3762"/>
              <a:gd name="T46" fmla="*/ 3187 w 3832"/>
              <a:gd name="T47" fmla="*/ 754 h 3762"/>
              <a:gd name="T48" fmla="*/ 3130 w 3832"/>
              <a:gd name="T49" fmla="*/ 714 h 3762"/>
              <a:gd name="T50" fmla="*/ 3008 w 3832"/>
              <a:gd name="T51" fmla="*/ 682 h 3762"/>
              <a:gd name="T52" fmla="*/ 2877 w 3832"/>
              <a:gd name="T53" fmla="*/ 595 h 3762"/>
              <a:gd name="T54" fmla="*/ 2845 w 3832"/>
              <a:gd name="T55" fmla="*/ 484 h 3762"/>
              <a:gd name="T56" fmla="*/ 2698 w 3832"/>
              <a:gd name="T57" fmla="*/ 476 h 3762"/>
              <a:gd name="T58" fmla="*/ 2666 w 3832"/>
              <a:gd name="T59" fmla="*/ 349 h 3762"/>
              <a:gd name="T60" fmla="*/ 2535 w 3832"/>
              <a:gd name="T61" fmla="*/ 277 h 3762"/>
              <a:gd name="T62" fmla="*/ 2429 w 3832"/>
              <a:gd name="T63" fmla="*/ 142 h 3762"/>
              <a:gd name="T64" fmla="*/ 2291 w 3832"/>
              <a:gd name="T65" fmla="*/ 55 h 3762"/>
              <a:gd name="T66" fmla="*/ 1989 w 3832"/>
              <a:gd name="T67" fmla="*/ 182 h 3762"/>
              <a:gd name="T68" fmla="*/ 1525 w 3832"/>
              <a:gd name="T69" fmla="*/ 539 h 3762"/>
              <a:gd name="T70" fmla="*/ 1117 w 3832"/>
              <a:gd name="T71" fmla="*/ 595 h 3762"/>
              <a:gd name="T72" fmla="*/ 970 w 3832"/>
              <a:gd name="T73" fmla="*/ 547 h 3762"/>
              <a:gd name="T74" fmla="*/ 889 w 3832"/>
              <a:gd name="T75" fmla="*/ 920 h 3762"/>
              <a:gd name="T76" fmla="*/ 546 w 3832"/>
              <a:gd name="T77" fmla="*/ 746 h 3762"/>
              <a:gd name="T78" fmla="*/ 82 w 3832"/>
              <a:gd name="T79" fmla="*/ 801 h 3762"/>
              <a:gd name="T80" fmla="*/ 131 w 3832"/>
              <a:gd name="T81" fmla="*/ 1007 h 3762"/>
              <a:gd name="T82" fmla="*/ 245 w 3832"/>
              <a:gd name="T83" fmla="*/ 1158 h 3762"/>
              <a:gd name="T84" fmla="*/ 555 w 3832"/>
              <a:gd name="T85" fmla="*/ 1317 h 3762"/>
              <a:gd name="T86" fmla="*/ 726 w 3832"/>
              <a:gd name="T87" fmla="*/ 1555 h 3762"/>
              <a:gd name="T88" fmla="*/ 718 w 3832"/>
              <a:gd name="T89" fmla="*/ 1722 h 3762"/>
              <a:gd name="T90" fmla="*/ 938 w 3832"/>
              <a:gd name="T91" fmla="*/ 1976 h 3762"/>
              <a:gd name="T92" fmla="*/ 921 w 3832"/>
              <a:gd name="T93" fmla="*/ 2079 h 3762"/>
              <a:gd name="T94" fmla="*/ 897 w 3832"/>
              <a:gd name="T95" fmla="*/ 2166 h 3762"/>
              <a:gd name="T96" fmla="*/ 930 w 3832"/>
              <a:gd name="T97" fmla="*/ 2253 h 3762"/>
              <a:gd name="T98" fmla="*/ 791 w 3832"/>
              <a:gd name="T99" fmla="*/ 2793 h 3762"/>
              <a:gd name="T100" fmla="*/ 881 w 3832"/>
              <a:gd name="T101" fmla="*/ 3380 h 3762"/>
              <a:gd name="T102" fmla="*/ 1565 w 3832"/>
              <a:gd name="T103" fmla="*/ 3602 h 3762"/>
              <a:gd name="T104" fmla="*/ 1630 w 3832"/>
              <a:gd name="T105" fmla="*/ 3587 h 3762"/>
              <a:gd name="T106" fmla="*/ 1671 w 3832"/>
              <a:gd name="T107" fmla="*/ 3610 h 3762"/>
              <a:gd name="T108" fmla="*/ 1663 w 3832"/>
              <a:gd name="T109" fmla="*/ 3650 h 3762"/>
              <a:gd name="T110" fmla="*/ 1606 w 3832"/>
              <a:gd name="T111" fmla="*/ 3658 h 3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832" h="3762">
                <a:moveTo>
                  <a:pt x="2111" y="3737"/>
                </a:moveTo>
                <a:lnTo>
                  <a:pt x="2128" y="3714"/>
                </a:lnTo>
                <a:cubicBezTo>
                  <a:pt x="2128" y="3714"/>
                  <a:pt x="2128" y="3666"/>
                  <a:pt x="2111" y="3658"/>
                </a:cubicBezTo>
                <a:cubicBezTo>
                  <a:pt x="2103" y="3650"/>
                  <a:pt x="2095" y="3642"/>
                  <a:pt x="2095" y="3642"/>
                </a:cubicBezTo>
                <a:lnTo>
                  <a:pt x="2095" y="3547"/>
                </a:lnTo>
                <a:cubicBezTo>
                  <a:pt x="2095" y="3539"/>
                  <a:pt x="2103" y="3507"/>
                  <a:pt x="2103" y="3499"/>
                </a:cubicBezTo>
                <a:cubicBezTo>
                  <a:pt x="2103" y="3499"/>
                  <a:pt x="2095" y="3499"/>
                  <a:pt x="2111" y="3484"/>
                </a:cubicBezTo>
                <a:cubicBezTo>
                  <a:pt x="2128" y="3460"/>
                  <a:pt x="2128" y="3444"/>
                  <a:pt x="2128" y="3444"/>
                </a:cubicBezTo>
                <a:lnTo>
                  <a:pt x="2160" y="3404"/>
                </a:lnTo>
                <a:cubicBezTo>
                  <a:pt x="2160" y="3404"/>
                  <a:pt x="2185" y="3364"/>
                  <a:pt x="2193" y="3364"/>
                </a:cubicBezTo>
                <a:cubicBezTo>
                  <a:pt x="2201" y="3372"/>
                  <a:pt x="2234" y="3364"/>
                  <a:pt x="2242" y="3364"/>
                </a:cubicBezTo>
                <a:cubicBezTo>
                  <a:pt x="2250" y="3364"/>
                  <a:pt x="2282" y="3396"/>
                  <a:pt x="2299" y="3364"/>
                </a:cubicBezTo>
                <a:cubicBezTo>
                  <a:pt x="2315" y="3341"/>
                  <a:pt x="2323" y="3325"/>
                  <a:pt x="2323" y="3317"/>
                </a:cubicBezTo>
                <a:cubicBezTo>
                  <a:pt x="2331" y="3309"/>
                  <a:pt x="2340" y="3285"/>
                  <a:pt x="2364" y="3285"/>
                </a:cubicBezTo>
                <a:cubicBezTo>
                  <a:pt x="2388" y="3277"/>
                  <a:pt x="2445" y="3277"/>
                  <a:pt x="2445" y="3277"/>
                </a:cubicBezTo>
                <a:lnTo>
                  <a:pt x="2470" y="3285"/>
                </a:lnTo>
                <a:lnTo>
                  <a:pt x="2535" y="3309"/>
                </a:lnTo>
                <a:lnTo>
                  <a:pt x="2592" y="3309"/>
                </a:lnTo>
                <a:lnTo>
                  <a:pt x="2617" y="3341"/>
                </a:lnTo>
                <a:cubicBezTo>
                  <a:pt x="2617" y="3341"/>
                  <a:pt x="2649" y="3357"/>
                  <a:pt x="2657" y="3357"/>
                </a:cubicBezTo>
                <a:cubicBezTo>
                  <a:pt x="2666" y="3357"/>
                  <a:pt x="2731" y="3341"/>
                  <a:pt x="2731" y="3341"/>
                </a:cubicBezTo>
                <a:cubicBezTo>
                  <a:pt x="2731" y="3341"/>
                  <a:pt x="2755" y="3333"/>
                  <a:pt x="2763" y="3341"/>
                </a:cubicBezTo>
                <a:cubicBezTo>
                  <a:pt x="2771" y="3349"/>
                  <a:pt x="2796" y="3357"/>
                  <a:pt x="2804" y="3364"/>
                </a:cubicBezTo>
                <a:cubicBezTo>
                  <a:pt x="2804" y="3372"/>
                  <a:pt x="2869" y="3404"/>
                  <a:pt x="2886" y="3412"/>
                </a:cubicBezTo>
                <a:cubicBezTo>
                  <a:pt x="2894" y="3420"/>
                  <a:pt x="2926" y="3412"/>
                  <a:pt x="2926" y="3412"/>
                </a:cubicBezTo>
                <a:lnTo>
                  <a:pt x="2943" y="3452"/>
                </a:lnTo>
                <a:lnTo>
                  <a:pt x="3024" y="3476"/>
                </a:lnTo>
                <a:lnTo>
                  <a:pt x="3057" y="3476"/>
                </a:lnTo>
                <a:lnTo>
                  <a:pt x="3171" y="3515"/>
                </a:lnTo>
                <a:lnTo>
                  <a:pt x="3244" y="3460"/>
                </a:lnTo>
                <a:cubicBezTo>
                  <a:pt x="3244" y="3460"/>
                  <a:pt x="3260" y="3468"/>
                  <a:pt x="3269" y="3468"/>
                </a:cubicBezTo>
                <a:cubicBezTo>
                  <a:pt x="3277" y="3468"/>
                  <a:pt x="3293" y="3404"/>
                  <a:pt x="3293" y="3404"/>
                </a:cubicBezTo>
                <a:cubicBezTo>
                  <a:pt x="3293" y="3404"/>
                  <a:pt x="3293" y="3388"/>
                  <a:pt x="3301" y="3388"/>
                </a:cubicBezTo>
                <a:cubicBezTo>
                  <a:pt x="3318" y="3388"/>
                  <a:pt x="3375" y="3364"/>
                  <a:pt x="3375" y="3364"/>
                </a:cubicBezTo>
                <a:cubicBezTo>
                  <a:pt x="3375" y="3357"/>
                  <a:pt x="3366" y="3325"/>
                  <a:pt x="3391" y="3317"/>
                </a:cubicBezTo>
                <a:cubicBezTo>
                  <a:pt x="3407" y="3309"/>
                  <a:pt x="3440" y="3285"/>
                  <a:pt x="3440" y="3285"/>
                </a:cubicBezTo>
                <a:cubicBezTo>
                  <a:pt x="3448" y="3277"/>
                  <a:pt x="3432" y="3261"/>
                  <a:pt x="3456" y="3253"/>
                </a:cubicBezTo>
                <a:cubicBezTo>
                  <a:pt x="3472" y="3253"/>
                  <a:pt x="3497" y="3245"/>
                  <a:pt x="3513" y="3245"/>
                </a:cubicBezTo>
                <a:lnTo>
                  <a:pt x="3513" y="3237"/>
                </a:lnTo>
                <a:lnTo>
                  <a:pt x="3521" y="3237"/>
                </a:lnTo>
                <a:lnTo>
                  <a:pt x="3529" y="3230"/>
                </a:lnTo>
                <a:lnTo>
                  <a:pt x="3546" y="3230"/>
                </a:lnTo>
                <a:lnTo>
                  <a:pt x="3546" y="3222"/>
                </a:lnTo>
                <a:lnTo>
                  <a:pt x="3554" y="3222"/>
                </a:lnTo>
                <a:cubicBezTo>
                  <a:pt x="3562" y="3214"/>
                  <a:pt x="3570" y="3214"/>
                  <a:pt x="3570" y="3214"/>
                </a:cubicBezTo>
                <a:lnTo>
                  <a:pt x="3619" y="3174"/>
                </a:lnTo>
                <a:lnTo>
                  <a:pt x="3643" y="3087"/>
                </a:lnTo>
                <a:lnTo>
                  <a:pt x="3611" y="3063"/>
                </a:lnTo>
                <a:lnTo>
                  <a:pt x="3538" y="3063"/>
                </a:lnTo>
                <a:lnTo>
                  <a:pt x="3456" y="3031"/>
                </a:lnTo>
                <a:lnTo>
                  <a:pt x="3415" y="2968"/>
                </a:lnTo>
                <a:lnTo>
                  <a:pt x="3391" y="2968"/>
                </a:lnTo>
                <a:cubicBezTo>
                  <a:pt x="3383" y="2912"/>
                  <a:pt x="3366" y="2936"/>
                  <a:pt x="3399" y="2896"/>
                </a:cubicBezTo>
                <a:lnTo>
                  <a:pt x="3432" y="2849"/>
                </a:lnTo>
                <a:lnTo>
                  <a:pt x="3423" y="2769"/>
                </a:lnTo>
                <a:lnTo>
                  <a:pt x="3399" y="2745"/>
                </a:lnTo>
                <a:lnTo>
                  <a:pt x="3358" y="2722"/>
                </a:lnTo>
                <a:cubicBezTo>
                  <a:pt x="3358" y="2722"/>
                  <a:pt x="3334" y="2690"/>
                  <a:pt x="3326" y="2682"/>
                </a:cubicBezTo>
                <a:lnTo>
                  <a:pt x="3326" y="2666"/>
                </a:lnTo>
                <a:cubicBezTo>
                  <a:pt x="3318" y="2658"/>
                  <a:pt x="3350" y="2658"/>
                  <a:pt x="3350" y="2658"/>
                </a:cubicBezTo>
                <a:cubicBezTo>
                  <a:pt x="3358" y="2658"/>
                  <a:pt x="3383" y="2650"/>
                  <a:pt x="3391" y="2650"/>
                </a:cubicBezTo>
                <a:cubicBezTo>
                  <a:pt x="3399" y="2650"/>
                  <a:pt x="3432" y="2618"/>
                  <a:pt x="3432" y="2618"/>
                </a:cubicBezTo>
                <a:cubicBezTo>
                  <a:pt x="3432" y="2618"/>
                  <a:pt x="3448" y="2587"/>
                  <a:pt x="3464" y="2579"/>
                </a:cubicBezTo>
                <a:cubicBezTo>
                  <a:pt x="3472" y="2571"/>
                  <a:pt x="3489" y="2507"/>
                  <a:pt x="3489" y="2499"/>
                </a:cubicBezTo>
                <a:cubicBezTo>
                  <a:pt x="3489" y="2499"/>
                  <a:pt x="3472" y="2460"/>
                  <a:pt x="3464" y="2460"/>
                </a:cubicBezTo>
                <a:cubicBezTo>
                  <a:pt x="3391" y="2428"/>
                  <a:pt x="3407" y="2412"/>
                  <a:pt x="3375" y="2396"/>
                </a:cubicBezTo>
                <a:lnTo>
                  <a:pt x="3375" y="2357"/>
                </a:lnTo>
                <a:lnTo>
                  <a:pt x="3415" y="2325"/>
                </a:lnTo>
                <a:cubicBezTo>
                  <a:pt x="3423" y="2317"/>
                  <a:pt x="3440" y="2309"/>
                  <a:pt x="3448" y="2309"/>
                </a:cubicBezTo>
                <a:lnTo>
                  <a:pt x="3456" y="2293"/>
                </a:lnTo>
                <a:lnTo>
                  <a:pt x="3440" y="2277"/>
                </a:lnTo>
                <a:cubicBezTo>
                  <a:pt x="3440" y="2277"/>
                  <a:pt x="3432" y="2269"/>
                  <a:pt x="3423" y="2269"/>
                </a:cubicBezTo>
                <a:lnTo>
                  <a:pt x="3415" y="2261"/>
                </a:lnTo>
                <a:cubicBezTo>
                  <a:pt x="3415" y="2261"/>
                  <a:pt x="3407" y="2253"/>
                  <a:pt x="3399" y="2253"/>
                </a:cubicBezTo>
                <a:cubicBezTo>
                  <a:pt x="3391" y="2253"/>
                  <a:pt x="3399" y="2238"/>
                  <a:pt x="3407" y="2238"/>
                </a:cubicBezTo>
                <a:lnTo>
                  <a:pt x="3407" y="2214"/>
                </a:lnTo>
                <a:lnTo>
                  <a:pt x="3375" y="2214"/>
                </a:lnTo>
                <a:lnTo>
                  <a:pt x="3375" y="2206"/>
                </a:lnTo>
                <a:cubicBezTo>
                  <a:pt x="3375" y="2206"/>
                  <a:pt x="3383" y="2182"/>
                  <a:pt x="3391" y="2182"/>
                </a:cubicBezTo>
                <a:lnTo>
                  <a:pt x="3391" y="2142"/>
                </a:lnTo>
                <a:cubicBezTo>
                  <a:pt x="3399" y="2134"/>
                  <a:pt x="3391" y="2134"/>
                  <a:pt x="3391" y="2134"/>
                </a:cubicBezTo>
                <a:cubicBezTo>
                  <a:pt x="3391" y="2134"/>
                  <a:pt x="3383" y="2126"/>
                  <a:pt x="3375" y="2126"/>
                </a:cubicBezTo>
                <a:lnTo>
                  <a:pt x="3383" y="2118"/>
                </a:lnTo>
                <a:cubicBezTo>
                  <a:pt x="3391" y="2103"/>
                  <a:pt x="3391" y="2111"/>
                  <a:pt x="3391" y="2111"/>
                </a:cubicBezTo>
                <a:lnTo>
                  <a:pt x="3391" y="2095"/>
                </a:lnTo>
                <a:lnTo>
                  <a:pt x="3375" y="2087"/>
                </a:lnTo>
                <a:lnTo>
                  <a:pt x="3350" y="2071"/>
                </a:lnTo>
                <a:lnTo>
                  <a:pt x="3318" y="2071"/>
                </a:lnTo>
                <a:lnTo>
                  <a:pt x="3293" y="2071"/>
                </a:lnTo>
                <a:lnTo>
                  <a:pt x="3277" y="2079"/>
                </a:lnTo>
                <a:lnTo>
                  <a:pt x="3269" y="2087"/>
                </a:lnTo>
                <a:lnTo>
                  <a:pt x="3244" y="2095"/>
                </a:lnTo>
                <a:lnTo>
                  <a:pt x="3220" y="2103"/>
                </a:lnTo>
                <a:cubicBezTo>
                  <a:pt x="3220" y="2103"/>
                  <a:pt x="3212" y="2118"/>
                  <a:pt x="3203" y="2126"/>
                </a:cubicBezTo>
                <a:lnTo>
                  <a:pt x="3203" y="2134"/>
                </a:lnTo>
                <a:lnTo>
                  <a:pt x="3220" y="2142"/>
                </a:lnTo>
                <a:lnTo>
                  <a:pt x="3220" y="2158"/>
                </a:lnTo>
                <a:lnTo>
                  <a:pt x="3228" y="2158"/>
                </a:lnTo>
                <a:lnTo>
                  <a:pt x="3220" y="2174"/>
                </a:lnTo>
                <a:cubicBezTo>
                  <a:pt x="3220" y="2174"/>
                  <a:pt x="3212" y="2174"/>
                  <a:pt x="3203" y="2182"/>
                </a:cubicBezTo>
                <a:cubicBezTo>
                  <a:pt x="3195" y="2190"/>
                  <a:pt x="3195" y="2198"/>
                  <a:pt x="3195" y="2198"/>
                </a:cubicBezTo>
                <a:lnTo>
                  <a:pt x="3171" y="2206"/>
                </a:lnTo>
                <a:lnTo>
                  <a:pt x="3155" y="2198"/>
                </a:lnTo>
                <a:lnTo>
                  <a:pt x="3138" y="2206"/>
                </a:lnTo>
                <a:lnTo>
                  <a:pt x="3130" y="2206"/>
                </a:lnTo>
                <a:lnTo>
                  <a:pt x="3130" y="2190"/>
                </a:lnTo>
                <a:lnTo>
                  <a:pt x="3122" y="2182"/>
                </a:lnTo>
                <a:lnTo>
                  <a:pt x="3130" y="2174"/>
                </a:lnTo>
                <a:lnTo>
                  <a:pt x="3138" y="2166"/>
                </a:lnTo>
                <a:cubicBezTo>
                  <a:pt x="3146" y="2166"/>
                  <a:pt x="3155" y="2158"/>
                  <a:pt x="3155" y="2158"/>
                </a:cubicBezTo>
                <a:lnTo>
                  <a:pt x="3171" y="2158"/>
                </a:lnTo>
                <a:lnTo>
                  <a:pt x="3171" y="2142"/>
                </a:lnTo>
                <a:lnTo>
                  <a:pt x="3179" y="2126"/>
                </a:lnTo>
                <a:lnTo>
                  <a:pt x="3179" y="2103"/>
                </a:lnTo>
                <a:lnTo>
                  <a:pt x="3171" y="2095"/>
                </a:lnTo>
                <a:lnTo>
                  <a:pt x="3163" y="2087"/>
                </a:lnTo>
                <a:lnTo>
                  <a:pt x="3163" y="2063"/>
                </a:lnTo>
                <a:lnTo>
                  <a:pt x="3171" y="2055"/>
                </a:lnTo>
                <a:cubicBezTo>
                  <a:pt x="3171" y="2055"/>
                  <a:pt x="3179" y="2047"/>
                  <a:pt x="3179" y="2039"/>
                </a:cubicBezTo>
                <a:lnTo>
                  <a:pt x="3179" y="2015"/>
                </a:lnTo>
                <a:lnTo>
                  <a:pt x="3212" y="1984"/>
                </a:lnTo>
                <a:lnTo>
                  <a:pt x="3228" y="1968"/>
                </a:lnTo>
                <a:cubicBezTo>
                  <a:pt x="3228" y="1968"/>
                  <a:pt x="3244" y="1968"/>
                  <a:pt x="3244" y="1960"/>
                </a:cubicBezTo>
                <a:lnTo>
                  <a:pt x="3260" y="1960"/>
                </a:lnTo>
                <a:lnTo>
                  <a:pt x="3269" y="1952"/>
                </a:lnTo>
                <a:cubicBezTo>
                  <a:pt x="3277" y="1944"/>
                  <a:pt x="3277" y="1936"/>
                  <a:pt x="3277" y="1936"/>
                </a:cubicBezTo>
                <a:lnTo>
                  <a:pt x="3277" y="1912"/>
                </a:lnTo>
                <a:cubicBezTo>
                  <a:pt x="3277" y="1904"/>
                  <a:pt x="3285" y="1904"/>
                  <a:pt x="3285" y="1904"/>
                </a:cubicBezTo>
                <a:lnTo>
                  <a:pt x="3285" y="1888"/>
                </a:lnTo>
                <a:cubicBezTo>
                  <a:pt x="3285" y="1888"/>
                  <a:pt x="3277" y="1880"/>
                  <a:pt x="3277" y="1873"/>
                </a:cubicBezTo>
                <a:lnTo>
                  <a:pt x="3277" y="1865"/>
                </a:lnTo>
                <a:cubicBezTo>
                  <a:pt x="3285" y="1857"/>
                  <a:pt x="3293" y="1857"/>
                  <a:pt x="3293" y="1857"/>
                </a:cubicBezTo>
                <a:lnTo>
                  <a:pt x="3309" y="1857"/>
                </a:lnTo>
                <a:cubicBezTo>
                  <a:pt x="3309" y="1857"/>
                  <a:pt x="3318" y="1849"/>
                  <a:pt x="3326" y="1849"/>
                </a:cubicBezTo>
                <a:lnTo>
                  <a:pt x="3334" y="1841"/>
                </a:lnTo>
                <a:lnTo>
                  <a:pt x="3342" y="1825"/>
                </a:lnTo>
                <a:lnTo>
                  <a:pt x="3350" y="1825"/>
                </a:lnTo>
                <a:lnTo>
                  <a:pt x="3358" y="1817"/>
                </a:lnTo>
                <a:lnTo>
                  <a:pt x="3358" y="1801"/>
                </a:lnTo>
                <a:lnTo>
                  <a:pt x="3375" y="1793"/>
                </a:lnTo>
                <a:lnTo>
                  <a:pt x="3375" y="1785"/>
                </a:lnTo>
                <a:lnTo>
                  <a:pt x="3383" y="1777"/>
                </a:lnTo>
                <a:lnTo>
                  <a:pt x="3391" y="1777"/>
                </a:lnTo>
                <a:lnTo>
                  <a:pt x="3407" y="1761"/>
                </a:lnTo>
                <a:lnTo>
                  <a:pt x="3423" y="1753"/>
                </a:lnTo>
                <a:cubicBezTo>
                  <a:pt x="3423" y="1753"/>
                  <a:pt x="3432" y="1738"/>
                  <a:pt x="3432" y="1730"/>
                </a:cubicBezTo>
                <a:cubicBezTo>
                  <a:pt x="3432" y="1722"/>
                  <a:pt x="3432" y="1722"/>
                  <a:pt x="3440" y="1714"/>
                </a:cubicBezTo>
                <a:cubicBezTo>
                  <a:pt x="3440" y="1714"/>
                  <a:pt x="3448" y="1714"/>
                  <a:pt x="3456" y="1706"/>
                </a:cubicBezTo>
                <a:lnTo>
                  <a:pt x="3456" y="1698"/>
                </a:lnTo>
                <a:lnTo>
                  <a:pt x="3464" y="1698"/>
                </a:lnTo>
                <a:lnTo>
                  <a:pt x="3464" y="1674"/>
                </a:lnTo>
                <a:lnTo>
                  <a:pt x="3448" y="1682"/>
                </a:lnTo>
                <a:lnTo>
                  <a:pt x="3432" y="1682"/>
                </a:lnTo>
                <a:lnTo>
                  <a:pt x="3415" y="1682"/>
                </a:lnTo>
                <a:cubicBezTo>
                  <a:pt x="3407" y="1674"/>
                  <a:pt x="3415" y="1674"/>
                  <a:pt x="3415" y="1674"/>
                </a:cubicBezTo>
                <a:cubicBezTo>
                  <a:pt x="3415" y="1674"/>
                  <a:pt x="3423" y="1674"/>
                  <a:pt x="3423" y="1666"/>
                </a:cubicBezTo>
                <a:lnTo>
                  <a:pt x="3432" y="1650"/>
                </a:lnTo>
                <a:lnTo>
                  <a:pt x="3440" y="1650"/>
                </a:lnTo>
                <a:lnTo>
                  <a:pt x="3448" y="1642"/>
                </a:lnTo>
                <a:lnTo>
                  <a:pt x="3456" y="1642"/>
                </a:lnTo>
                <a:lnTo>
                  <a:pt x="3448" y="1634"/>
                </a:lnTo>
                <a:lnTo>
                  <a:pt x="3448" y="1619"/>
                </a:lnTo>
                <a:lnTo>
                  <a:pt x="3464" y="1626"/>
                </a:lnTo>
                <a:lnTo>
                  <a:pt x="3489" y="1626"/>
                </a:lnTo>
                <a:lnTo>
                  <a:pt x="3497" y="1619"/>
                </a:lnTo>
                <a:lnTo>
                  <a:pt x="3505" y="1634"/>
                </a:lnTo>
                <a:cubicBezTo>
                  <a:pt x="3505" y="1642"/>
                  <a:pt x="3505" y="1650"/>
                  <a:pt x="3513" y="1650"/>
                </a:cubicBezTo>
                <a:lnTo>
                  <a:pt x="3529" y="1658"/>
                </a:lnTo>
                <a:cubicBezTo>
                  <a:pt x="3529" y="1658"/>
                  <a:pt x="3529" y="1650"/>
                  <a:pt x="3538" y="1650"/>
                </a:cubicBezTo>
                <a:lnTo>
                  <a:pt x="3578" y="1650"/>
                </a:lnTo>
                <a:lnTo>
                  <a:pt x="3578" y="1634"/>
                </a:lnTo>
                <a:lnTo>
                  <a:pt x="3586" y="1619"/>
                </a:lnTo>
                <a:lnTo>
                  <a:pt x="3603" y="1619"/>
                </a:lnTo>
                <a:lnTo>
                  <a:pt x="3603" y="1603"/>
                </a:lnTo>
                <a:lnTo>
                  <a:pt x="3611" y="1603"/>
                </a:lnTo>
                <a:lnTo>
                  <a:pt x="3611" y="1587"/>
                </a:lnTo>
                <a:lnTo>
                  <a:pt x="3627" y="1587"/>
                </a:lnTo>
                <a:cubicBezTo>
                  <a:pt x="3635" y="1587"/>
                  <a:pt x="3627" y="1587"/>
                  <a:pt x="3627" y="1587"/>
                </a:cubicBezTo>
                <a:lnTo>
                  <a:pt x="3652" y="1579"/>
                </a:lnTo>
                <a:lnTo>
                  <a:pt x="3652" y="1587"/>
                </a:lnTo>
                <a:cubicBezTo>
                  <a:pt x="3635" y="1563"/>
                  <a:pt x="3611" y="1531"/>
                  <a:pt x="3611" y="1531"/>
                </a:cubicBezTo>
                <a:lnTo>
                  <a:pt x="3627" y="1499"/>
                </a:lnTo>
                <a:cubicBezTo>
                  <a:pt x="3627" y="1499"/>
                  <a:pt x="3635" y="1444"/>
                  <a:pt x="3635" y="1428"/>
                </a:cubicBezTo>
                <a:lnTo>
                  <a:pt x="3635" y="1373"/>
                </a:lnTo>
                <a:cubicBezTo>
                  <a:pt x="3635" y="1373"/>
                  <a:pt x="3603" y="1365"/>
                  <a:pt x="3627" y="1341"/>
                </a:cubicBezTo>
                <a:cubicBezTo>
                  <a:pt x="3652" y="1309"/>
                  <a:pt x="3676" y="1269"/>
                  <a:pt x="3676" y="1269"/>
                </a:cubicBezTo>
                <a:lnTo>
                  <a:pt x="3676" y="1190"/>
                </a:lnTo>
                <a:cubicBezTo>
                  <a:pt x="3676" y="1190"/>
                  <a:pt x="3652" y="1166"/>
                  <a:pt x="3684" y="1150"/>
                </a:cubicBezTo>
                <a:cubicBezTo>
                  <a:pt x="3717" y="1126"/>
                  <a:pt x="3774" y="1055"/>
                  <a:pt x="3774" y="1055"/>
                </a:cubicBezTo>
                <a:lnTo>
                  <a:pt x="3831" y="992"/>
                </a:lnTo>
                <a:lnTo>
                  <a:pt x="3733" y="968"/>
                </a:lnTo>
                <a:lnTo>
                  <a:pt x="3676" y="960"/>
                </a:lnTo>
                <a:lnTo>
                  <a:pt x="3635" y="936"/>
                </a:lnTo>
                <a:lnTo>
                  <a:pt x="3611" y="896"/>
                </a:lnTo>
                <a:lnTo>
                  <a:pt x="3586" y="912"/>
                </a:lnTo>
                <a:lnTo>
                  <a:pt x="3562" y="928"/>
                </a:lnTo>
                <a:lnTo>
                  <a:pt x="3505" y="920"/>
                </a:lnTo>
                <a:lnTo>
                  <a:pt x="3464" y="881"/>
                </a:lnTo>
                <a:lnTo>
                  <a:pt x="3432" y="904"/>
                </a:lnTo>
                <a:lnTo>
                  <a:pt x="3399" y="881"/>
                </a:lnTo>
                <a:lnTo>
                  <a:pt x="3375" y="841"/>
                </a:lnTo>
                <a:lnTo>
                  <a:pt x="3366" y="809"/>
                </a:lnTo>
                <a:lnTo>
                  <a:pt x="3326" y="769"/>
                </a:lnTo>
                <a:lnTo>
                  <a:pt x="3309" y="769"/>
                </a:lnTo>
                <a:cubicBezTo>
                  <a:pt x="3309" y="777"/>
                  <a:pt x="3301" y="777"/>
                  <a:pt x="3301" y="777"/>
                </a:cubicBezTo>
                <a:lnTo>
                  <a:pt x="3277" y="769"/>
                </a:lnTo>
                <a:lnTo>
                  <a:pt x="3277" y="754"/>
                </a:lnTo>
                <a:lnTo>
                  <a:pt x="3269" y="746"/>
                </a:lnTo>
                <a:lnTo>
                  <a:pt x="3252" y="746"/>
                </a:lnTo>
                <a:lnTo>
                  <a:pt x="3236" y="754"/>
                </a:lnTo>
                <a:lnTo>
                  <a:pt x="3228" y="761"/>
                </a:lnTo>
                <a:lnTo>
                  <a:pt x="3220" y="769"/>
                </a:lnTo>
                <a:lnTo>
                  <a:pt x="3212" y="769"/>
                </a:lnTo>
                <a:lnTo>
                  <a:pt x="3203" y="769"/>
                </a:lnTo>
                <a:lnTo>
                  <a:pt x="3187" y="769"/>
                </a:lnTo>
                <a:lnTo>
                  <a:pt x="3187" y="754"/>
                </a:lnTo>
                <a:lnTo>
                  <a:pt x="3171" y="746"/>
                </a:lnTo>
                <a:lnTo>
                  <a:pt x="3163" y="746"/>
                </a:lnTo>
                <a:lnTo>
                  <a:pt x="3155" y="738"/>
                </a:lnTo>
                <a:cubicBezTo>
                  <a:pt x="3146" y="738"/>
                  <a:pt x="3146" y="730"/>
                  <a:pt x="3146" y="730"/>
                </a:cubicBezTo>
                <a:lnTo>
                  <a:pt x="3138" y="722"/>
                </a:lnTo>
                <a:lnTo>
                  <a:pt x="3155" y="722"/>
                </a:lnTo>
                <a:lnTo>
                  <a:pt x="3155" y="714"/>
                </a:lnTo>
                <a:lnTo>
                  <a:pt x="3146" y="714"/>
                </a:lnTo>
                <a:lnTo>
                  <a:pt x="3130" y="714"/>
                </a:lnTo>
                <a:lnTo>
                  <a:pt x="3122" y="722"/>
                </a:lnTo>
                <a:lnTo>
                  <a:pt x="3106" y="722"/>
                </a:lnTo>
                <a:lnTo>
                  <a:pt x="3089" y="730"/>
                </a:lnTo>
                <a:lnTo>
                  <a:pt x="3065" y="730"/>
                </a:lnTo>
                <a:lnTo>
                  <a:pt x="3057" y="714"/>
                </a:lnTo>
                <a:lnTo>
                  <a:pt x="3049" y="698"/>
                </a:lnTo>
                <a:lnTo>
                  <a:pt x="3040" y="690"/>
                </a:lnTo>
                <a:lnTo>
                  <a:pt x="3032" y="690"/>
                </a:lnTo>
                <a:lnTo>
                  <a:pt x="3008" y="682"/>
                </a:lnTo>
                <a:lnTo>
                  <a:pt x="3016" y="666"/>
                </a:lnTo>
                <a:lnTo>
                  <a:pt x="3008" y="650"/>
                </a:lnTo>
                <a:lnTo>
                  <a:pt x="2992" y="650"/>
                </a:lnTo>
                <a:lnTo>
                  <a:pt x="2975" y="634"/>
                </a:lnTo>
                <a:cubicBezTo>
                  <a:pt x="2975" y="634"/>
                  <a:pt x="2975" y="627"/>
                  <a:pt x="2967" y="619"/>
                </a:cubicBezTo>
                <a:cubicBezTo>
                  <a:pt x="2959" y="619"/>
                  <a:pt x="2959" y="611"/>
                  <a:pt x="2951" y="611"/>
                </a:cubicBezTo>
                <a:lnTo>
                  <a:pt x="2926" y="611"/>
                </a:lnTo>
                <a:cubicBezTo>
                  <a:pt x="2926" y="611"/>
                  <a:pt x="2918" y="595"/>
                  <a:pt x="2910" y="595"/>
                </a:cubicBezTo>
                <a:lnTo>
                  <a:pt x="2877" y="595"/>
                </a:lnTo>
                <a:lnTo>
                  <a:pt x="2886" y="571"/>
                </a:lnTo>
                <a:lnTo>
                  <a:pt x="2886" y="531"/>
                </a:lnTo>
                <a:cubicBezTo>
                  <a:pt x="2886" y="531"/>
                  <a:pt x="2877" y="523"/>
                  <a:pt x="2886" y="507"/>
                </a:cubicBezTo>
                <a:cubicBezTo>
                  <a:pt x="2894" y="492"/>
                  <a:pt x="2886" y="500"/>
                  <a:pt x="2894" y="484"/>
                </a:cubicBezTo>
                <a:cubicBezTo>
                  <a:pt x="2902" y="460"/>
                  <a:pt x="2902" y="452"/>
                  <a:pt x="2902" y="452"/>
                </a:cubicBezTo>
                <a:lnTo>
                  <a:pt x="2886" y="444"/>
                </a:lnTo>
                <a:cubicBezTo>
                  <a:pt x="2886" y="444"/>
                  <a:pt x="2877" y="436"/>
                  <a:pt x="2869" y="444"/>
                </a:cubicBezTo>
                <a:cubicBezTo>
                  <a:pt x="2869" y="460"/>
                  <a:pt x="2861" y="460"/>
                  <a:pt x="2861" y="460"/>
                </a:cubicBezTo>
                <a:lnTo>
                  <a:pt x="2845" y="484"/>
                </a:lnTo>
                <a:lnTo>
                  <a:pt x="2845" y="507"/>
                </a:lnTo>
                <a:cubicBezTo>
                  <a:pt x="2845" y="507"/>
                  <a:pt x="2853" y="515"/>
                  <a:pt x="2829" y="515"/>
                </a:cubicBezTo>
                <a:lnTo>
                  <a:pt x="2796" y="515"/>
                </a:lnTo>
                <a:cubicBezTo>
                  <a:pt x="2796" y="515"/>
                  <a:pt x="2812" y="531"/>
                  <a:pt x="2788" y="531"/>
                </a:cubicBezTo>
                <a:lnTo>
                  <a:pt x="2747" y="531"/>
                </a:lnTo>
                <a:lnTo>
                  <a:pt x="2731" y="515"/>
                </a:lnTo>
                <a:lnTo>
                  <a:pt x="2698" y="523"/>
                </a:lnTo>
                <a:lnTo>
                  <a:pt x="2698" y="500"/>
                </a:lnTo>
                <a:cubicBezTo>
                  <a:pt x="2698" y="492"/>
                  <a:pt x="2690" y="476"/>
                  <a:pt x="2698" y="476"/>
                </a:cubicBezTo>
                <a:cubicBezTo>
                  <a:pt x="2706" y="476"/>
                  <a:pt x="2714" y="468"/>
                  <a:pt x="2714" y="468"/>
                </a:cubicBezTo>
                <a:lnTo>
                  <a:pt x="2706" y="444"/>
                </a:lnTo>
                <a:cubicBezTo>
                  <a:pt x="2706" y="444"/>
                  <a:pt x="2698" y="444"/>
                  <a:pt x="2698" y="436"/>
                </a:cubicBezTo>
                <a:cubicBezTo>
                  <a:pt x="2698" y="428"/>
                  <a:pt x="2706" y="412"/>
                  <a:pt x="2706" y="412"/>
                </a:cubicBezTo>
                <a:cubicBezTo>
                  <a:pt x="2714" y="404"/>
                  <a:pt x="2714" y="388"/>
                  <a:pt x="2714" y="388"/>
                </a:cubicBezTo>
                <a:lnTo>
                  <a:pt x="2706" y="388"/>
                </a:lnTo>
                <a:cubicBezTo>
                  <a:pt x="2706" y="388"/>
                  <a:pt x="2690" y="396"/>
                  <a:pt x="2690" y="381"/>
                </a:cubicBezTo>
                <a:cubicBezTo>
                  <a:pt x="2690" y="373"/>
                  <a:pt x="2682" y="357"/>
                  <a:pt x="2682" y="357"/>
                </a:cubicBezTo>
                <a:lnTo>
                  <a:pt x="2666" y="349"/>
                </a:lnTo>
                <a:cubicBezTo>
                  <a:pt x="2657" y="349"/>
                  <a:pt x="2657" y="349"/>
                  <a:pt x="2649" y="357"/>
                </a:cubicBezTo>
                <a:lnTo>
                  <a:pt x="2625" y="349"/>
                </a:lnTo>
                <a:lnTo>
                  <a:pt x="2600" y="349"/>
                </a:lnTo>
                <a:cubicBezTo>
                  <a:pt x="2592" y="349"/>
                  <a:pt x="2584" y="365"/>
                  <a:pt x="2584" y="365"/>
                </a:cubicBezTo>
                <a:lnTo>
                  <a:pt x="2568" y="341"/>
                </a:lnTo>
                <a:lnTo>
                  <a:pt x="2576" y="317"/>
                </a:lnTo>
                <a:cubicBezTo>
                  <a:pt x="2576" y="317"/>
                  <a:pt x="2560" y="301"/>
                  <a:pt x="2560" y="293"/>
                </a:cubicBezTo>
                <a:lnTo>
                  <a:pt x="2551" y="277"/>
                </a:lnTo>
                <a:lnTo>
                  <a:pt x="2535" y="277"/>
                </a:lnTo>
                <a:lnTo>
                  <a:pt x="2527" y="269"/>
                </a:lnTo>
                <a:lnTo>
                  <a:pt x="2503" y="269"/>
                </a:lnTo>
                <a:lnTo>
                  <a:pt x="2486" y="269"/>
                </a:lnTo>
                <a:lnTo>
                  <a:pt x="2470" y="254"/>
                </a:lnTo>
                <a:lnTo>
                  <a:pt x="2470" y="230"/>
                </a:lnTo>
                <a:cubicBezTo>
                  <a:pt x="2462" y="222"/>
                  <a:pt x="2454" y="206"/>
                  <a:pt x="2454" y="198"/>
                </a:cubicBezTo>
                <a:lnTo>
                  <a:pt x="2462" y="182"/>
                </a:lnTo>
                <a:cubicBezTo>
                  <a:pt x="2454" y="174"/>
                  <a:pt x="2437" y="158"/>
                  <a:pt x="2437" y="158"/>
                </a:cubicBezTo>
                <a:lnTo>
                  <a:pt x="2429" y="142"/>
                </a:lnTo>
                <a:cubicBezTo>
                  <a:pt x="2429" y="142"/>
                  <a:pt x="2405" y="158"/>
                  <a:pt x="2397" y="158"/>
                </a:cubicBezTo>
                <a:cubicBezTo>
                  <a:pt x="2388" y="158"/>
                  <a:pt x="2372" y="150"/>
                  <a:pt x="2372" y="158"/>
                </a:cubicBezTo>
                <a:cubicBezTo>
                  <a:pt x="2372" y="158"/>
                  <a:pt x="2380" y="174"/>
                  <a:pt x="2372" y="174"/>
                </a:cubicBezTo>
                <a:cubicBezTo>
                  <a:pt x="2364" y="174"/>
                  <a:pt x="2348" y="174"/>
                  <a:pt x="2340" y="166"/>
                </a:cubicBezTo>
                <a:cubicBezTo>
                  <a:pt x="2331" y="158"/>
                  <a:pt x="2331" y="150"/>
                  <a:pt x="2331" y="142"/>
                </a:cubicBezTo>
                <a:cubicBezTo>
                  <a:pt x="2323" y="142"/>
                  <a:pt x="2323" y="127"/>
                  <a:pt x="2315" y="127"/>
                </a:cubicBezTo>
                <a:cubicBezTo>
                  <a:pt x="2307" y="127"/>
                  <a:pt x="2299" y="127"/>
                  <a:pt x="2299" y="119"/>
                </a:cubicBezTo>
                <a:lnTo>
                  <a:pt x="2299" y="79"/>
                </a:lnTo>
                <a:cubicBezTo>
                  <a:pt x="2299" y="79"/>
                  <a:pt x="2299" y="55"/>
                  <a:pt x="2291" y="55"/>
                </a:cubicBezTo>
                <a:cubicBezTo>
                  <a:pt x="2291" y="47"/>
                  <a:pt x="2282" y="39"/>
                  <a:pt x="2282" y="39"/>
                </a:cubicBezTo>
                <a:lnTo>
                  <a:pt x="2282" y="15"/>
                </a:lnTo>
                <a:lnTo>
                  <a:pt x="2291" y="7"/>
                </a:lnTo>
                <a:cubicBezTo>
                  <a:pt x="2291" y="7"/>
                  <a:pt x="2291" y="0"/>
                  <a:pt x="2299" y="0"/>
                </a:cubicBezTo>
                <a:lnTo>
                  <a:pt x="2111" y="31"/>
                </a:lnTo>
                <a:lnTo>
                  <a:pt x="2030" y="39"/>
                </a:lnTo>
                <a:lnTo>
                  <a:pt x="1997" y="79"/>
                </a:lnTo>
                <a:lnTo>
                  <a:pt x="1981" y="119"/>
                </a:lnTo>
                <a:lnTo>
                  <a:pt x="1989" y="182"/>
                </a:lnTo>
                <a:lnTo>
                  <a:pt x="1965" y="222"/>
                </a:lnTo>
                <a:lnTo>
                  <a:pt x="1965" y="269"/>
                </a:lnTo>
                <a:lnTo>
                  <a:pt x="1965" y="341"/>
                </a:lnTo>
                <a:lnTo>
                  <a:pt x="1924" y="365"/>
                </a:lnTo>
                <a:lnTo>
                  <a:pt x="1867" y="420"/>
                </a:lnTo>
                <a:lnTo>
                  <a:pt x="1785" y="452"/>
                </a:lnTo>
                <a:lnTo>
                  <a:pt x="1679" y="476"/>
                </a:lnTo>
                <a:lnTo>
                  <a:pt x="1598" y="500"/>
                </a:lnTo>
                <a:lnTo>
                  <a:pt x="1525" y="539"/>
                </a:lnTo>
                <a:lnTo>
                  <a:pt x="1508" y="595"/>
                </a:lnTo>
                <a:lnTo>
                  <a:pt x="1500" y="666"/>
                </a:lnTo>
                <a:lnTo>
                  <a:pt x="1443" y="690"/>
                </a:lnTo>
                <a:cubicBezTo>
                  <a:pt x="1443" y="690"/>
                  <a:pt x="1419" y="706"/>
                  <a:pt x="1402" y="698"/>
                </a:cubicBezTo>
                <a:cubicBezTo>
                  <a:pt x="1378" y="698"/>
                  <a:pt x="1329" y="682"/>
                  <a:pt x="1329" y="682"/>
                </a:cubicBezTo>
                <a:cubicBezTo>
                  <a:pt x="1329" y="682"/>
                  <a:pt x="1272" y="650"/>
                  <a:pt x="1247" y="650"/>
                </a:cubicBezTo>
                <a:cubicBezTo>
                  <a:pt x="1223" y="642"/>
                  <a:pt x="1182" y="603"/>
                  <a:pt x="1182" y="603"/>
                </a:cubicBezTo>
                <a:lnTo>
                  <a:pt x="1141" y="634"/>
                </a:lnTo>
                <a:cubicBezTo>
                  <a:pt x="1141" y="634"/>
                  <a:pt x="1117" y="611"/>
                  <a:pt x="1117" y="595"/>
                </a:cubicBezTo>
                <a:lnTo>
                  <a:pt x="1117" y="507"/>
                </a:lnTo>
                <a:lnTo>
                  <a:pt x="1060" y="484"/>
                </a:lnTo>
                <a:lnTo>
                  <a:pt x="1003" y="476"/>
                </a:lnTo>
                <a:cubicBezTo>
                  <a:pt x="1003" y="476"/>
                  <a:pt x="1003" y="492"/>
                  <a:pt x="987" y="476"/>
                </a:cubicBezTo>
                <a:cubicBezTo>
                  <a:pt x="962" y="460"/>
                  <a:pt x="962" y="428"/>
                  <a:pt x="962" y="428"/>
                </a:cubicBezTo>
                <a:lnTo>
                  <a:pt x="913" y="404"/>
                </a:lnTo>
                <a:lnTo>
                  <a:pt x="897" y="468"/>
                </a:lnTo>
                <a:lnTo>
                  <a:pt x="954" y="515"/>
                </a:lnTo>
                <a:lnTo>
                  <a:pt x="970" y="547"/>
                </a:lnTo>
                <a:lnTo>
                  <a:pt x="954" y="595"/>
                </a:lnTo>
                <a:lnTo>
                  <a:pt x="970" y="634"/>
                </a:lnTo>
                <a:lnTo>
                  <a:pt x="978" y="666"/>
                </a:lnTo>
                <a:cubicBezTo>
                  <a:pt x="978" y="666"/>
                  <a:pt x="987" y="666"/>
                  <a:pt x="987" y="690"/>
                </a:cubicBezTo>
                <a:cubicBezTo>
                  <a:pt x="987" y="706"/>
                  <a:pt x="978" y="785"/>
                  <a:pt x="978" y="785"/>
                </a:cubicBezTo>
                <a:lnTo>
                  <a:pt x="978" y="849"/>
                </a:lnTo>
                <a:lnTo>
                  <a:pt x="1003" y="912"/>
                </a:lnTo>
                <a:cubicBezTo>
                  <a:pt x="1003" y="912"/>
                  <a:pt x="962" y="936"/>
                  <a:pt x="946" y="936"/>
                </a:cubicBezTo>
                <a:cubicBezTo>
                  <a:pt x="930" y="936"/>
                  <a:pt x="889" y="920"/>
                  <a:pt x="889" y="920"/>
                </a:cubicBezTo>
                <a:lnTo>
                  <a:pt x="873" y="880"/>
                </a:lnTo>
                <a:lnTo>
                  <a:pt x="775" y="888"/>
                </a:lnTo>
                <a:lnTo>
                  <a:pt x="718" y="880"/>
                </a:lnTo>
                <a:lnTo>
                  <a:pt x="669" y="912"/>
                </a:lnTo>
                <a:lnTo>
                  <a:pt x="636" y="904"/>
                </a:lnTo>
                <a:lnTo>
                  <a:pt x="604" y="872"/>
                </a:lnTo>
                <a:lnTo>
                  <a:pt x="595" y="825"/>
                </a:lnTo>
                <a:lnTo>
                  <a:pt x="579" y="785"/>
                </a:lnTo>
                <a:lnTo>
                  <a:pt x="546" y="746"/>
                </a:lnTo>
                <a:lnTo>
                  <a:pt x="441" y="753"/>
                </a:lnTo>
                <a:lnTo>
                  <a:pt x="400" y="761"/>
                </a:lnTo>
                <a:lnTo>
                  <a:pt x="375" y="785"/>
                </a:lnTo>
                <a:lnTo>
                  <a:pt x="326" y="777"/>
                </a:lnTo>
                <a:lnTo>
                  <a:pt x="310" y="801"/>
                </a:lnTo>
                <a:lnTo>
                  <a:pt x="253" y="785"/>
                </a:lnTo>
                <a:lnTo>
                  <a:pt x="196" y="793"/>
                </a:lnTo>
                <a:lnTo>
                  <a:pt x="155" y="785"/>
                </a:lnTo>
                <a:lnTo>
                  <a:pt x="82" y="801"/>
                </a:lnTo>
                <a:lnTo>
                  <a:pt x="41" y="833"/>
                </a:lnTo>
                <a:lnTo>
                  <a:pt x="0" y="896"/>
                </a:lnTo>
                <a:lnTo>
                  <a:pt x="33" y="896"/>
                </a:lnTo>
                <a:cubicBezTo>
                  <a:pt x="41" y="896"/>
                  <a:pt x="115" y="904"/>
                  <a:pt x="115" y="904"/>
                </a:cubicBezTo>
                <a:lnTo>
                  <a:pt x="131" y="928"/>
                </a:lnTo>
                <a:lnTo>
                  <a:pt x="82" y="952"/>
                </a:lnTo>
                <a:lnTo>
                  <a:pt x="123" y="968"/>
                </a:lnTo>
                <a:lnTo>
                  <a:pt x="131" y="984"/>
                </a:lnTo>
                <a:lnTo>
                  <a:pt x="131" y="1007"/>
                </a:lnTo>
                <a:lnTo>
                  <a:pt x="41" y="1015"/>
                </a:lnTo>
                <a:cubicBezTo>
                  <a:pt x="41" y="1015"/>
                  <a:pt x="17" y="1007"/>
                  <a:pt x="17" y="1023"/>
                </a:cubicBezTo>
                <a:cubicBezTo>
                  <a:pt x="9" y="1039"/>
                  <a:pt x="41" y="1047"/>
                  <a:pt x="41" y="1047"/>
                </a:cubicBezTo>
                <a:lnTo>
                  <a:pt x="82" y="1071"/>
                </a:lnTo>
                <a:lnTo>
                  <a:pt x="74" y="1150"/>
                </a:lnTo>
                <a:lnTo>
                  <a:pt x="155" y="1150"/>
                </a:lnTo>
                <a:cubicBezTo>
                  <a:pt x="155" y="1150"/>
                  <a:pt x="163" y="1134"/>
                  <a:pt x="188" y="1126"/>
                </a:cubicBezTo>
                <a:lnTo>
                  <a:pt x="229" y="1126"/>
                </a:lnTo>
                <a:cubicBezTo>
                  <a:pt x="229" y="1126"/>
                  <a:pt x="229" y="1118"/>
                  <a:pt x="245" y="1158"/>
                </a:cubicBezTo>
                <a:lnTo>
                  <a:pt x="253" y="1190"/>
                </a:lnTo>
                <a:lnTo>
                  <a:pt x="286" y="1198"/>
                </a:lnTo>
                <a:lnTo>
                  <a:pt x="302" y="1206"/>
                </a:lnTo>
                <a:cubicBezTo>
                  <a:pt x="302" y="1206"/>
                  <a:pt x="335" y="1222"/>
                  <a:pt x="351" y="1230"/>
                </a:cubicBezTo>
                <a:cubicBezTo>
                  <a:pt x="367" y="1238"/>
                  <a:pt x="400" y="1269"/>
                  <a:pt x="400" y="1269"/>
                </a:cubicBezTo>
                <a:lnTo>
                  <a:pt x="416" y="1277"/>
                </a:lnTo>
                <a:lnTo>
                  <a:pt x="416" y="1317"/>
                </a:lnTo>
                <a:cubicBezTo>
                  <a:pt x="416" y="1317"/>
                  <a:pt x="449" y="1325"/>
                  <a:pt x="473" y="1325"/>
                </a:cubicBezTo>
                <a:cubicBezTo>
                  <a:pt x="498" y="1325"/>
                  <a:pt x="555" y="1317"/>
                  <a:pt x="555" y="1317"/>
                </a:cubicBezTo>
                <a:lnTo>
                  <a:pt x="571" y="1349"/>
                </a:lnTo>
                <a:cubicBezTo>
                  <a:pt x="587" y="1349"/>
                  <a:pt x="661" y="1372"/>
                  <a:pt x="661" y="1372"/>
                </a:cubicBezTo>
                <a:lnTo>
                  <a:pt x="636" y="1404"/>
                </a:lnTo>
                <a:lnTo>
                  <a:pt x="612" y="1428"/>
                </a:lnTo>
                <a:lnTo>
                  <a:pt x="604" y="1452"/>
                </a:lnTo>
                <a:cubicBezTo>
                  <a:pt x="604" y="1452"/>
                  <a:pt x="612" y="1452"/>
                  <a:pt x="644" y="1460"/>
                </a:cubicBezTo>
                <a:cubicBezTo>
                  <a:pt x="677" y="1468"/>
                  <a:pt x="701" y="1484"/>
                  <a:pt x="701" y="1484"/>
                </a:cubicBezTo>
                <a:lnTo>
                  <a:pt x="685" y="1523"/>
                </a:lnTo>
                <a:lnTo>
                  <a:pt x="726" y="1555"/>
                </a:lnTo>
                <a:cubicBezTo>
                  <a:pt x="726" y="1555"/>
                  <a:pt x="742" y="1579"/>
                  <a:pt x="742" y="1587"/>
                </a:cubicBezTo>
                <a:cubicBezTo>
                  <a:pt x="734" y="1595"/>
                  <a:pt x="734" y="1611"/>
                  <a:pt x="734" y="1611"/>
                </a:cubicBezTo>
                <a:lnTo>
                  <a:pt x="709" y="1603"/>
                </a:lnTo>
                <a:cubicBezTo>
                  <a:pt x="709" y="1603"/>
                  <a:pt x="709" y="1618"/>
                  <a:pt x="701" y="1603"/>
                </a:cubicBezTo>
                <a:cubicBezTo>
                  <a:pt x="685" y="1587"/>
                  <a:pt x="677" y="1571"/>
                  <a:pt x="677" y="1571"/>
                </a:cubicBezTo>
                <a:lnTo>
                  <a:pt x="669" y="1603"/>
                </a:lnTo>
                <a:cubicBezTo>
                  <a:pt x="669" y="1603"/>
                  <a:pt x="677" y="1634"/>
                  <a:pt x="685" y="1642"/>
                </a:cubicBezTo>
                <a:cubicBezTo>
                  <a:pt x="701" y="1642"/>
                  <a:pt x="701" y="1634"/>
                  <a:pt x="701" y="1658"/>
                </a:cubicBezTo>
                <a:cubicBezTo>
                  <a:pt x="701" y="1674"/>
                  <a:pt x="709" y="1714"/>
                  <a:pt x="718" y="1722"/>
                </a:cubicBezTo>
                <a:cubicBezTo>
                  <a:pt x="726" y="1738"/>
                  <a:pt x="726" y="1777"/>
                  <a:pt x="734" y="1785"/>
                </a:cubicBezTo>
                <a:cubicBezTo>
                  <a:pt x="750" y="1785"/>
                  <a:pt x="758" y="1793"/>
                  <a:pt x="758" y="1793"/>
                </a:cubicBezTo>
                <a:lnTo>
                  <a:pt x="775" y="1809"/>
                </a:lnTo>
                <a:lnTo>
                  <a:pt x="824" y="1849"/>
                </a:lnTo>
                <a:cubicBezTo>
                  <a:pt x="824" y="1849"/>
                  <a:pt x="856" y="1872"/>
                  <a:pt x="872" y="1880"/>
                </a:cubicBezTo>
                <a:cubicBezTo>
                  <a:pt x="889" y="1888"/>
                  <a:pt x="897" y="1888"/>
                  <a:pt x="897" y="1888"/>
                </a:cubicBezTo>
                <a:lnTo>
                  <a:pt x="938" y="1928"/>
                </a:lnTo>
                <a:cubicBezTo>
                  <a:pt x="938" y="1928"/>
                  <a:pt x="962" y="1968"/>
                  <a:pt x="954" y="1968"/>
                </a:cubicBezTo>
                <a:cubicBezTo>
                  <a:pt x="946" y="1968"/>
                  <a:pt x="954" y="1976"/>
                  <a:pt x="938" y="1976"/>
                </a:cubicBezTo>
                <a:cubicBezTo>
                  <a:pt x="913" y="1976"/>
                  <a:pt x="921" y="1992"/>
                  <a:pt x="905" y="1976"/>
                </a:cubicBezTo>
                <a:cubicBezTo>
                  <a:pt x="881" y="1960"/>
                  <a:pt x="864" y="1936"/>
                  <a:pt x="840" y="1936"/>
                </a:cubicBezTo>
                <a:lnTo>
                  <a:pt x="815" y="1936"/>
                </a:lnTo>
                <a:lnTo>
                  <a:pt x="864" y="1976"/>
                </a:lnTo>
                <a:lnTo>
                  <a:pt x="889" y="1984"/>
                </a:lnTo>
                <a:lnTo>
                  <a:pt x="921" y="2015"/>
                </a:lnTo>
                <a:lnTo>
                  <a:pt x="930" y="2015"/>
                </a:lnTo>
                <a:cubicBezTo>
                  <a:pt x="930" y="2015"/>
                  <a:pt x="938" y="2031"/>
                  <a:pt x="938" y="2039"/>
                </a:cubicBezTo>
                <a:cubicBezTo>
                  <a:pt x="938" y="2047"/>
                  <a:pt x="930" y="2071"/>
                  <a:pt x="921" y="2079"/>
                </a:cubicBezTo>
                <a:lnTo>
                  <a:pt x="921" y="2111"/>
                </a:lnTo>
                <a:lnTo>
                  <a:pt x="897" y="2055"/>
                </a:lnTo>
                <a:cubicBezTo>
                  <a:pt x="897" y="2055"/>
                  <a:pt x="905" y="2039"/>
                  <a:pt x="889" y="2031"/>
                </a:cubicBezTo>
                <a:cubicBezTo>
                  <a:pt x="873" y="2031"/>
                  <a:pt x="856" y="2039"/>
                  <a:pt x="856" y="2039"/>
                </a:cubicBezTo>
                <a:cubicBezTo>
                  <a:pt x="856" y="2039"/>
                  <a:pt x="848" y="2055"/>
                  <a:pt x="856" y="2063"/>
                </a:cubicBezTo>
                <a:cubicBezTo>
                  <a:pt x="873" y="2071"/>
                  <a:pt x="881" y="2079"/>
                  <a:pt x="881" y="2087"/>
                </a:cubicBezTo>
                <a:cubicBezTo>
                  <a:pt x="889" y="2095"/>
                  <a:pt x="889" y="2103"/>
                  <a:pt x="889" y="2103"/>
                </a:cubicBezTo>
                <a:cubicBezTo>
                  <a:pt x="889" y="2103"/>
                  <a:pt x="905" y="2103"/>
                  <a:pt x="905" y="2118"/>
                </a:cubicBezTo>
                <a:cubicBezTo>
                  <a:pt x="905" y="2142"/>
                  <a:pt x="897" y="2166"/>
                  <a:pt x="897" y="2166"/>
                </a:cubicBezTo>
                <a:cubicBezTo>
                  <a:pt x="897" y="2166"/>
                  <a:pt x="881" y="2166"/>
                  <a:pt x="905" y="2182"/>
                </a:cubicBezTo>
                <a:cubicBezTo>
                  <a:pt x="930" y="2198"/>
                  <a:pt x="938" y="2206"/>
                  <a:pt x="946" y="2214"/>
                </a:cubicBezTo>
                <a:cubicBezTo>
                  <a:pt x="954" y="2222"/>
                  <a:pt x="987" y="2261"/>
                  <a:pt x="987" y="2261"/>
                </a:cubicBezTo>
                <a:lnTo>
                  <a:pt x="1011" y="2293"/>
                </a:lnTo>
                <a:lnTo>
                  <a:pt x="1011" y="2309"/>
                </a:lnTo>
                <a:lnTo>
                  <a:pt x="987" y="2309"/>
                </a:lnTo>
                <a:cubicBezTo>
                  <a:pt x="987" y="2309"/>
                  <a:pt x="978" y="2309"/>
                  <a:pt x="970" y="2301"/>
                </a:cubicBezTo>
                <a:cubicBezTo>
                  <a:pt x="962" y="2285"/>
                  <a:pt x="946" y="2261"/>
                  <a:pt x="946" y="2261"/>
                </a:cubicBezTo>
                <a:lnTo>
                  <a:pt x="930" y="2253"/>
                </a:lnTo>
                <a:lnTo>
                  <a:pt x="913" y="2261"/>
                </a:lnTo>
                <a:lnTo>
                  <a:pt x="897" y="2293"/>
                </a:lnTo>
                <a:cubicBezTo>
                  <a:pt x="897" y="2301"/>
                  <a:pt x="872" y="2349"/>
                  <a:pt x="872" y="2349"/>
                </a:cubicBezTo>
                <a:lnTo>
                  <a:pt x="856" y="2444"/>
                </a:lnTo>
                <a:cubicBezTo>
                  <a:pt x="856" y="2444"/>
                  <a:pt x="856" y="2555"/>
                  <a:pt x="848" y="2563"/>
                </a:cubicBezTo>
                <a:cubicBezTo>
                  <a:pt x="848" y="2571"/>
                  <a:pt x="815" y="2650"/>
                  <a:pt x="815" y="2650"/>
                </a:cubicBezTo>
                <a:lnTo>
                  <a:pt x="815" y="2682"/>
                </a:lnTo>
                <a:cubicBezTo>
                  <a:pt x="807" y="2706"/>
                  <a:pt x="799" y="2745"/>
                  <a:pt x="799" y="2745"/>
                </a:cubicBezTo>
                <a:cubicBezTo>
                  <a:pt x="799" y="2745"/>
                  <a:pt x="791" y="2777"/>
                  <a:pt x="791" y="2793"/>
                </a:cubicBezTo>
                <a:cubicBezTo>
                  <a:pt x="783" y="2809"/>
                  <a:pt x="758" y="2872"/>
                  <a:pt x="758" y="2872"/>
                </a:cubicBezTo>
                <a:lnTo>
                  <a:pt x="750" y="2944"/>
                </a:lnTo>
                <a:lnTo>
                  <a:pt x="685" y="3079"/>
                </a:lnTo>
                <a:lnTo>
                  <a:pt x="636" y="3118"/>
                </a:lnTo>
                <a:lnTo>
                  <a:pt x="612" y="3134"/>
                </a:lnTo>
                <a:cubicBezTo>
                  <a:pt x="636" y="3142"/>
                  <a:pt x="652" y="3150"/>
                  <a:pt x="661" y="3174"/>
                </a:cubicBezTo>
                <a:cubicBezTo>
                  <a:pt x="677" y="3214"/>
                  <a:pt x="709" y="3277"/>
                  <a:pt x="709" y="3277"/>
                </a:cubicBezTo>
                <a:lnTo>
                  <a:pt x="815" y="3317"/>
                </a:lnTo>
                <a:cubicBezTo>
                  <a:pt x="815" y="3317"/>
                  <a:pt x="872" y="3364"/>
                  <a:pt x="881" y="3380"/>
                </a:cubicBezTo>
                <a:cubicBezTo>
                  <a:pt x="889" y="3388"/>
                  <a:pt x="1011" y="3428"/>
                  <a:pt x="1011" y="3428"/>
                </a:cubicBezTo>
                <a:lnTo>
                  <a:pt x="1093" y="3499"/>
                </a:lnTo>
                <a:lnTo>
                  <a:pt x="1215" y="3499"/>
                </a:lnTo>
                <a:lnTo>
                  <a:pt x="1296" y="3515"/>
                </a:lnTo>
                <a:lnTo>
                  <a:pt x="1337" y="3468"/>
                </a:lnTo>
                <a:cubicBezTo>
                  <a:pt x="1337" y="3468"/>
                  <a:pt x="1541" y="3563"/>
                  <a:pt x="1549" y="3563"/>
                </a:cubicBezTo>
                <a:cubicBezTo>
                  <a:pt x="1557" y="3563"/>
                  <a:pt x="1557" y="3587"/>
                  <a:pt x="1565" y="3610"/>
                </a:cubicBezTo>
                <a:lnTo>
                  <a:pt x="1573" y="3610"/>
                </a:lnTo>
                <a:lnTo>
                  <a:pt x="1565" y="3602"/>
                </a:lnTo>
                <a:lnTo>
                  <a:pt x="1565" y="3595"/>
                </a:lnTo>
                <a:lnTo>
                  <a:pt x="1582" y="3595"/>
                </a:lnTo>
                <a:lnTo>
                  <a:pt x="1590" y="3587"/>
                </a:lnTo>
                <a:cubicBezTo>
                  <a:pt x="1590" y="3579"/>
                  <a:pt x="1582" y="3579"/>
                  <a:pt x="1582" y="3579"/>
                </a:cubicBezTo>
                <a:cubicBezTo>
                  <a:pt x="1582" y="3579"/>
                  <a:pt x="1590" y="3579"/>
                  <a:pt x="1590" y="3571"/>
                </a:cubicBezTo>
                <a:lnTo>
                  <a:pt x="1622" y="3571"/>
                </a:lnTo>
                <a:lnTo>
                  <a:pt x="1622" y="3579"/>
                </a:lnTo>
                <a:lnTo>
                  <a:pt x="1630" y="3579"/>
                </a:lnTo>
                <a:lnTo>
                  <a:pt x="1630" y="3587"/>
                </a:lnTo>
                <a:lnTo>
                  <a:pt x="1647" y="3587"/>
                </a:lnTo>
                <a:lnTo>
                  <a:pt x="1647" y="3595"/>
                </a:lnTo>
                <a:lnTo>
                  <a:pt x="1655" y="3595"/>
                </a:lnTo>
                <a:cubicBezTo>
                  <a:pt x="1655" y="3587"/>
                  <a:pt x="1663" y="3587"/>
                  <a:pt x="1663" y="3587"/>
                </a:cubicBezTo>
                <a:lnTo>
                  <a:pt x="1663" y="3595"/>
                </a:lnTo>
                <a:lnTo>
                  <a:pt x="1679" y="3595"/>
                </a:lnTo>
                <a:lnTo>
                  <a:pt x="1679" y="3602"/>
                </a:lnTo>
                <a:lnTo>
                  <a:pt x="1671" y="3602"/>
                </a:lnTo>
                <a:lnTo>
                  <a:pt x="1671" y="3610"/>
                </a:lnTo>
                <a:lnTo>
                  <a:pt x="1679" y="3610"/>
                </a:lnTo>
                <a:lnTo>
                  <a:pt x="1696" y="3618"/>
                </a:lnTo>
                <a:lnTo>
                  <a:pt x="1687" y="3618"/>
                </a:lnTo>
                <a:lnTo>
                  <a:pt x="1679" y="3618"/>
                </a:lnTo>
                <a:lnTo>
                  <a:pt x="1671" y="3618"/>
                </a:lnTo>
                <a:lnTo>
                  <a:pt x="1671" y="3626"/>
                </a:lnTo>
                <a:lnTo>
                  <a:pt x="1671" y="3642"/>
                </a:lnTo>
                <a:lnTo>
                  <a:pt x="1663" y="3642"/>
                </a:lnTo>
                <a:lnTo>
                  <a:pt x="1663" y="3650"/>
                </a:lnTo>
                <a:lnTo>
                  <a:pt x="1655" y="3650"/>
                </a:lnTo>
                <a:lnTo>
                  <a:pt x="1647" y="3642"/>
                </a:lnTo>
                <a:lnTo>
                  <a:pt x="1647" y="3650"/>
                </a:lnTo>
                <a:lnTo>
                  <a:pt x="1647" y="3658"/>
                </a:lnTo>
                <a:lnTo>
                  <a:pt x="1639" y="3658"/>
                </a:lnTo>
                <a:lnTo>
                  <a:pt x="1630" y="3658"/>
                </a:lnTo>
                <a:lnTo>
                  <a:pt x="1622" y="3658"/>
                </a:lnTo>
                <a:lnTo>
                  <a:pt x="1614" y="3666"/>
                </a:lnTo>
                <a:lnTo>
                  <a:pt x="1606" y="3658"/>
                </a:lnTo>
                <a:lnTo>
                  <a:pt x="1606" y="3666"/>
                </a:lnTo>
                <a:lnTo>
                  <a:pt x="1712" y="3690"/>
                </a:lnTo>
                <a:cubicBezTo>
                  <a:pt x="1736" y="3698"/>
                  <a:pt x="1736" y="3714"/>
                  <a:pt x="1761" y="3729"/>
                </a:cubicBezTo>
                <a:lnTo>
                  <a:pt x="1826" y="3706"/>
                </a:lnTo>
                <a:lnTo>
                  <a:pt x="1908" y="3761"/>
                </a:lnTo>
                <a:lnTo>
                  <a:pt x="1981" y="3737"/>
                </a:lnTo>
                <a:lnTo>
                  <a:pt x="2054" y="3737"/>
                </a:lnTo>
                <a:cubicBezTo>
                  <a:pt x="2054" y="3729"/>
                  <a:pt x="2087" y="3729"/>
                  <a:pt x="2111" y="3737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20" name="Freeform 112">
            <a:extLst>
              <a:ext uri="{FF2B5EF4-FFF2-40B4-BE49-F238E27FC236}">
                <a16:creationId xmlns:a16="http://schemas.microsoft.com/office/drawing/2014/main" id="{C2B3899F-B89C-A9D7-ED7A-3C7FAC7BFDAE}"/>
              </a:ext>
            </a:extLst>
          </p:cNvPr>
          <p:cNvSpPr>
            <a:spLocks noChangeArrowheads="1"/>
          </p:cNvSpPr>
          <p:nvPr>
            <p:custDataLst>
              <p:tags r:id="rId112"/>
            </p:custDataLst>
          </p:nvPr>
        </p:nvSpPr>
        <p:spPr bwMode="auto">
          <a:xfrm>
            <a:off x="4104244" y="1329433"/>
            <a:ext cx="800558" cy="644793"/>
          </a:xfrm>
          <a:custGeom>
            <a:avLst/>
            <a:gdLst>
              <a:gd name="T0" fmla="*/ 376 w 1947"/>
              <a:gd name="T1" fmla="*/ 618 h 1570"/>
              <a:gd name="T2" fmla="*/ 245 w 1947"/>
              <a:gd name="T3" fmla="*/ 578 h 1570"/>
              <a:gd name="T4" fmla="*/ 81 w 1947"/>
              <a:gd name="T5" fmla="*/ 555 h 1570"/>
              <a:gd name="T6" fmla="*/ 106 w 1947"/>
              <a:gd name="T7" fmla="*/ 602 h 1570"/>
              <a:gd name="T8" fmla="*/ 278 w 1947"/>
              <a:gd name="T9" fmla="*/ 721 h 1570"/>
              <a:gd name="T10" fmla="*/ 286 w 1947"/>
              <a:gd name="T11" fmla="*/ 848 h 1570"/>
              <a:gd name="T12" fmla="*/ 278 w 1947"/>
              <a:gd name="T13" fmla="*/ 896 h 1570"/>
              <a:gd name="T14" fmla="*/ 204 w 1947"/>
              <a:gd name="T15" fmla="*/ 1007 h 1570"/>
              <a:gd name="T16" fmla="*/ 73 w 1947"/>
              <a:gd name="T17" fmla="*/ 983 h 1570"/>
              <a:gd name="T18" fmla="*/ 163 w 1947"/>
              <a:gd name="T19" fmla="*/ 1094 h 1570"/>
              <a:gd name="T20" fmla="*/ 392 w 1947"/>
              <a:gd name="T21" fmla="*/ 1284 h 1570"/>
              <a:gd name="T22" fmla="*/ 695 w 1947"/>
              <a:gd name="T23" fmla="*/ 1546 h 1570"/>
              <a:gd name="T24" fmla="*/ 1071 w 1947"/>
              <a:gd name="T25" fmla="*/ 1498 h 1570"/>
              <a:gd name="T26" fmla="*/ 1341 w 1947"/>
              <a:gd name="T27" fmla="*/ 1435 h 1570"/>
              <a:gd name="T28" fmla="*/ 1586 w 1947"/>
              <a:gd name="T29" fmla="*/ 1411 h 1570"/>
              <a:gd name="T30" fmla="*/ 1733 w 1947"/>
              <a:gd name="T31" fmla="*/ 1308 h 1570"/>
              <a:gd name="T32" fmla="*/ 1848 w 1947"/>
              <a:gd name="T33" fmla="*/ 1244 h 1570"/>
              <a:gd name="T34" fmla="*/ 1897 w 1947"/>
              <a:gd name="T35" fmla="*/ 1141 h 1570"/>
              <a:gd name="T36" fmla="*/ 1946 w 1947"/>
              <a:gd name="T37" fmla="*/ 1007 h 1570"/>
              <a:gd name="T38" fmla="*/ 1856 w 1947"/>
              <a:gd name="T39" fmla="*/ 840 h 1570"/>
              <a:gd name="T40" fmla="*/ 1815 w 1947"/>
              <a:gd name="T41" fmla="*/ 721 h 1570"/>
              <a:gd name="T42" fmla="*/ 1872 w 1947"/>
              <a:gd name="T43" fmla="*/ 586 h 1570"/>
              <a:gd name="T44" fmla="*/ 1684 w 1947"/>
              <a:gd name="T45" fmla="*/ 594 h 1570"/>
              <a:gd name="T46" fmla="*/ 1652 w 1947"/>
              <a:gd name="T47" fmla="*/ 460 h 1570"/>
              <a:gd name="T48" fmla="*/ 1537 w 1947"/>
              <a:gd name="T49" fmla="*/ 571 h 1570"/>
              <a:gd name="T50" fmla="*/ 1398 w 1947"/>
              <a:gd name="T51" fmla="*/ 547 h 1570"/>
              <a:gd name="T52" fmla="*/ 1251 w 1947"/>
              <a:gd name="T53" fmla="*/ 460 h 1570"/>
              <a:gd name="T54" fmla="*/ 1202 w 1947"/>
              <a:gd name="T55" fmla="*/ 602 h 1570"/>
              <a:gd name="T56" fmla="*/ 1161 w 1947"/>
              <a:gd name="T57" fmla="*/ 420 h 1570"/>
              <a:gd name="T58" fmla="*/ 1014 w 1947"/>
              <a:gd name="T59" fmla="*/ 428 h 1570"/>
              <a:gd name="T60" fmla="*/ 948 w 1947"/>
              <a:gd name="T61" fmla="*/ 539 h 1570"/>
              <a:gd name="T62" fmla="*/ 866 w 1947"/>
              <a:gd name="T63" fmla="*/ 356 h 1570"/>
              <a:gd name="T64" fmla="*/ 752 w 1947"/>
              <a:gd name="T65" fmla="*/ 563 h 1570"/>
              <a:gd name="T66" fmla="*/ 646 w 1947"/>
              <a:gd name="T67" fmla="*/ 555 h 1570"/>
              <a:gd name="T68" fmla="*/ 605 w 1947"/>
              <a:gd name="T69" fmla="*/ 563 h 1570"/>
              <a:gd name="T70" fmla="*/ 621 w 1947"/>
              <a:gd name="T71" fmla="*/ 444 h 1570"/>
              <a:gd name="T72" fmla="*/ 646 w 1947"/>
              <a:gd name="T73" fmla="*/ 388 h 1570"/>
              <a:gd name="T74" fmla="*/ 703 w 1947"/>
              <a:gd name="T75" fmla="*/ 301 h 1570"/>
              <a:gd name="T76" fmla="*/ 654 w 1947"/>
              <a:gd name="T77" fmla="*/ 182 h 1570"/>
              <a:gd name="T78" fmla="*/ 588 w 1947"/>
              <a:gd name="T79" fmla="*/ 24 h 1570"/>
              <a:gd name="T80" fmla="*/ 498 w 1947"/>
              <a:gd name="T81" fmla="*/ 24 h 1570"/>
              <a:gd name="T82" fmla="*/ 523 w 1947"/>
              <a:gd name="T83" fmla="*/ 71 h 1570"/>
              <a:gd name="T84" fmla="*/ 531 w 1947"/>
              <a:gd name="T85" fmla="*/ 111 h 1570"/>
              <a:gd name="T86" fmla="*/ 523 w 1947"/>
              <a:gd name="T87" fmla="*/ 190 h 1570"/>
              <a:gd name="T88" fmla="*/ 482 w 1947"/>
              <a:gd name="T89" fmla="*/ 230 h 1570"/>
              <a:gd name="T90" fmla="*/ 441 w 1947"/>
              <a:gd name="T91" fmla="*/ 214 h 1570"/>
              <a:gd name="T92" fmla="*/ 433 w 1947"/>
              <a:gd name="T93" fmla="*/ 119 h 1570"/>
              <a:gd name="T94" fmla="*/ 335 w 1947"/>
              <a:gd name="T95" fmla="*/ 79 h 1570"/>
              <a:gd name="T96" fmla="*/ 310 w 1947"/>
              <a:gd name="T97" fmla="*/ 158 h 1570"/>
              <a:gd name="T98" fmla="*/ 278 w 1947"/>
              <a:gd name="T99" fmla="*/ 222 h 1570"/>
              <a:gd name="T100" fmla="*/ 245 w 1947"/>
              <a:gd name="T101" fmla="*/ 222 h 1570"/>
              <a:gd name="T102" fmla="*/ 196 w 1947"/>
              <a:gd name="T103" fmla="*/ 238 h 1570"/>
              <a:gd name="T104" fmla="*/ 163 w 1947"/>
              <a:gd name="T105" fmla="*/ 277 h 1570"/>
              <a:gd name="T106" fmla="*/ 90 w 1947"/>
              <a:gd name="T107" fmla="*/ 261 h 1570"/>
              <a:gd name="T108" fmla="*/ 204 w 1947"/>
              <a:gd name="T109" fmla="*/ 341 h 1570"/>
              <a:gd name="T110" fmla="*/ 310 w 1947"/>
              <a:gd name="T111" fmla="*/ 349 h 1570"/>
              <a:gd name="T112" fmla="*/ 400 w 1947"/>
              <a:gd name="T113" fmla="*/ 388 h 1570"/>
              <a:gd name="T114" fmla="*/ 433 w 1947"/>
              <a:gd name="T115" fmla="*/ 444 h 1570"/>
              <a:gd name="T116" fmla="*/ 499 w 1947"/>
              <a:gd name="T117" fmla="*/ 499 h 1570"/>
              <a:gd name="T118" fmla="*/ 319 w 1947"/>
              <a:gd name="T119" fmla="*/ 539 h 1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947" h="1570">
                <a:moveTo>
                  <a:pt x="392" y="586"/>
                </a:moveTo>
                <a:lnTo>
                  <a:pt x="425" y="610"/>
                </a:lnTo>
                <a:lnTo>
                  <a:pt x="449" y="594"/>
                </a:lnTo>
                <a:lnTo>
                  <a:pt x="466" y="578"/>
                </a:lnTo>
                <a:lnTo>
                  <a:pt x="482" y="594"/>
                </a:lnTo>
                <a:lnTo>
                  <a:pt x="458" y="618"/>
                </a:lnTo>
                <a:lnTo>
                  <a:pt x="441" y="634"/>
                </a:lnTo>
                <a:lnTo>
                  <a:pt x="441" y="658"/>
                </a:lnTo>
                <a:lnTo>
                  <a:pt x="409" y="650"/>
                </a:lnTo>
                <a:lnTo>
                  <a:pt x="376" y="618"/>
                </a:lnTo>
                <a:lnTo>
                  <a:pt x="359" y="610"/>
                </a:lnTo>
                <a:lnTo>
                  <a:pt x="343" y="602"/>
                </a:lnTo>
                <a:lnTo>
                  <a:pt x="335" y="578"/>
                </a:lnTo>
                <a:lnTo>
                  <a:pt x="327" y="586"/>
                </a:lnTo>
                <a:lnTo>
                  <a:pt x="294" y="594"/>
                </a:lnTo>
                <a:lnTo>
                  <a:pt x="286" y="602"/>
                </a:lnTo>
                <a:lnTo>
                  <a:pt x="278" y="586"/>
                </a:lnTo>
                <a:lnTo>
                  <a:pt x="286" y="571"/>
                </a:lnTo>
                <a:lnTo>
                  <a:pt x="261" y="571"/>
                </a:lnTo>
                <a:cubicBezTo>
                  <a:pt x="261" y="571"/>
                  <a:pt x="253" y="578"/>
                  <a:pt x="245" y="578"/>
                </a:cubicBezTo>
                <a:lnTo>
                  <a:pt x="229" y="578"/>
                </a:lnTo>
                <a:cubicBezTo>
                  <a:pt x="220" y="571"/>
                  <a:pt x="212" y="563"/>
                  <a:pt x="204" y="563"/>
                </a:cubicBezTo>
                <a:cubicBezTo>
                  <a:pt x="196" y="555"/>
                  <a:pt x="188" y="547"/>
                  <a:pt x="188" y="547"/>
                </a:cubicBezTo>
                <a:lnTo>
                  <a:pt x="171" y="555"/>
                </a:lnTo>
                <a:lnTo>
                  <a:pt x="155" y="571"/>
                </a:lnTo>
                <a:lnTo>
                  <a:pt x="155" y="563"/>
                </a:lnTo>
                <a:lnTo>
                  <a:pt x="139" y="555"/>
                </a:lnTo>
                <a:lnTo>
                  <a:pt x="106" y="555"/>
                </a:lnTo>
                <a:lnTo>
                  <a:pt x="98" y="555"/>
                </a:lnTo>
                <a:lnTo>
                  <a:pt x="81" y="555"/>
                </a:lnTo>
                <a:lnTo>
                  <a:pt x="73" y="547"/>
                </a:lnTo>
                <a:lnTo>
                  <a:pt x="49" y="539"/>
                </a:lnTo>
                <a:lnTo>
                  <a:pt x="24" y="531"/>
                </a:lnTo>
                <a:cubicBezTo>
                  <a:pt x="24" y="531"/>
                  <a:pt x="16" y="531"/>
                  <a:pt x="16" y="539"/>
                </a:cubicBezTo>
                <a:cubicBezTo>
                  <a:pt x="16" y="555"/>
                  <a:pt x="0" y="563"/>
                  <a:pt x="0" y="571"/>
                </a:cubicBezTo>
                <a:cubicBezTo>
                  <a:pt x="8" y="578"/>
                  <a:pt x="16" y="578"/>
                  <a:pt x="24" y="594"/>
                </a:cubicBezTo>
                <a:lnTo>
                  <a:pt x="41" y="602"/>
                </a:lnTo>
                <a:lnTo>
                  <a:pt x="65" y="602"/>
                </a:lnTo>
                <a:lnTo>
                  <a:pt x="73" y="594"/>
                </a:lnTo>
                <a:lnTo>
                  <a:pt x="106" y="602"/>
                </a:lnTo>
                <a:cubicBezTo>
                  <a:pt x="114" y="618"/>
                  <a:pt x="122" y="634"/>
                  <a:pt x="130" y="626"/>
                </a:cubicBezTo>
                <a:lnTo>
                  <a:pt x="139" y="618"/>
                </a:lnTo>
                <a:lnTo>
                  <a:pt x="155" y="626"/>
                </a:lnTo>
                <a:cubicBezTo>
                  <a:pt x="155" y="626"/>
                  <a:pt x="163" y="658"/>
                  <a:pt x="180" y="658"/>
                </a:cubicBezTo>
                <a:cubicBezTo>
                  <a:pt x="188" y="666"/>
                  <a:pt x="196" y="666"/>
                  <a:pt x="196" y="666"/>
                </a:cubicBezTo>
                <a:lnTo>
                  <a:pt x="229" y="681"/>
                </a:lnTo>
                <a:lnTo>
                  <a:pt x="245" y="681"/>
                </a:lnTo>
                <a:cubicBezTo>
                  <a:pt x="245" y="681"/>
                  <a:pt x="269" y="674"/>
                  <a:pt x="269" y="681"/>
                </a:cubicBezTo>
                <a:cubicBezTo>
                  <a:pt x="269" y="689"/>
                  <a:pt x="286" y="697"/>
                  <a:pt x="278" y="705"/>
                </a:cubicBezTo>
                <a:lnTo>
                  <a:pt x="278" y="721"/>
                </a:lnTo>
                <a:lnTo>
                  <a:pt x="278" y="737"/>
                </a:lnTo>
                <a:lnTo>
                  <a:pt x="253" y="761"/>
                </a:lnTo>
                <a:lnTo>
                  <a:pt x="253" y="777"/>
                </a:lnTo>
                <a:cubicBezTo>
                  <a:pt x="253" y="777"/>
                  <a:pt x="253" y="793"/>
                  <a:pt x="245" y="793"/>
                </a:cubicBezTo>
                <a:cubicBezTo>
                  <a:pt x="245" y="800"/>
                  <a:pt x="237" y="824"/>
                  <a:pt x="237" y="824"/>
                </a:cubicBezTo>
                <a:lnTo>
                  <a:pt x="261" y="808"/>
                </a:lnTo>
                <a:cubicBezTo>
                  <a:pt x="261" y="808"/>
                  <a:pt x="269" y="808"/>
                  <a:pt x="269" y="816"/>
                </a:cubicBezTo>
                <a:cubicBezTo>
                  <a:pt x="261" y="832"/>
                  <a:pt x="253" y="840"/>
                  <a:pt x="253" y="840"/>
                </a:cubicBezTo>
                <a:cubicBezTo>
                  <a:pt x="253" y="840"/>
                  <a:pt x="261" y="864"/>
                  <a:pt x="269" y="856"/>
                </a:cubicBezTo>
                <a:lnTo>
                  <a:pt x="286" y="848"/>
                </a:lnTo>
                <a:lnTo>
                  <a:pt x="302" y="840"/>
                </a:lnTo>
                <a:lnTo>
                  <a:pt x="327" y="832"/>
                </a:lnTo>
                <a:lnTo>
                  <a:pt x="335" y="824"/>
                </a:lnTo>
                <a:lnTo>
                  <a:pt x="376" y="824"/>
                </a:lnTo>
                <a:cubicBezTo>
                  <a:pt x="376" y="824"/>
                  <a:pt x="384" y="848"/>
                  <a:pt x="376" y="848"/>
                </a:cubicBezTo>
                <a:cubicBezTo>
                  <a:pt x="368" y="848"/>
                  <a:pt x="335" y="840"/>
                  <a:pt x="335" y="840"/>
                </a:cubicBezTo>
                <a:lnTo>
                  <a:pt x="319" y="848"/>
                </a:lnTo>
                <a:lnTo>
                  <a:pt x="302" y="856"/>
                </a:lnTo>
                <a:lnTo>
                  <a:pt x="286" y="872"/>
                </a:lnTo>
                <a:cubicBezTo>
                  <a:pt x="286" y="872"/>
                  <a:pt x="269" y="896"/>
                  <a:pt x="278" y="896"/>
                </a:cubicBezTo>
                <a:cubicBezTo>
                  <a:pt x="286" y="903"/>
                  <a:pt x="261" y="911"/>
                  <a:pt x="261" y="911"/>
                </a:cubicBezTo>
                <a:lnTo>
                  <a:pt x="253" y="911"/>
                </a:lnTo>
                <a:lnTo>
                  <a:pt x="253" y="919"/>
                </a:lnTo>
                <a:lnTo>
                  <a:pt x="261" y="927"/>
                </a:lnTo>
                <a:lnTo>
                  <a:pt x="294" y="927"/>
                </a:lnTo>
                <a:cubicBezTo>
                  <a:pt x="294" y="927"/>
                  <a:pt x="310" y="919"/>
                  <a:pt x="302" y="927"/>
                </a:cubicBezTo>
                <a:cubicBezTo>
                  <a:pt x="302" y="935"/>
                  <a:pt x="294" y="959"/>
                  <a:pt x="294" y="959"/>
                </a:cubicBezTo>
                <a:cubicBezTo>
                  <a:pt x="294" y="959"/>
                  <a:pt x="286" y="967"/>
                  <a:pt x="261" y="967"/>
                </a:cubicBezTo>
                <a:cubicBezTo>
                  <a:pt x="245" y="975"/>
                  <a:pt x="220" y="983"/>
                  <a:pt x="220" y="983"/>
                </a:cubicBezTo>
                <a:lnTo>
                  <a:pt x="204" y="1007"/>
                </a:lnTo>
                <a:cubicBezTo>
                  <a:pt x="204" y="1007"/>
                  <a:pt x="212" y="1014"/>
                  <a:pt x="188" y="1014"/>
                </a:cubicBezTo>
                <a:lnTo>
                  <a:pt x="155" y="1014"/>
                </a:lnTo>
                <a:lnTo>
                  <a:pt x="139" y="1014"/>
                </a:lnTo>
                <a:lnTo>
                  <a:pt x="122" y="1022"/>
                </a:lnTo>
                <a:cubicBezTo>
                  <a:pt x="114" y="1014"/>
                  <a:pt x="106" y="1007"/>
                  <a:pt x="106" y="1007"/>
                </a:cubicBezTo>
                <a:lnTo>
                  <a:pt x="114" y="975"/>
                </a:lnTo>
                <a:lnTo>
                  <a:pt x="106" y="967"/>
                </a:lnTo>
                <a:lnTo>
                  <a:pt x="106" y="943"/>
                </a:lnTo>
                <a:cubicBezTo>
                  <a:pt x="106" y="943"/>
                  <a:pt x="81" y="959"/>
                  <a:pt x="81" y="967"/>
                </a:cubicBezTo>
                <a:cubicBezTo>
                  <a:pt x="73" y="967"/>
                  <a:pt x="73" y="983"/>
                  <a:pt x="73" y="983"/>
                </a:cubicBezTo>
                <a:lnTo>
                  <a:pt x="57" y="1007"/>
                </a:lnTo>
                <a:lnTo>
                  <a:pt x="49" y="1007"/>
                </a:lnTo>
                <a:lnTo>
                  <a:pt x="49" y="1038"/>
                </a:lnTo>
                <a:lnTo>
                  <a:pt x="41" y="1054"/>
                </a:lnTo>
                <a:cubicBezTo>
                  <a:pt x="41" y="1054"/>
                  <a:pt x="32" y="1054"/>
                  <a:pt x="41" y="1062"/>
                </a:cubicBezTo>
                <a:cubicBezTo>
                  <a:pt x="49" y="1062"/>
                  <a:pt x="81" y="1078"/>
                  <a:pt x="81" y="1078"/>
                </a:cubicBezTo>
                <a:cubicBezTo>
                  <a:pt x="81" y="1078"/>
                  <a:pt x="90" y="1070"/>
                  <a:pt x="106" y="1086"/>
                </a:cubicBezTo>
                <a:cubicBezTo>
                  <a:pt x="114" y="1094"/>
                  <a:pt x="130" y="1102"/>
                  <a:pt x="130" y="1102"/>
                </a:cubicBezTo>
                <a:lnTo>
                  <a:pt x="139" y="1102"/>
                </a:lnTo>
                <a:lnTo>
                  <a:pt x="163" y="1094"/>
                </a:lnTo>
                <a:lnTo>
                  <a:pt x="180" y="1110"/>
                </a:lnTo>
                <a:lnTo>
                  <a:pt x="220" y="1118"/>
                </a:lnTo>
                <a:cubicBezTo>
                  <a:pt x="220" y="1118"/>
                  <a:pt x="229" y="1133"/>
                  <a:pt x="229" y="1141"/>
                </a:cubicBezTo>
                <a:cubicBezTo>
                  <a:pt x="237" y="1141"/>
                  <a:pt x="253" y="1165"/>
                  <a:pt x="253" y="1165"/>
                </a:cubicBezTo>
                <a:cubicBezTo>
                  <a:pt x="253" y="1165"/>
                  <a:pt x="253" y="1149"/>
                  <a:pt x="269" y="1157"/>
                </a:cubicBezTo>
                <a:lnTo>
                  <a:pt x="302" y="1157"/>
                </a:lnTo>
                <a:cubicBezTo>
                  <a:pt x="302" y="1157"/>
                  <a:pt x="319" y="1157"/>
                  <a:pt x="327" y="1165"/>
                </a:cubicBezTo>
                <a:cubicBezTo>
                  <a:pt x="335" y="1173"/>
                  <a:pt x="359" y="1213"/>
                  <a:pt x="359" y="1213"/>
                </a:cubicBezTo>
                <a:lnTo>
                  <a:pt x="376" y="1252"/>
                </a:lnTo>
                <a:lnTo>
                  <a:pt x="392" y="1284"/>
                </a:lnTo>
                <a:cubicBezTo>
                  <a:pt x="392" y="1284"/>
                  <a:pt x="392" y="1292"/>
                  <a:pt x="408" y="1300"/>
                </a:cubicBezTo>
                <a:cubicBezTo>
                  <a:pt x="425" y="1316"/>
                  <a:pt x="433" y="1332"/>
                  <a:pt x="433" y="1332"/>
                </a:cubicBezTo>
                <a:cubicBezTo>
                  <a:pt x="433" y="1332"/>
                  <a:pt x="433" y="1340"/>
                  <a:pt x="441" y="1347"/>
                </a:cubicBezTo>
                <a:cubicBezTo>
                  <a:pt x="449" y="1363"/>
                  <a:pt x="466" y="1379"/>
                  <a:pt x="466" y="1379"/>
                </a:cubicBezTo>
                <a:cubicBezTo>
                  <a:pt x="466" y="1379"/>
                  <a:pt x="466" y="1387"/>
                  <a:pt x="474" y="1395"/>
                </a:cubicBezTo>
                <a:cubicBezTo>
                  <a:pt x="490" y="1403"/>
                  <a:pt x="507" y="1403"/>
                  <a:pt x="515" y="1411"/>
                </a:cubicBezTo>
                <a:cubicBezTo>
                  <a:pt x="531" y="1427"/>
                  <a:pt x="548" y="1443"/>
                  <a:pt x="548" y="1443"/>
                </a:cubicBezTo>
                <a:cubicBezTo>
                  <a:pt x="548" y="1443"/>
                  <a:pt x="588" y="1482"/>
                  <a:pt x="605" y="1498"/>
                </a:cubicBezTo>
                <a:cubicBezTo>
                  <a:pt x="621" y="1514"/>
                  <a:pt x="637" y="1530"/>
                  <a:pt x="646" y="1530"/>
                </a:cubicBezTo>
                <a:cubicBezTo>
                  <a:pt x="654" y="1538"/>
                  <a:pt x="695" y="1546"/>
                  <a:pt x="695" y="1546"/>
                </a:cubicBezTo>
                <a:cubicBezTo>
                  <a:pt x="695" y="1546"/>
                  <a:pt x="719" y="1569"/>
                  <a:pt x="727" y="1561"/>
                </a:cubicBezTo>
                <a:cubicBezTo>
                  <a:pt x="744" y="1561"/>
                  <a:pt x="711" y="1554"/>
                  <a:pt x="760" y="1554"/>
                </a:cubicBezTo>
                <a:cubicBezTo>
                  <a:pt x="809" y="1554"/>
                  <a:pt x="842" y="1569"/>
                  <a:pt x="842" y="1569"/>
                </a:cubicBezTo>
                <a:lnTo>
                  <a:pt x="875" y="1546"/>
                </a:lnTo>
                <a:cubicBezTo>
                  <a:pt x="875" y="1546"/>
                  <a:pt x="866" y="1561"/>
                  <a:pt x="875" y="1538"/>
                </a:cubicBezTo>
                <a:cubicBezTo>
                  <a:pt x="883" y="1522"/>
                  <a:pt x="891" y="1506"/>
                  <a:pt x="891" y="1506"/>
                </a:cubicBezTo>
                <a:cubicBezTo>
                  <a:pt x="891" y="1506"/>
                  <a:pt x="883" y="1490"/>
                  <a:pt x="907" y="1490"/>
                </a:cubicBezTo>
                <a:cubicBezTo>
                  <a:pt x="924" y="1490"/>
                  <a:pt x="973" y="1482"/>
                  <a:pt x="981" y="1482"/>
                </a:cubicBezTo>
                <a:cubicBezTo>
                  <a:pt x="989" y="1482"/>
                  <a:pt x="989" y="1490"/>
                  <a:pt x="997" y="1482"/>
                </a:cubicBezTo>
                <a:cubicBezTo>
                  <a:pt x="997" y="1474"/>
                  <a:pt x="1071" y="1498"/>
                  <a:pt x="1071" y="1498"/>
                </a:cubicBezTo>
                <a:lnTo>
                  <a:pt x="1079" y="1482"/>
                </a:lnTo>
                <a:lnTo>
                  <a:pt x="1095" y="1474"/>
                </a:lnTo>
                <a:lnTo>
                  <a:pt x="1112" y="1506"/>
                </a:lnTo>
                <a:lnTo>
                  <a:pt x="1145" y="1506"/>
                </a:lnTo>
                <a:cubicBezTo>
                  <a:pt x="1145" y="1506"/>
                  <a:pt x="1169" y="1498"/>
                  <a:pt x="1185" y="1498"/>
                </a:cubicBezTo>
                <a:cubicBezTo>
                  <a:pt x="1194" y="1498"/>
                  <a:pt x="1226" y="1482"/>
                  <a:pt x="1226" y="1482"/>
                </a:cubicBezTo>
                <a:cubicBezTo>
                  <a:pt x="1226" y="1482"/>
                  <a:pt x="1234" y="1466"/>
                  <a:pt x="1243" y="1466"/>
                </a:cubicBezTo>
                <a:cubicBezTo>
                  <a:pt x="1251" y="1458"/>
                  <a:pt x="1275" y="1458"/>
                  <a:pt x="1284" y="1458"/>
                </a:cubicBezTo>
                <a:cubicBezTo>
                  <a:pt x="1300" y="1458"/>
                  <a:pt x="1324" y="1451"/>
                  <a:pt x="1324" y="1451"/>
                </a:cubicBezTo>
                <a:lnTo>
                  <a:pt x="1341" y="1435"/>
                </a:lnTo>
                <a:cubicBezTo>
                  <a:pt x="1341" y="1435"/>
                  <a:pt x="1349" y="1427"/>
                  <a:pt x="1365" y="1427"/>
                </a:cubicBezTo>
                <a:cubicBezTo>
                  <a:pt x="1373" y="1435"/>
                  <a:pt x="1406" y="1435"/>
                  <a:pt x="1406" y="1435"/>
                </a:cubicBezTo>
                <a:lnTo>
                  <a:pt x="1431" y="1419"/>
                </a:lnTo>
                <a:lnTo>
                  <a:pt x="1455" y="1411"/>
                </a:lnTo>
                <a:cubicBezTo>
                  <a:pt x="1455" y="1411"/>
                  <a:pt x="1455" y="1403"/>
                  <a:pt x="1463" y="1411"/>
                </a:cubicBezTo>
                <a:cubicBezTo>
                  <a:pt x="1472" y="1419"/>
                  <a:pt x="1488" y="1435"/>
                  <a:pt x="1488" y="1435"/>
                </a:cubicBezTo>
                <a:lnTo>
                  <a:pt x="1521" y="1443"/>
                </a:lnTo>
                <a:lnTo>
                  <a:pt x="1545" y="1435"/>
                </a:lnTo>
                <a:lnTo>
                  <a:pt x="1562" y="1419"/>
                </a:lnTo>
                <a:cubicBezTo>
                  <a:pt x="1562" y="1419"/>
                  <a:pt x="1562" y="1411"/>
                  <a:pt x="1586" y="1411"/>
                </a:cubicBezTo>
                <a:lnTo>
                  <a:pt x="1619" y="1411"/>
                </a:lnTo>
                <a:cubicBezTo>
                  <a:pt x="1619" y="1411"/>
                  <a:pt x="1643" y="1411"/>
                  <a:pt x="1643" y="1403"/>
                </a:cubicBezTo>
                <a:cubicBezTo>
                  <a:pt x="1643" y="1395"/>
                  <a:pt x="1643" y="1379"/>
                  <a:pt x="1652" y="1371"/>
                </a:cubicBezTo>
                <a:cubicBezTo>
                  <a:pt x="1652" y="1363"/>
                  <a:pt x="1684" y="1332"/>
                  <a:pt x="1684" y="1332"/>
                </a:cubicBezTo>
                <a:lnTo>
                  <a:pt x="1701" y="1324"/>
                </a:lnTo>
                <a:lnTo>
                  <a:pt x="1692" y="1300"/>
                </a:lnTo>
                <a:lnTo>
                  <a:pt x="1701" y="1284"/>
                </a:lnTo>
                <a:cubicBezTo>
                  <a:pt x="1701" y="1284"/>
                  <a:pt x="1725" y="1276"/>
                  <a:pt x="1717" y="1292"/>
                </a:cubicBezTo>
                <a:cubicBezTo>
                  <a:pt x="1709" y="1308"/>
                  <a:pt x="1717" y="1316"/>
                  <a:pt x="1717" y="1316"/>
                </a:cubicBezTo>
                <a:cubicBezTo>
                  <a:pt x="1717" y="1316"/>
                  <a:pt x="1725" y="1308"/>
                  <a:pt x="1733" y="1308"/>
                </a:cubicBezTo>
                <a:cubicBezTo>
                  <a:pt x="1750" y="1308"/>
                  <a:pt x="1750" y="1300"/>
                  <a:pt x="1758" y="1300"/>
                </a:cubicBezTo>
                <a:cubicBezTo>
                  <a:pt x="1774" y="1308"/>
                  <a:pt x="1782" y="1300"/>
                  <a:pt x="1782" y="1300"/>
                </a:cubicBezTo>
                <a:cubicBezTo>
                  <a:pt x="1782" y="1300"/>
                  <a:pt x="1774" y="1284"/>
                  <a:pt x="1782" y="1284"/>
                </a:cubicBezTo>
                <a:cubicBezTo>
                  <a:pt x="1791" y="1292"/>
                  <a:pt x="1807" y="1292"/>
                  <a:pt x="1807" y="1292"/>
                </a:cubicBezTo>
                <a:cubicBezTo>
                  <a:pt x="1807" y="1292"/>
                  <a:pt x="1815" y="1292"/>
                  <a:pt x="1815" y="1284"/>
                </a:cubicBezTo>
                <a:cubicBezTo>
                  <a:pt x="1815" y="1284"/>
                  <a:pt x="1791" y="1268"/>
                  <a:pt x="1799" y="1268"/>
                </a:cubicBezTo>
                <a:cubicBezTo>
                  <a:pt x="1807" y="1276"/>
                  <a:pt x="1823" y="1268"/>
                  <a:pt x="1823" y="1268"/>
                </a:cubicBezTo>
                <a:cubicBezTo>
                  <a:pt x="1823" y="1268"/>
                  <a:pt x="1848" y="1276"/>
                  <a:pt x="1823" y="1260"/>
                </a:cubicBezTo>
                <a:cubicBezTo>
                  <a:pt x="1807" y="1236"/>
                  <a:pt x="1831" y="1236"/>
                  <a:pt x="1831" y="1236"/>
                </a:cubicBezTo>
                <a:cubicBezTo>
                  <a:pt x="1831" y="1236"/>
                  <a:pt x="1856" y="1244"/>
                  <a:pt x="1848" y="1244"/>
                </a:cubicBezTo>
                <a:cubicBezTo>
                  <a:pt x="1840" y="1236"/>
                  <a:pt x="1807" y="1197"/>
                  <a:pt x="1807" y="1197"/>
                </a:cubicBezTo>
                <a:lnTo>
                  <a:pt x="1807" y="1173"/>
                </a:lnTo>
                <a:cubicBezTo>
                  <a:pt x="1807" y="1173"/>
                  <a:pt x="1823" y="1181"/>
                  <a:pt x="1831" y="1189"/>
                </a:cubicBezTo>
                <a:lnTo>
                  <a:pt x="1840" y="1197"/>
                </a:lnTo>
                <a:cubicBezTo>
                  <a:pt x="1856" y="1205"/>
                  <a:pt x="1848" y="1221"/>
                  <a:pt x="1856" y="1221"/>
                </a:cubicBezTo>
                <a:cubicBezTo>
                  <a:pt x="1864" y="1229"/>
                  <a:pt x="1889" y="1221"/>
                  <a:pt x="1889" y="1221"/>
                </a:cubicBezTo>
                <a:lnTo>
                  <a:pt x="1905" y="1197"/>
                </a:lnTo>
                <a:cubicBezTo>
                  <a:pt x="1905" y="1197"/>
                  <a:pt x="1938" y="1165"/>
                  <a:pt x="1930" y="1165"/>
                </a:cubicBezTo>
                <a:cubicBezTo>
                  <a:pt x="1921" y="1157"/>
                  <a:pt x="1881" y="1173"/>
                  <a:pt x="1881" y="1173"/>
                </a:cubicBezTo>
                <a:lnTo>
                  <a:pt x="1897" y="1141"/>
                </a:lnTo>
                <a:lnTo>
                  <a:pt x="1872" y="1133"/>
                </a:lnTo>
                <a:lnTo>
                  <a:pt x="1864" y="1125"/>
                </a:lnTo>
                <a:lnTo>
                  <a:pt x="1889" y="1125"/>
                </a:lnTo>
                <a:cubicBezTo>
                  <a:pt x="1897" y="1125"/>
                  <a:pt x="1913" y="1118"/>
                  <a:pt x="1913" y="1118"/>
                </a:cubicBezTo>
                <a:lnTo>
                  <a:pt x="1913" y="1102"/>
                </a:lnTo>
                <a:lnTo>
                  <a:pt x="1889" y="1086"/>
                </a:lnTo>
                <a:lnTo>
                  <a:pt x="1897" y="1078"/>
                </a:lnTo>
                <a:lnTo>
                  <a:pt x="1905" y="1062"/>
                </a:lnTo>
                <a:lnTo>
                  <a:pt x="1921" y="1054"/>
                </a:lnTo>
                <a:lnTo>
                  <a:pt x="1946" y="1007"/>
                </a:lnTo>
                <a:lnTo>
                  <a:pt x="1938" y="991"/>
                </a:lnTo>
                <a:lnTo>
                  <a:pt x="1921" y="991"/>
                </a:lnTo>
                <a:lnTo>
                  <a:pt x="1921" y="959"/>
                </a:lnTo>
                <a:lnTo>
                  <a:pt x="1889" y="943"/>
                </a:lnTo>
                <a:cubicBezTo>
                  <a:pt x="1889" y="943"/>
                  <a:pt x="1864" y="927"/>
                  <a:pt x="1864" y="919"/>
                </a:cubicBezTo>
                <a:cubicBezTo>
                  <a:pt x="1864" y="919"/>
                  <a:pt x="1864" y="903"/>
                  <a:pt x="1856" y="911"/>
                </a:cubicBezTo>
                <a:cubicBezTo>
                  <a:pt x="1848" y="911"/>
                  <a:pt x="1840" y="903"/>
                  <a:pt x="1840" y="903"/>
                </a:cubicBezTo>
                <a:lnTo>
                  <a:pt x="1840" y="880"/>
                </a:lnTo>
                <a:cubicBezTo>
                  <a:pt x="1840" y="880"/>
                  <a:pt x="1856" y="872"/>
                  <a:pt x="1856" y="864"/>
                </a:cubicBezTo>
                <a:cubicBezTo>
                  <a:pt x="1864" y="856"/>
                  <a:pt x="1856" y="840"/>
                  <a:pt x="1856" y="840"/>
                </a:cubicBezTo>
                <a:cubicBezTo>
                  <a:pt x="1848" y="840"/>
                  <a:pt x="1832" y="848"/>
                  <a:pt x="1832" y="848"/>
                </a:cubicBezTo>
                <a:lnTo>
                  <a:pt x="1782" y="856"/>
                </a:lnTo>
                <a:lnTo>
                  <a:pt x="1766" y="848"/>
                </a:lnTo>
                <a:cubicBezTo>
                  <a:pt x="1766" y="848"/>
                  <a:pt x="1774" y="848"/>
                  <a:pt x="1774" y="840"/>
                </a:cubicBezTo>
                <a:cubicBezTo>
                  <a:pt x="1782" y="832"/>
                  <a:pt x="1782" y="824"/>
                  <a:pt x="1791" y="816"/>
                </a:cubicBezTo>
                <a:cubicBezTo>
                  <a:pt x="1799" y="808"/>
                  <a:pt x="1799" y="816"/>
                  <a:pt x="1807" y="800"/>
                </a:cubicBezTo>
                <a:cubicBezTo>
                  <a:pt x="1823" y="793"/>
                  <a:pt x="1840" y="777"/>
                  <a:pt x="1840" y="777"/>
                </a:cubicBezTo>
                <a:lnTo>
                  <a:pt x="1840" y="753"/>
                </a:lnTo>
                <a:lnTo>
                  <a:pt x="1832" y="729"/>
                </a:lnTo>
                <a:cubicBezTo>
                  <a:pt x="1832" y="729"/>
                  <a:pt x="1823" y="721"/>
                  <a:pt x="1815" y="721"/>
                </a:cubicBezTo>
                <a:cubicBezTo>
                  <a:pt x="1807" y="721"/>
                  <a:pt x="1815" y="737"/>
                  <a:pt x="1799" y="721"/>
                </a:cubicBezTo>
                <a:cubicBezTo>
                  <a:pt x="1791" y="713"/>
                  <a:pt x="1791" y="713"/>
                  <a:pt x="1782" y="697"/>
                </a:cubicBezTo>
                <a:cubicBezTo>
                  <a:pt x="1774" y="689"/>
                  <a:pt x="1774" y="674"/>
                  <a:pt x="1774" y="674"/>
                </a:cubicBezTo>
                <a:cubicBezTo>
                  <a:pt x="1774" y="674"/>
                  <a:pt x="1758" y="666"/>
                  <a:pt x="1766" y="666"/>
                </a:cubicBezTo>
                <a:cubicBezTo>
                  <a:pt x="1782" y="666"/>
                  <a:pt x="1791" y="674"/>
                  <a:pt x="1799" y="666"/>
                </a:cubicBezTo>
                <a:cubicBezTo>
                  <a:pt x="1807" y="658"/>
                  <a:pt x="1807" y="666"/>
                  <a:pt x="1807" y="658"/>
                </a:cubicBezTo>
                <a:cubicBezTo>
                  <a:pt x="1807" y="650"/>
                  <a:pt x="1815" y="626"/>
                  <a:pt x="1815" y="626"/>
                </a:cubicBezTo>
                <a:cubicBezTo>
                  <a:pt x="1815" y="618"/>
                  <a:pt x="1815" y="618"/>
                  <a:pt x="1832" y="610"/>
                </a:cubicBezTo>
                <a:cubicBezTo>
                  <a:pt x="1856" y="602"/>
                  <a:pt x="1848" y="602"/>
                  <a:pt x="1864" y="602"/>
                </a:cubicBezTo>
                <a:cubicBezTo>
                  <a:pt x="1872" y="594"/>
                  <a:pt x="1881" y="586"/>
                  <a:pt x="1872" y="586"/>
                </a:cubicBezTo>
                <a:cubicBezTo>
                  <a:pt x="1872" y="578"/>
                  <a:pt x="1856" y="578"/>
                  <a:pt x="1856" y="578"/>
                </a:cubicBezTo>
                <a:cubicBezTo>
                  <a:pt x="1848" y="571"/>
                  <a:pt x="1832" y="586"/>
                  <a:pt x="1832" y="586"/>
                </a:cubicBezTo>
                <a:cubicBezTo>
                  <a:pt x="1832" y="586"/>
                  <a:pt x="1815" y="594"/>
                  <a:pt x="1807" y="602"/>
                </a:cubicBezTo>
                <a:cubicBezTo>
                  <a:pt x="1799" y="610"/>
                  <a:pt x="1791" y="602"/>
                  <a:pt x="1782" y="602"/>
                </a:cubicBezTo>
                <a:lnTo>
                  <a:pt x="1774" y="602"/>
                </a:lnTo>
                <a:cubicBezTo>
                  <a:pt x="1774" y="602"/>
                  <a:pt x="1758" y="594"/>
                  <a:pt x="1750" y="610"/>
                </a:cubicBezTo>
                <a:cubicBezTo>
                  <a:pt x="1750" y="626"/>
                  <a:pt x="1733" y="642"/>
                  <a:pt x="1733" y="642"/>
                </a:cubicBezTo>
                <a:cubicBezTo>
                  <a:pt x="1733" y="642"/>
                  <a:pt x="1725" y="650"/>
                  <a:pt x="1725" y="634"/>
                </a:cubicBezTo>
                <a:cubicBezTo>
                  <a:pt x="1725" y="626"/>
                  <a:pt x="1717" y="602"/>
                  <a:pt x="1717" y="602"/>
                </a:cubicBezTo>
                <a:cubicBezTo>
                  <a:pt x="1709" y="602"/>
                  <a:pt x="1684" y="594"/>
                  <a:pt x="1684" y="594"/>
                </a:cubicBezTo>
                <a:cubicBezTo>
                  <a:pt x="1684" y="594"/>
                  <a:pt x="1692" y="594"/>
                  <a:pt x="1692" y="578"/>
                </a:cubicBezTo>
                <a:cubicBezTo>
                  <a:pt x="1684" y="571"/>
                  <a:pt x="1684" y="563"/>
                  <a:pt x="1684" y="563"/>
                </a:cubicBezTo>
                <a:lnTo>
                  <a:pt x="1701" y="563"/>
                </a:lnTo>
                <a:cubicBezTo>
                  <a:pt x="1709" y="563"/>
                  <a:pt x="1709" y="563"/>
                  <a:pt x="1709" y="547"/>
                </a:cubicBezTo>
                <a:cubicBezTo>
                  <a:pt x="1709" y="523"/>
                  <a:pt x="1701" y="515"/>
                  <a:pt x="1701" y="515"/>
                </a:cubicBezTo>
                <a:lnTo>
                  <a:pt x="1692" y="507"/>
                </a:lnTo>
                <a:lnTo>
                  <a:pt x="1692" y="475"/>
                </a:lnTo>
                <a:cubicBezTo>
                  <a:pt x="1692" y="475"/>
                  <a:pt x="1692" y="467"/>
                  <a:pt x="1684" y="460"/>
                </a:cubicBezTo>
                <a:cubicBezTo>
                  <a:pt x="1676" y="452"/>
                  <a:pt x="1676" y="444"/>
                  <a:pt x="1668" y="452"/>
                </a:cubicBezTo>
                <a:cubicBezTo>
                  <a:pt x="1668" y="452"/>
                  <a:pt x="1660" y="460"/>
                  <a:pt x="1652" y="460"/>
                </a:cubicBezTo>
                <a:cubicBezTo>
                  <a:pt x="1643" y="452"/>
                  <a:pt x="1627" y="444"/>
                  <a:pt x="1627" y="444"/>
                </a:cubicBezTo>
                <a:lnTo>
                  <a:pt x="1594" y="428"/>
                </a:lnTo>
                <a:lnTo>
                  <a:pt x="1586" y="436"/>
                </a:lnTo>
                <a:cubicBezTo>
                  <a:pt x="1586" y="444"/>
                  <a:pt x="1578" y="436"/>
                  <a:pt x="1578" y="452"/>
                </a:cubicBezTo>
                <a:cubicBezTo>
                  <a:pt x="1586" y="460"/>
                  <a:pt x="1586" y="467"/>
                  <a:pt x="1586" y="475"/>
                </a:cubicBezTo>
                <a:cubicBezTo>
                  <a:pt x="1578" y="483"/>
                  <a:pt x="1578" y="491"/>
                  <a:pt x="1578" y="507"/>
                </a:cubicBezTo>
                <a:cubicBezTo>
                  <a:pt x="1570" y="515"/>
                  <a:pt x="1562" y="515"/>
                  <a:pt x="1562" y="523"/>
                </a:cubicBezTo>
                <a:cubicBezTo>
                  <a:pt x="1562" y="531"/>
                  <a:pt x="1570" y="531"/>
                  <a:pt x="1570" y="539"/>
                </a:cubicBezTo>
                <a:cubicBezTo>
                  <a:pt x="1570" y="539"/>
                  <a:pt x="1562" y="555"/>
                  <a:pt x="1553" y="555"/>
                </a:cubicBezTo>
                <a:cubicBezTo>
                  <a:pt x="1553" y="563"/>
                  <a:pt x="1545" y="571"/>
                  <a:pt x="1537" y="571"/>
                </a:cubicBezTo>
                <a:cubicBezTo>
                  <a:pt x="1537" y="563"/>
                  <a:pt x="1529" y="563"/>
                  <a:pt x="1521" y="563"/>
                </a:cubicBezTo>
                <a:cubicBezTo>
                  <a:pt x="1513" y="563"/>
                  <a:pt x="1504" y="571"/>
                  <a:pt x="1504" y="571"/>
                </a:cubicBezTo>
                <a:cubicBezTo>
                  <a:pt x="1504" y="571"/>
                  <a:pt x="1496" y="578"/>
                  <a:pt x="1488" y="571"/>
                </a:cubicBezTo>
                <a:cubicBezTo>
                  <a:pt x="1472" y="563"/>
                  <a:pt x="1463" y="555"/>
                  <a:pt x="1463" y="555"/>
                </a:cubicBezTo>
                <a:lnTo>
                  <a:pt x="1463" y="539"/>
                </a:lnTo>
                <a:cubicBezTo>
                  <a:pt x="1463" y="539"/>
                  <a:pt x="1496" y="547"/>
                  <a:pt x="1455" y="523"/>
                </a:cubicBezTo>
                <a:lnTo>
                  <a:pt x="1423" y="507"/>
                </a:lnTo>
                <a:cubicBezTo>
                  <a:pt x="1423" y="507"/>
                  <a:pt x="1423" y="515"/>
                  <a:pt x="1414" y="523"/>
                </a:cubicBezTo>
                <a:cubicBezTo>
                  <a:pt x="1406" y="523"/>
                  <a:pt x="1406" y="531"/>
                  <a:pt x="1406" y="531"/>
                </a:cubicBezTo>
                <a:lnTo>
                  <a:pt x="1398" y="547"/>
                </a:lnTo>
                <a:lnTo>
                  <a:pt x="1390" y="547"/>
                </a:lnTo>
                <a:lnTo>
                  <a:pt x="1374" y="571"/>
                </a:lnTo>
                <a:cubicBezTo>
                  <a:pt x="1374" y="571"/>
                  <a:pt x="1365" y="578"/>
                  <a:pt x="1357" y="578"/>
                </a:cubicBezTo>
                <a:lnTo>
                  <a:pt x="1349" y="578"/>
                </a:lnTo>
                <a:cubicBezTo>
                  <a:pt x="1341" y="578"/>
                  <a:pt x="1333" y="578"/>
                  <a:pt x="1333" y="571"/>
                </a:cubicBezTo>
                <a:cubicBezTo>
                  <a:pt x="1324" y="571"/>
                  <a:pt x="1324" y="571"/>
                  <a:pt x="1324" y="563"/>
                </a:cubicBezTo>
                <a:cubicBezTo>
                  <a:pt x="1324" y="555"/>
                  <a:pt x="1324" y="539"/>
                  <a:pt x="1316" y="531"/>
                </a:cubicBezTo>
                <a:cubicBezTo>
                  <a:pt x="1316" y="523"/>
                  <a:pt x="1316" y="523"/>
                  <a:pt x="1308" y="507"/>
                </a:cubicBezTo>
                <a:cubicBezTo>
                  <a:pt x="1300" y="499"/>
                  <a:pt x="1292" y="483"/>
                  <a:pt x="1292" y="483"/>
                </a:cubicBezTo>
                <a:lnTo>
                  <a:pt x="1251" y="460"/>
                </a:lnTo>
                <a:cubicBezTo>
                  <a:pt x="1251" y="460"/>
                  <a:pt x="1259" y="452"/>
                  <a:pt x="1243" y="452"/>
                </a:cubicBezTo>
                <a:cubicBezTo>
                  <a:pt x="1234" y="460"/>
                  <a:pt x="1218" y="475"/>
                  <a:pt x="1218" y="475"/>
                </a:cubicBezTo>
                <a:lnTo>
                  <a:pt x="1218" y="499"/>
                </a:lnTo>
                <a:cubicBezTo>
                  <a:pt x="1218" y="499"/>
                  <a:pt x="1210" y="507"/>
                  <a:pt x="1210" y="515"/>
                </a:cubicBezTo>
                <a:cubicBezTo>
                  <a:pt x="1218" y="531"/>
                  <a:pt x="1226" y="547"/>
                  <a:pt x="1218" y="555"/>
                </a:cubicBezTo>
                <a:cubicBezTo>
                  <a:pt x="1218" y="555"/>
                  <a:pt x="1210" y="571"/>
                  <a:pt x="1210" y="586"/>
                </a:cubicBezTo>
                <a:cubicBezTo>
                  <a:pt x="1210" y="602"/>
                  <a:pt x="1218" y="618"/>
                  <a:pt x="1210" y="618"/>
                </a:cubicBezTo>
                <a:cubicBezTo>
                  <a:pt x="1202" y="626"/>
                  <a:pt x="1202" y="634"/>
                  <a:pt x="1202" y="634"/>
                </a:cubicBezTo>
                <a:lnTo>
                  <a:pt x="1194" y="634"/>
                </a:lnTo>
                <a:cubicBezTo>
                  <a:pt x="1194" y="634"/>
                  <a:pt x="1194" y="626"/>
                  <a:pt x="1202" y="602"/>
                </a:cubicBezTo>
                <a:cubicBezTo>
                  <a:pt x="1202" y="578"/>
                  <a:pt x="1194" y="571"/>
                  <a:pt x="1194" y="563"/>
                </a:cubicBezTo>
                <a:cubicBezTo>
                  <a:pt x="1185" y="563"/>
                  <a:pt x="1185" y="563"/>
                  <a:pt x="1185" y="555"/>
                </a:cubicBezTo>
                <a:lnTo>
                  <a:pt x="1185" y="539"/>
                </a:lnTo>
                <a:cubicBezTo>
                  <a:pt x="1185" y="539"/>
                  <a:pt x="1169" y="523"/>
                  <a:pt x="1169" y="515"/>
                </a:cubicBezTo>
                <a:cubicBezTo>
                  <a:pt x="1169" y="507"/>
                  <a:pt x="1177" y="499"/>
                  <a:pt x="1177" y="483"/>
                </a:cubicBezTo>
                <a:cubicBezTo>
                  <a:pt x="1177" y="460"/>
                  <a:pt x="1185" y="460"/>
                  <a:pt x="1177" y="452"/>
                </a:cubicBezTo>
                <a:cubicBezTo>
                  <a:pt x="1169" y="444"/>
                  <a:pt x="1177" y="436"/>
                  <a:pt x="1169" y="428"/>
                </a:cubicBezTo>
                <a:cubicBezTo>
                  <a:pt x="1161" y="428"/>
                  <a:pt x="1161" y="436"/>
                  <a:pt x="1153" y="428"/>
                </a:cubicBezTo>
                <a:lnTo>
                  <a:pt x="1153" y="436"/>
                </a:lnTo>
                <a:lnTo>
                  <a:pt x="1161" y="420"/>
                </a:lnTo>
                <a:cubicBezTo>
                  <a:pt x="1161" y="420"/>
                  <a:pt x="1169" y="388"/>
                  <a:pt x="1161" y="404"/>
                </a:cubicBezTo>
                <a:cubicBezTo>
                  <a:pt x="1153" y="412"/>
                  <a:pt x="1128" y="420"/>
                  <a:pt x="1128" y="412"/>
                </a:cubicBezTo>
                <a:cubicBezTo>
                  <a:pt x="1136" y="404"/>
                  <a:pt x="1128" y="396"/>
                  <a:pt x="1128" y="396"/>
                </a:cubicBezTo>
                <a:lnTo>
                  <a:pt x="1095" y="396"/>
                </a:lnTo>
                <a:cubicBezTo>
                  <a:pt x="1095" y="396"/>
                  <a:pt x="1095" y="388"/>
                  <a:pt x="1095" y="404"/>
                </a:cubicBezTo>
                <a:cubicBezTo>
                  <a:pt x="1095" y="412"/>
                  <a:pt x="1104" y="428"/>
                  <a:pt x="1087" y="428"/>
                </a:cubicBezTo>
                <a:cubicBezTo>
                  <a:pt x="1071" y="436"/>
                  <a:pt x="1063" y="436"/>
                  <a:pt x="1063" y="436"/>
                </a:cubicBezTo>
                <a:cubicBezTo>
                  <a:pt x="1063" y="428"/>
                  <a:pt x="1046" y="420"/>
                  <a:pt x="1046" y="420"/>
                </a:cubicBezTo>
                <a:lnTo>
                  <a:pt x="1030" y="420"/>
                </a:lnTo>
                <a:cubicBezTo>
                  <a:pt x="1030" y="428"/>
                  <a:pt x="1014" y="428"/>
                  <a:pt x="1014" y="428"/>
                </a:cubicBezTo>
                <a:lnTo>
                  <a:pt x="1014" y="444"/>
                </a:lnTo>
                <a:lnTo>
                  <a:pt x="1014" y="452"/>
                </a:lnTo>
                <a:lnTo>
                  <a:pt x="1006" y="452"/>
                </a:lnTo>
                <a:cubicBezTo>
                  <a:pt x="997" y="460"/>
                  <a:pt x="989" y="460"/>
                  <a:pt x="997" y="467"/>
                </a:cubicBezTo>
                <a:lnTo>
                  <a:pt x="997" y="483"/>
                </a:lnTo>
                <a:lnTo>
                  <a:pt x="997" y="499"/>
                </a:lnTo>
                <a:cubicBezTo>
                  <a:pt x="989" y="507"/>
                  <a:pt x="989" y="515"/>
                  <a:pt x="981" y="523"/>
                </a:cubicBezTo>
                <a:lnTo>
                  <a:pt x="973" y="531"/>
                </a:lnTo>
                <a:cubicBezTo>
                  <a:pt x="965" y="539"/>
                  <a:pt x="964" y="539"/>
                  <a:pt x="956" y="539"/>
                </a:cubicBezTo>
                <a:cubicBezTo>
                  <a:pt x="947" y="539"/>
                  <a:pt x="948" y="547"/>
                  <a:pt x="948" y="539"/>
                </a:cubicBezTo>
                <a:lnTo>
                  <a:pt x="948" y="499"/>
                </a:lnTo>
                <a:cubicBezTo>
                  <a:pt x="948" y="491"/>
                  <a:pt x="956" y="491"/>
                  <a:pt x="940" y="475"/>
                </a:cubicBezTo>
                <a:cubicBezTo>
                  <a:pt x="932" y="460"/>
                  <a:pt x="924" y="460"/>
                  <a:pt x="924" y="452"/>
                </a:cubicBezTo>
                <a:lnTo>
                  <a:pt x="924" y="436"/>
                </a:lnTo>
                <a:cubicBezTo>
                  <a:pt x="924" y="428"/>
                  <a:pt x="924" y="444"/>
                  <a:pt x="924" y="412"/>
                </a:cubicBezTo>
                <a:cubicBezTo>
                  <a:pt x="932" y="388"/>
                  <a:pt x="924" y="380"/>
                  <a:pt x="924" y="380"/>
                </a:cubicBezTo>
                <a:lnTo>
                  <a:pt x="932" y="341"/>
                </a:lnTo>
                <a:lnTo>
                  <a:pt x="891" y="341"/>
                </a:lnTo>
                <a:lnTo>
                  <a:pt x="875" y="341"/>
                </a:lnTo>
                <a:cubicBezTo>
                  <a:pt x="875" y="349"/>
                  <a:pt x="866" y="341"/>
                  <a:pt x="866" y="356"/>
                </a:cubicBezTo>
                <a:cubicBezTo>
                  <a:pt x="858" y="372"/>
                  <a:pt x="850" y="372"/>
                  <a:pt x="850" y="388"/>
                </a:cubicBezTo>
                <a:lnTo>
                  <a:pt x="850" y="412"/>
                </a:lnTo>
                <a:cubicBezTo>
                  <a:pt x="850" y="420"/>
                  <a:pt x="842" y="428"/>
                  <a:pt x="842" y="428"/>
                </a:cubicBezTo>
                <a:lnTo>
                  <a:pt x="842" y="452"/>
                </a:lnTo>
                <a:cubicBezTo>
                  <a:pt x="834" y="467"/>
                  <a:pt x="834" y="475"/>
                  <a:pt x="834" y="483"/>
                </a:cubicBezTo>
                <a:lnTo>
                  <a:pt x="826" y="491"/>
                </a:lnTo>
                <a:cubicBezTo>
                  <a:pt x="817" y="499"/>
                  <a:pt x="801" y="523"/>
                  <a:pt x="793" y="523"/>
                </a:cubicBezTo>
                <a:lnTo>
                  <a:pt x="785" y="531"/>
                </a:lnTo>
                <a:cubicBezTo>
                  <a:pt x="785" y="531"/>
                  <a:pt x="768" y="555"/>
                  <a:pt x="760" y="555"/>
                </a:cubicBezTo>
                <a:cubicBezTo>
                  <a:pt x="752" y="563"/>
                  <a:pt x="760" y="563"/>
                  <a:pt x="752" y="563"/>
                </a:cubicBezTo>
                <a:cubicBezTo>
                  <a:pt x="752" y="555"/>
                  <a:pt x="744" y="555"/>
                  <a:pt x="744" y="547"/>
                </a:cubicBezTo>
                <a:cubicBezTo>
                  <a:pt x="744" y="531"/>
                  <a:pt x="744" y="531"/>
                  <a:pt x="752" y="515"/>
                </a:cubicBezTo>
                <a:cubicBezTo>
                  <a:pt x="752" y="507"/>
                  <a:pt x="760" y="491"/>
                  <a:pt x="760" y="491"/>
                </a:cubicBezTo>
                <a:cubicBezTo>
                  <a:pt x="760" y="491"/>
                  <a:pt x="768" y="483"/>
                  <a:pt x="760" y="483"/>
                </a:cubicBezTo>
                <a:lnTo>
                  <a:pt x="736" y="483"/>
                </a:lnTo>
                <a:cubicBezTo>
                  <a:pt x="719" y="483"/>
                  <a:pt x="703" y="491"/>
                  <a:pt x="695" y="499"/>
                </a:cubicBezTo>
                <a:cubicBezTo>
                  <a:pt x="687" y="499"/>
                  <a:pt x="687" y="507"/>
                  <a:pt x="670" y="523"/>
                </a:cubicBezTo>
                <a:lnTo>
                  <a:pt x="654" y="531"/>
                </a:lnTo>
                <a:lnTo>
                  <a:pt x="646" y="547"/>
                </a:lnTo>
                <a:lnTo>
                  <a:pt x="646" y="555"/>
                </a:lnTo>
                <a:lnTo>
                  <a:pt x="646" y="539"/>
                </a:lnTo>
                <a:cubicBezTo>
                  <a:pt x="646" y="539"/>
                  <a:pt x="637" y="539"/>
                  <a:pt x="637" y="547"/>
                </a:cubicBezTo>
                <a:lnTo>
                  <a:pt x="629" y="555"/>
                </a:lnTo>
                <a:cubicBezTo>
                  <a:pt x="621" y="563"/>
                  <a:pt x="621" y="571"/>
                  <a:pt x="621" y="578"/>
                </a:cubicBezTo>
                <a:cubicBezTo>
                  <a:pt x="613" y="586"/>
                  <a:pt x="613" y="602"/>
                  <a:pt x="605" y="602"/>
                </a:cubicBezTo>
                <a:lnTo>
                  <a:pt x="605" y="610"/>
                </a:lnTo>
                <a:cubicBezTo>
                  <a:pt x="597" y="610"/>
                  <a:pt x="588" y="618"/>
                  <a:pt x="588" y="618"/>
                </a:cubicBezTo>
                <a:cubicBezTo>
                  <a:pt x="588" y="626"/>
                  <a:pt x="580" y="610"/>
                  <a:pt x="580" y="594"/>
                </a:cubicBezTo>
                <a:cubicBezTo>
                  <a:pt x="588" y="586"/>
                  <a:pt x="588" y="586"/>
                  <a:pt x="588" y="578"/>
                </a:cubicBezTo>
                <a:cubicBezTo>
                  <a:pt x="597" y="578"/>
                  <a:pt x="597" y="563"/>
                  <a:pt x="605" y="563"/>
                </a:cubicBezTo>
                <a:cubicBezTo>
                  <a:pt x="605" y="563"/>
                  <a:pt x="605" y="571"/>
                  <a:pt x="605" y="555"/>
                </a:cubicBezTo>
                <a:cubicBezTo>
                  <a:pt x="613" y="539"/>
                  <a:pt x="613" y="531"/>
                  <a:pt x="613" y="531"/>
                </a:cubicBezTo>
                <a:lnTo>
                  <a:pt x="613" y="523"/>
                </a:lnTo>
                <a:cubicBezTo>
                  <a:pt x="605" y="515"/>
                  <a:pt x="605" y="523"/>
                  <a:pt x="605" y="515"/>
                </a:cubicBezTo>
                <a:cubicBezTo>
                  <a:pt x="613" y="507"/>
                  <a:pt x="613" y="499"/>
                  <a:pt x="613" y="491"/>
                </a:cubicBezTo>
                <a:cubicBezTo>
                  <a:pt x="621" y="491"/>
                  <a:pt x="621" y="483"/>
                  <a:pt x="621" y="483"/>
                </a:cubicBezTo>
                <a:lnTo>
                  <a:pt x="621" y="475"/>
                </a:lnTo>
                <a:lnTo>
                  <a:pt x="613" y="467"/>
                </a:lnTo>
                <a:lnTo>
                  <a:pt x="613" y="460"/>
                </a:lnTo>
                <a:cubicBezTo>
                  <a:pt x="613" y="460"/>
                  <a:pt x="621" y="452"/>
                  <a:pt x="621" y="444"/>
                </a:cubicBezTo>
                <a:cubicBezTo>
                  <a:pt x="613" y="444"/>
                  <a:pt x="613" y="436"/>
                  <a:pt x="605" y="428"/>
                </a:cubicBezTo>
                <a:cubicBezTo>
                  <a:pt x="597" y="428"/>
                  <a:pt x="597" y="428"/>
                  <a:pt x="597" y="420"/>
                </a:cubicBezTo>
                <a:lnTo>
                  <a:pt x="580" y="412"/>
                </a:lnTo>
                <a:lnTo>
                  <a:pt x="588" y="396"/>
                </a:lnTo>
                <a:cubicBezTo>
                  <a:pt x="588" y="396"/>
                  <a:pt x="588" y="388"/>
                  <a:pt x="597" y="388"/>
                </a:cubicBezTo>
                <a:lnTo>
                  <a:pt x="597" y="404"/>
                </a:lnTo>
                <a:cubicBezTo>
                  <a:pt x="597" y="412"/>
                  <a:pt x="621" y="420"/>
                  <a:pt x="621" y="420"/>
                </a:cubicBezTo>
                <a:lnTo>
                  <a:pt x="637" y="412"/>
                </a:lnTo>
                <a:cubicBezTo>
                  <a:pt x="646" y="412"/>
                  <a:pt x="646" y="396"/>
                  <a:pt x="646" y="396"/>
                </a:cubicBezTo>
                <a:cubicBezTo>
                  <a:pt x="646" y="396"/>
                  <a:pt x="637" y="396"/>
                  <a:pt x="646" y="388"/>
                </a:cubicBezTo>
                <a:cubicBezTo>
                  <a:pt x="654" y="388"/>
                  <a:pt x="670" y="380"/>
                  <a:pt x="670" y="380"/>
                </a:cubicBezTo>
                <a:cubicBezTo>
                  <a:pt x="670" y="372"/>
                  <a:pt x="678" y="372"/>
                  <a:pt x="678" y="372"/>
                </a:cubicBezTo>
                <a:lnTo>
                  <a:pt x="687" y="364"/>
                </a:lnTo>
                <a:cubicBezTo>
                  <a:pt x="687" y="356"/>
                  <a:pt x="695" y="356"/>
                  <a:pt x="687" y="349"/>
                </a:cubicBezTo>
                <a:lnTo>
                  <a:pt x="687" y="333"/>
                </a:lnTo>
                <a:cubicBezTo>
                  <a:pt x="687" y="333"/>
                  <a:pt x="703" y="341"/>
                  <a:pt x="687" y="325"/>
                </a:cubicBezTo>
                <a:cubicBezTo>
                  <a:pt x="670" y="317"/>
                  <a:pt x="654" y="309"/>
                  <a:pt x="662" y="309"/>
                </a:cubicBezTo>
                <a:lnTo>
                  <a:pt x="678" y="309"/>
                </a:lnTo>
                <a:cubicBezTo>
                  <a:pt x="687" y="309"/>
                  <a:pt x="695" y="317"/>
                  <a:pt x="695" y="309"/>
                </a:cubicBezTo>
                <a:cubicBezTo>
                  <a:pt x="703" y="309"/>
                  <a:pt x="703" y="309"/>
                  <a:pt x="703" y="301"/>
                </a:cubicBezTo>
                <a:lnTo>
                  <a:pt x="695" y="293"/>
                </a:lnTo>
                <a:cubicBezTo>
                  <a:pt x="687" y="285"/>
                  <a:pt x="687" y="285"/>
                  <a:pt x="678" y="285"/>
                </a:cubicBezTo>
                <a:cubicBezTo>
                  <a:pt x="678" y="285"/>
                  <a:pt x="670" y="293"/>
                  <a:pt x="678" y="277"/>
                </a:cubicBezTo>
                <a:lnTo>
                  <a:pt x="678" y="253"/>
                </a:lnTo>
                <a:cubicBezTo>
                  <a:pt x="678" y="253"/>
                  <a:pt x="695" y="253"/>
                  <a:pt x="678" y="253"/>
                </a:cubicBezTo>
                <a:lnTo>
                  <a:pt x="670" y="245"/>
                </a:lnTo>
                <a:lnTo>
                  <a:pt x="654" y="245"/>
                </a:lnTo>
                <a:cubicBezTo>
                  <a:pt x="646" y="245"/>
                  <a:pt x="654" y="230"/>
                  <a:pt x="654" y="230"/>
                </a:cubicBezTo>
                <a:cubicBezTo>
                  <a:pt x="654" y="222"/>
                  <a:pt x="662" y="190"/>
                  <a:pt x="662" y="190"/>
                </a:cubicBezTo>
                <a:lnTo>
                  <a:pt x="654" y="182"/>
                </a:lnTo>
                <a:lnTo>
                  <a:pt x="646" y="166"/>
                </a:lnTo>
                <a:cubicBezTo>
                  <a:pt x="646" y="158"/>
                  <a:pt x="646" y="150"/>
                  <a:pt x="637" y="150"/>
                </a:cubicBezTo>
                <a:lnTo>
                  <a:pt x="629" y="142"/>
                </a:lnTo>
                <a:cubicBezTo>
                  <a:pt x="629" y="142"/>
                  <a:pt x="621" y="142"/>
                  <a:pt x="621" y="135"/>
                </a:cubicBezTo>
                <a:lnTo>
                  <a:pt x="621" y="103"/>
                </a:lnTo>
                <a:lnTo>
                  <a:pt x="605" y="63"/>
                </a:lnTo>
                <a:lnTo>
                  <a:pt x="605" y="55"/>
                </a:lnTo>
                <a:lnTo>
                  <a:pt x="597" y="39"/>
                </a:lnTo>
                <a:lnTo>
                  <a:pt x="588" y="39"/>
                </a:lnTo>
                <a:lnTo>
                  <a:pt x="588" y="24"/>
                </a:lnTo>
                <a:cubicBezTo>
                  <a:pt x="588" y="24"/>
                  <a:pt x="580" y="24"/>
                  <a:pt x="580" y="31"/>
                </a:cubicBezTo>
                <a:cubicBezTo>
                  <a:pt x="580" y="31"/>
                  <a:pt x="580" y="39"/>
                  <a:pt x="572" y="39"/>
                </a:cubicBezTo>
                <a:cubicBezTo>
                  <a:pt x="564" y="39"/>
                  <a:pt x="556" y="31"/>
                  <a:pt x="556" y="31"/>
                </a:cubicBezTo>
                <a:lnTo>
                  <a:pt x="556" y="16"/>
                </a:lnTo>
                <a:cubicBezTo>
                  <a:pt x="547" y="16"/>
                  <a:pt x="523" y="0"/>
                  <a:pt x="523" y="0"/>
                </a:cubicBezTo>
                <a:lnTo>
                  <a:pt x="523" y="8"/>
                </a:lnTo>
                <a:cubicBezTo>
                  <a:pt x="523" y="8"/>
                  <a:pt x="515" y="16"/>
                  <a:pt x="515" y="8"/>
                </a:cubicBezTo>
                <a:cubicBezTo>
                  <a:pt x="507" y="8"/>
                  <a:pt x="490" y="0"/>
                  <a:pt x="490" y="0"/>
                </a:cubicBezTo>
                <a:lnTo>
                  <a:pt x="490" y="8"/>
                </a:lnTo>
                <a:cubicBezTo>
                  <a:pt x="490" y="16"/>
                  <a:pt x="498" y="24"/>
                  <a:pt x="498" y="24"/>
                </a:cubicBezTo>
                <a:lnTo>
                  <a:pt x="482" y="24"/>
                </a:lnTo>
                <a:lnTo>
                  <a:pt x="474" y="24"/>
                </a:lnTo>
                <a:cubicBezTo>
                  <a:pt x="474" y="16"/>
                  <a:pt x="466" y="16"/>
                  <a:pt x="466" y="16"/>
                </a:cubicBezTo>
                <a:cubicBezTo>
                  <a:pt x="466" y="24"/>
                  <a:pt x="458" y="24"/>
                  <a:pt x="458" y="39"/>
                </a:cubicBezTo>
                <a:cubicBezTo>
                  <a:pt x="466" y="47"/>
                  <a:pt x="458" y="47"/>
                  <a:pt x="466" y="55"/>
                </a:cubicBezTo>
                <a:cubicBezTo>
                  <a:pt x="474" y="55"/>
                  <a:pt x="474" y="55"/>
                  <a:pt x="482" y="63"/>
                </a:cubicBezTo>
                <a:lnTo>
                  <a:pt x="515" y="63"/>
                </a:lnTo>
                <a:lnTo>
                  <a:pt x="523" y="55"/>
                </a:lnTo>
                <a:lnTo>
                  <a:pt x="523" y="63"/>
                </a:lnTo>
                <a:cubicBezTo>
                  <a:pt x="523" y="63"/>
                  <a:pt x="515" y="63"/>
                  <a:pt x="523" y="71"/>
                </a:cubicBezTo>
                <a:lnTo>
                  <a:pt x="531" y="79"/>
                </a:lnTo>
                <a:lnTo>
                  <a:pt x="531" y="87"/>
                </a:lnTo>
                <a:cubicBezTo>
                  <a:pt x="531" y="95"/>
                  <a:pt x="531" y="95"/>
                  <a:pt x="539" y="95"/>
                </a:cubicBezTo>
                <a:cubicBezTo>
                  <a:pt x="547" y="103"/>
                  <a:pt x="547" y="95"/>
                  <a:pt x="547" y="95"/>
                </a:cubicBezTo>
                <a:cubicBezTo>
                  <a:pt x="547" y="95"/>
                  <a:pt x="564" y="111"/>
                  <a:pt x="556" y="111"/>
                </a:cubicBezTo>
                <a:cubicBezTo>
                  <a:pt x="556" y="111"/>
                  <a:pt x="547" y="103"/>
                  <a:pt x="556" y="111"/>
                </a:cubicBezTo>
                <a:cubicBezTo>
                  <a:pt x="564" y="119"/>
                  <a:pt x="572" y="119"/>
                  <a:pt x="572" y="119"/>
                </a:cubicBezTo>
                <a:cubicBezTo>
                  <a:pt x="572" y="119"/>
                  <a:pt x="564" y="127"/>
                  <a:pt x="547" y="119"/>
                </a:cubicBezTo>
                <a:lnTo>
                  <a:pt x="539" y="119"/>
                </a:lnTo>
                <a:lnTo>
                  <a:pt x="531" y="111"/>
                </a:lnTo>
                <a:cubicBezTo>
                  <a:pt x="523" y="103"/>
                  <a:pt x="523" y="95"/>
                  <a:pt x="523" y="95"/>
                </a:cubicBezTo>
                <a:cubicBezTo>
                  <a:pt x="523" y="95"/>
                  <a:pt x="515" y="87"/>
                  <a:pt x="507" y="87"/>
                </a:cubicBezTo>
                <a:cubicBezTo>
                  <a:pt x="498" y="79"/>
                  <a:pt x="490" y="87"/>
                  <a:pt x="482" y="87"/>
                </a:cubicBezTo>
                <a:cubicBezTo>
                  <a:pt x="482" y="87"/>
                  <a:pt x="474" y="95"/>
                  <a:pt x="466" y="95"/>
                </a:cubicBezTo>
                <a:lnTo>
                  <a:pt x="466" y="111"/>
                </a:lnTo>
                <a:cubicBezTo>
                  <a:pt x="474" y="119"/>
                  <a:pt x="490" y="150"/>
                  <a:pt x="490" y="150"/>
                </a:cubicBezTo>
                <a:lnTo>
                  <a:pt x="507" y="166"/>
                </a:lnTo>
                <a:lnTo>
                  <a:pt x="515" y="182"/>
                </a:lnTo>
                <a:lnTo>
                  <a:pt x="523" y="190"/>
                </a:lnTo>
                <a:cubicBezTo>
                  <a:pt x="531" y="190"/>
                  <a:pt x="523" y="190"/>
                  <a:pt x="523" y="190"/>
                </a:cubicBezTo>
                <a:cubicBezTo>
                  <a:pt x="523" y="198"/>
                  <a:pt x="515" y="206"/>
                  <a:pt x="515" y="214"/>
                </a:cubicBezTo>
                <a:cubicBezTo>
                  <a:pt x="515" y="214"/>
                  <a:pt x="515" y="206"/>
                  <a:pt x="515" y="214"/>
                </a:cubicBezTo>
                <a:lnTo>
                  <a:pt x="515" y="245"/>
                </a:lnTo>
                <a:lnTo>
                  <a:pt x="507" y="261"/>
                </a:lnTo>
                <a:lnTo>
                  <a:pt x="498" y="269"/>
                </a:lnTo>
                <a:cubicBezTo>
                  <a:pt x="490" y="269"/>
                  <a:pt x="498" y="261"/>
                  <a:pt x="498" y="261"/>
                </a:cubicBezTo>
                <a:lnTo>
                  <a:pt x="498" y="253"/>
                </a:lnTo>
                <a:lnTo>
                  <a:pt x="507" y="238"/>
                </a:lnTo>
                <a:cubicBezTo>
                  <a:pt x="507" y="238"/>
                  <a:pt x="498" y="230"/>
                  <a:pt x="490" y="230"/>
                </a:cubicBezTo>
                <a:cubicBezTo>
                  <a:pt x="490" y="222"/>
                  <a:pt x="490" y="230"/>
                  <a:pt x="482" y="230"/>
                </a:cubicBezTo>
                <a:lnTo>
                  <a:pt x="474" y="245"/>
                </a:lnTo>
                <a:cubicBezTo>
                  <a:pt x="474" y="245"/>
                  <a:pt x="466" y="245"/>
                  <a:pt x="474" y="238"/>
                </a:cubicBezTo>
                <a:cubicBezTo>
                  <a:pt x="474" y="238"/>
                  <a:pt x="474" y="222"/>
                  <a:pt x="482" y="222"/>
                </a:cubicBezTo>
                <a:cubicBezTo>
                  <a:pt x="482" y="214"/>
                  <a:pt x="490" y="214"/>
                  <a:pt x="490" y="206"/>
                </a:cubicBezTo>
                <a:lnTo>
                  <a:pt x="490" y="190"/>
                </a:lnTo>
                <a:cubicBezTo>
                  <a:pt x="482" y="190"/>
                  <a:pt x="482" y="182"/>
                  <a:pt x="482" y="174"/>
                </a:cubicBezTo>
                <a:cubicBezTo>
                  <a:pt x="474" y="174"/>
                  <a:pt x="466" y="182"/>
                  <a:pt x="466" y="182"/>
                </a:cubicBezTo>
                <a:lnTo>
                  <a:pt x="466" y="190"/>
                </a:lnTo>
                <a:cubicBezTo>
                  <a:pt x="458" y="198"/>
                  <a:pt x="458" y="198"/>
                  <a:pt x="449" y="206"/>
                </a:cubicBezTo>
                <a:lnTo>
                  <a:pt x="441" y="214"/>
                </a:lnTo>
                <a:lnTo>
                  <a:pt x="449" y="198"/>
                </a:lnTo>
                <a:cubicBezTo>
                  <a:pt x="449" y="198"/>
                  <a:pt x="458" y="190"/>
                  <a:pt x="449" y="190"/>
                </a:cubicBezTo>
                <a:lnTo>
                  <a:pt x="449" y="174"/>
                </a:lnTo>
                <a:lnTo>
                  <a:pt x="441" y="174"/>
                </a:lnTo>
                <a:lnTo>
                  <a:pt x="433" y="174"/>
                </a:lnTo>
                <a:cubicBezTo>
                  <a:pt x="433" y="166"/>
                  <a:pt x="441" y="166"/>
                  <a:pt x="441" y="166"/>
                </a:cubicBezTo>
                <a:cubicBezTo>
                  <a:pt x="441" y="158"/>
                  <a:pt x="449" y="150"/>
                  <a:pt x="449" y="150"/>
                </a:cubicBezTo>
                <a:lnTo>
                  <a:pt x="441" y="142"/>
                </a:lnTo>
                <a:cubicBezTo>
                  <a:pt x="433" y="135"/>
                  <a:pt x="433" y="127"/>
                  <a:pt x="433" y="127"/>
                </a:cubicBezTo>
                <a:cubicBezTo>
                  <a:pt x="433" y="127"/>
                  <a:pt x="433" y="142"/>
                  <a:pt x="433" y="119"/>
                </a:cubicBezTo>
                <a:lnTo>
                  <a:pt x="425" y="95"/>
                </a:lnTo>
                <a:lnTo>
                  <a:pt x="417" y="87"/>
                </a:lnTo>
                <a:cubicBezTo>
                  <a:pt x="417" y="87"/>
                  <a:pt x="417" y="79"/>
                  <a:pt x="408" y="79"/>
                </a:cubicBezTo>
                <a:cubicBezTo>
                  <a:pt x="408" y="71"/>
                  <a:pt x="392" y="63"/>
                  <a:pt x="392" y="63"/>
                </a:cubicBezTo>
                <a:lnTo>
                  <a:pt x="392" y="47"/>
                </a:lnTo>
                <a:cubicBezTo>
                  <a:pt x="384" y="47"/>
                  <a:pt x="376" y="39"/>
                  <a:pt x="376" y="47"/>
                </a:cubicBezTo>
                <a:lnTo>
                  <a:pt x="376" y="63"/>
                </a:lnTo>
                <a:lnTo>
                  <a:pt x="351" y="63"/>
                </a:lnTo>
                <a:lnTo>
                  <a:pt x="351" y="71"/>
                </a:lnTo>
                <a:lnTo>
                  <a:pt x="335" y="79"/>
                </a:lnTo>
                <a:cubicBezTo>
                  <a:pt x="335" y="79"/>
                  <a:pt x="335" y="71"/>
                  <a:pt x="335" y="79"/>
                </a:cubicBezTo>
                <a:cubicBezTo>
                  <a:pt x="343" y="87"/>
                  <a:pt x="343" y="95"/>
                  <a:pt x="343" y="103"/>
                </a:cubicBezTo>
                <a:cubicBezTo>
                  <a:pt x="343" y="103"/>
                  <a:pt x="359" y="111"/>
                  <a:pt x="351" y="111"/>
                </a:cubicBezTo>
                <a:lnTo>
                  <a:pt x="335" y="111"/>
                </a:lnTo>
                <a:cubicBezTo>
                  <a:pt x="335" y="111"/>
                  <a:pt x="327" y="103"/>
                  <a:pt x="327" y="95"/>
                </a:cubicBezTo>
                <a:cubicBezTo>
                  <a:pt x="327" y="95"/>
                  <a:pt x="318" y="87"/>
                  <a:pt x="310" y="87"/>
                </a:cubicBezTo>
                <a:cubicBezTo>
                  <a:pt x="310" y="87"/>
                  <a:pt x="302" y="87"/>
                  <a:pt x="294" y="95"/>
                </a:cubicBezTo>
                <a:lnTo>
                  <a:pt x="294" y="111"/>
                </a:lnTo>
                <a:lnTo>
                  <a:pt x="294" y="142"/>
                </a:lnTo>
                <a:cubicBezTo>
                  <a:pt x="294" y="142"/>
                  <a:pt x="302" y="150"/>
                  <a:pt x="310" y="158"/>
                </a:cubicBezTo>
                <a:lnTo>
                  <a:pt x="318" y="182"/>
                </a:lnTo>
                <a:cubicBezTo>
                  <a:pt x="318" y="190"/>
                  <a:pt x="327" y="198"/>
                  <a:pt x="327" y="198"/>
                </a:cubicBezTo>
                <a:cubicBezTo>
                  <a:pt x="327" y="198"/>
                  <a:pt x="286" y="182"/>
                  <a:pt x="286" y="174"/>
                </a:cubicBezTo>
                <a:cubicBezTo>
                  <a:pt x="286" y="166"/>
                  <a:pt x="286" y="150"/>
                  <a:pt x="278" y="150"/>
                </a:cubicBezTo>
                <a:cubicBezTo>
                  <a:pt x="278" y="150"/>
                  <a:pt x="278" y="142"/>
                  <a:pt x="269" y="150"/>
                </a:cubicBezTo>
                <a:lnTo>
                  <a:pt x="253" y="150"/>
                </a:lnTo>
                <a:lnTo>
                  <a:pt x="253" y="166"/>
                </a:lnTo>
                <a:lnTo>
                  <a:pt x="253" y="182"/>
                </a:lnTo>
                <a:cubicBezTo>
                  <a:pt x="261" y="198"/>
                  <a:pt x="261" y="198"/>
                  <a:pt x="261" y="206"/>
                </a:cubicBezTo>
                <a:cubicBezTo>
                  <a:pt x="269" y="214"/>
                  <a:pt x="278" y="214"/>
                  <a:pt x="278" y="222"/>
                </a:cubicBezTo>
                <a:lnTo>
                  <a:pt x="286" y="230"/>
                </a:lnTo>
                <a:lnTo>
                  <a:pt x="278" y="245"/>
                </a:lnTo>
                <a:cubicBezTo>
                  <a:pt x="278" y="253"/>
                  <a:pt x="269" y="261"/>
                  <a:pt x="269" y="261"/>
                </a:cubicBezTo>
                <a:lnTo>
                  <a:pt x="286" y="269"/>
                </a:lnTo>
                <a:cubicBezTo>
                  <a:pt x="286" y="269"/>
                  <a:pt x="294" y="277"/>
                  <a:pt x="286" y="285"/>
                </a:cubicBezTo>
                <a:lnTo>
                  <a:pt x="269" y="285"/>
                </a:lnTo>
                <a:cubicBezTo>
                  <a:pt x="269" y="277"/>
                  <a:pt x="261" y="285"/>
                  <a:pt x="261" y="269"/>
                </a:cubicBezTo>
                <a:cubicBezTo>
                  <a:pt x="269" y="261"/>
                  <a:pt x="269" y="253"/>
                  <a:pt x="269" y="253"/>
                </a:cubicBezTo>
                <a:cubicBezTo>
                  <a:pt x="261" y="253"/>
                  <a:pt x="253" y="238"/>
                  <a:pt x="253" y="238"/>
                </a:cubicBezTo>
                <a:cubicBezTo>
                  <a:pt x="253" y="238"/>
                  <a:pt x="269" y="261"/>
                  <a:pt x="245" y="222"/>
                </a:cubicBezTo>
                <a:lnTo>
                  <a:pt x="229" y="190"/>
                </a:lnTo>
                <a:lnTo>
                  <a:pt x="229" y="174"/>
                </a:lnTo>
                <a:lnTo>
                  <a:pt x="220" y="174"/>
                </a:lnTo>
                <a:lnTo>
                  <a:pt x="212" y="166"/>
                </a:lnTo>
                <a:lnTo>
                  <a:pt x="196" y="166"/>
                </a:lnTo>
                <a:lnTo>
                  <a:pt x="196" y="182"/>
                </a:lnTo>
                <a:cubicBezTo>
                  <a:pt x="188" y="182"/>
                  <a:pt x="188" y="198"/>
                  <a:pt x="188" y="198"/>
                </a:cubicBezTo>
                <a:cubicBezTo>
                  <a:pt x="180" y="198"/>
                  <a:pt x="180" y="214"/>
                  <a:pt x="180" y="214"/>
                </a:cubicBezTo>
                <a:cubicBezTo>
                  <a:pt x="180" y="214"/>
                  <a:pt x="188" y="214"/>
                  <a:pt x="188" y="222"/>
                </a:cubicBezTo>
                <a:cubicBezTo>
                  <a:pt x="196" y="230"/>
                  <a:pt x="196" y="238"/>
                  <a:pt x="196" y="238"/>
                </a:cubicBezTo>
                <a:lnTo>
                  <a:pt x="188" y="230"/>
                </a:lnTo>
                <a:lnTo>
                  <a:pt x="180" y="230"/>
                </a:lnTo>
                <a:lnTo>
                  <a:pt x="171" y="238"/>
                </a:lnTo>
                <a:lnTo>
                  <a:pt x="171" y="253"/>
                </a:lnTo>
                <a:lnTo>
                  <a:pt x="180" y="261"/>
                </a:lnTo>
                <a:lnTo>
                  <a:pt x="180" y="269"/>
                </a:lnTo>
                <a:lnTo>
                  <a:pt x="188" y="277"/>
                </a:lnTo>
                <a:lnTo>
                  <a:pt x="188" y="285"/>
                </a:lnTo>
                <a:cubicBezTo>
                  <a:pt x="180" y="285"/>
                  <a:pt x="188" y="293"/>
                  <a:pt x="180" y="285"/>
                </a:cubicBezTo>
                <a:cubicBezTo>
                  <a:pt x="171" y="277"/>
                  <a:pt x="171" y="285"/>
                  <a:pt x="163" y="277"/>
                </a:cubicBezTo>
                <a:lnTo>
                  <a:pt x="163" y="261"/>
                </a:lnTo>
                <a:cubicBezTo>
                  <a:pt x="163" y="261"/>
                  <a:pt x="171" y="253"/>
                  <a:pt x="155" y="245"/>
                </a:cubicBezTo>
                <a:cubicBezTo>
                  <a:pt x="147" y="230"/>
                  <a:pt x="147" y="222"/>
                  <a:pt x="147" y="222"/>
                </a:cubicBezTo>
                <a:cubicBezTo>
                  <a:pt x="147" y="222"/>
                  <a:pt x="139" y="214"/>
                  <a:pt x="130" y="214"/>
                </a:cubicBezTo>
                <a:cubicBezTo>
                  <a:pt x="130" y="222"/>
                  <a:pt x="130" y="222"/>
                  <a:pt x="122" y="222"/>
                </a:cubicBezTo>
                <a:cubicBezTo>
                  <a:pt x="114" y="230"/>
                  <a:pt x="114" y="230"/>
                  <a:pt x="106" y="230"/>
                </a:cubicBezTo>
                <a:lnTo>
                  <a:pt x="90" y="230"/>
                </a:lnTo>
                <a:lnTo>
                  <a:pt x="73" y="238"/>
                </a:lnTo>
                <a:cubicBezTo>
                  <a:pt x="65" y="253"/>
                  <a:pt x="57" y="253"/>
                  <a:pt x="65" y="253"/>
                </a:cubicBezTo>
                <a:cubicBezTo>
                  <a:pt x="73" y="261"/>
                  <a:pt x="90" y="261"/>
                  <a:pt x="90" y="261"/>
                </a:cubicBezTo>
                <a:cubicBezTo>
                  <a:pt x="90" y="261"/>
                  <a:pt x="98" y="261"/>
                  <a:pt x="106" y="269"/>
                </a:cubicBezTo>
                <a:cubicBezTo>
                  <a:pt x="114" y="269"/>
                  <a:pt x="130" y="285"/>
                  <a:pt x="130" y="285"/>
                </a:cubicBezTo>
                <a:lnTo>
                  <a:pt x="147" y="309"/>
                </a:lnTo>
                <a:lnTo>
                  <a:pt x="147" y="317"/>
                </a:lnTo>
                <a:lnTo>
                  <a:pt x="147" y="325"/>
                </a:lnTo>
                <a:lnTo>
                  <a:pt x="147" y="333"/>
                </a:lnTo>
                <a:cubicBezTo>
                  <a:pt x="147" y="333"/>
                  <a:pt x="155" y="341"/>
                  <a:pt x="163" y="349"/>
                </a:cubicBezTo>
                <a:lnTo>
                  <a:pt x="180" y="349"/>
                </a:lnTo>
                <a:lnTo>
                  <a:pt x="188" y="349"/>
                </a:lnTo>
                <a:lnTo>
                  <a:pt x="204" y="341"/>
                </a:lnTo>
                <a:lnTo>
                  <a:pt x="212" y="341"/>
                </a:lnTo>
                <a:cubicBezTo>
                  <a:pt x="229" y="341"/>
                  <a:pt x="220" y="349"/>
                  <a:pt x="229" y="349"/>
                </a:cubicBezTo>
                <a:cubicBezTo>
                  <a:pt x="229" y="341"/>
                  <a:pt x="245" y="341"/>
                  <a:pt x="245" y="341"/>
                </a:cubicBezTo>
                <a:cubicBezTo>
                  <a:pt x="253" y="341"/>
                  <a:pt x="253" y="333"/>
                  <a:pt x="261" y="341"/>
                </a:cubicBezTo>
                <a:lnTo>
                  <a:pt x="261" y="356"/>
                </a:lnTo>
                <a:cubicBezTo>
                  <a:pt x="270" y="356"/>
                  <a:pt x="278" y="364"/>
                  <a:pt x="278" y="364"/>
                </a:cubicBezTo>
                <a:lnTo>
                  <a:pt x="294" y="364"/>
                </a:lnTo>
                <a:cubicBezTo>
                  <a:pt x="294" y="364"/>
                  <a:pt x="294" y="356"/>
                  <a:pt x="302" y="356"/>
                </a:cubicBezTo>
                <a:cubicBezTo>
                  <a:pt x="302" y="349"/>
                  <a:pt x="310" y="341"/>
                  <a:pt x="310" y="341"/>
                </a:cubicBezTo>
                <a:cubicBezTo>
                  <a:pt x="310" y="341"/>
                  <a:pt x="302" y="341"/>
                  <a:pt x="310" y="349"/>
                </a:cubicBezTo>
                <a:cubicBezTo>
                  <a:pt x="319" y="349"/>
                  <a:pt x="319" y="349"/>
                  <a:pt x="327" y="356"/>
                </a:cubicBezTo>
                <a:lnTo>
                  <a:pt x="343" y="349"/>
                </a:lnTo>
                <a:lnTo>
                  <a:pt x="351" y="349"/>
                </a:lnTo>
                <a:cubicBezTo>
                  <a:pt x="351" y="349"/>
                  <a:pt x="343" y="356"/>
                  <a:pt x="351" y="356"/>
                </a:cubicBezTo>
                <a:cubicBezTo>
                  <a:pt x="351" y="356"/>
                  <a:pt x="343" y="356"/>
                  <a:pt x="351" y="356"/>
                </a:cubicBezTo>
                <a:cubicBezTo>
                  <a:pt x="359" y="356"/>
                  <a:pt x="368" y="349"/>
                  <a:pt x="368" y="349"/>
                </a:cubicBezTo>
                <a:cubicBezTo>
                  <a:pt x="368" y="349"/>
                  <a:pt x="359" y="356"/>
                  <a:pt x="359" y="364"/>
                </a:cubicBezTo>
                <a:lnTo>
                  <a:pt x="359" y="372"/>
                </a:lnTo>
                <a:cubicBezTo>
                  <a:pt x="359" y="372"/>
                  <a:pt x="359" y="380"/>
                  <a:pt x="368" y="388"/>
                </a:cubicBezTo>
                <a:lnTo>
                  <a:pt x="400" y="388"/>
                </a:lnTo>
                <a:lnTo>
                  <a:pt x="400" y="396"/>
                </a:lnTo>
                <a:lnTo>
                  <a:pt x="409" y="388"/>
                </a:lnTo>
                <a:lnTo>
                  <a:pt x="425" y="388"/>
                </a:lnTo>
                <a:cubicBezTo>
                  <a:pt x="425" y="396"/>
                  <a:pt x="417" y="404"/>
                  <a:pt x="417" y="404"/>
                </a:cubicBezTo>
                <a:lnTo>
                  <a:pt x="417" y="412"/>
                </a:lnTo>
                <a:lnTo>
                  <a:pt x="433" y="412"/>
                </a:lnTo>
                <a:cubicBezTo>
                  <a:pt x="433" y="412"/>
                  <a:pt x="433" y="404"/>
                  <a:pt x="441" y="412"/>
                </a:cubicBezTo>
                <a:lnTo>
                  <a:pt x="441" y="420"/>
                </a:lnTo>
                <a:cubicBezTo>
                  <a:pt x="433" y="420"/>
                  <a:pt x="433" y="412"/>
                  <a:pt x="433" y="428"/>
                </a:cubicBezTo>
                <a:cubicBezTo>
                  <a:pt x="425" y="436"/>
                  <a:pt x="433" y="444"/>
                  <a:pt x="433" y="444"/>
                </a:cubicBezTo>
                <a:lnTo>
                  <a:pt x="441" y="460"/>
                </a:lnTo>
                <a:lnTo>
                  <a:pt x="458" y="460"/>
                </a:lnTo>
                <a:cubicBezTo>
                  <a:pt x="466" y="452"/>
                  <a:pt x="466" y="452"/>
                  <a:pt x="474" y="452"/>
                </a:cubicBezTo>
                <a:lnTo>
                  <a:pt x="482" y="460"/>
                </a:lnTo>
                <a:lnTo>
                  <a:pt x="482" y="467"/>
                </a:lnTo>
                <a:lnTo>
                  <a:pt x="482" y="475"/>
                </a:lnTo>
                <a:cubicBezTo>
                  <a:pt x="490" y="483"/>
                  <a:pt x="499" y="483"/>
                  <a:pt x="499" y="483"/>
                </a:cubicBezTo>
                <a:lnTo>
                  <a:pt x="499" y="491"/>
                </a:lnTo>
                <a:cubicBezTo>
                  <a:pt x="507" y="499"/>
                  <a:pt x="523" y="507"/>
                  <a:pt x="523" y="507"/>
                </a:cubicBezTo>
                <a:lnTo>
                  <a:pt x="499" y="499"/>
                </a:lnTo>
                <a:lnTo>
                  <a:pt x="474" y="499"/>
                </a:lnTo>
                <a:lnTo>
                  <a:pt x="449" y="499"/>
                </a:lnTo>
                <a:lnTo>
                  <a:pt x="425" y="507"/>
                </a:lnTo>
                <a:cubicBezTo>
                  <a:pt x="425" y="507"/>
                  <a:pt x="409" y="515"/>
                  <a:pt x="400" y="515"/>
                </a:cubicBezTo>
                <a:lnTo>
                  <a:pt x="384" y="515"/>
                </a:lnTo>
                <a:cubicBezTo>
                  <a:pt x="384" y="523"/>
                  <a:pt x="376" y="523"/>
                  <a:pt x="368" y="523"/>
                </a:cubicBezTo>
                <a:lnTo>
                  <a:pt x="343" y="523"/>
                </a:lnTo>
                <a:lnTo>
                  <a:pt x="335" y="523"/>
                </a:lnTo>
                <a:lnTo>
                  <a:pt x="310" y="531"/>
                </a:lnTo>
                <a:lnTo>
                  <a:pt x="319" y="539"/>
                </a:lnTo>
                <a:lnTo>
                  <a:pt x="335" y="547"/>
                </a:lnTo>
                <a:cubicBezTo>
                  <a:pt x="343" y="547"/>
                  <a:pt x="351" y="555"/>
                  <a:pt x="351" y="555"/>
                </a:cubicBezTo>
                <a:cubicBezTo>
                  <a:pt x="351" y="555"/>
                  <a:pt x="359" y="563"/>
                  <a:pt x="368" y="571"/>
                </a:cubicBezTo>
                <a:lnTo>
                  <a:pt x="376" y="578"/>
                </a:lnTo>
                <a:lnTo>
                  <a:pt x="392" y="586"/>
                </a:lnTo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21" name="Freeform 113">
            <a:extLst>
              <a:ext uri="{FF2B5EF4-FFF2-40B4-BE49-F238E27FC236}">
                <a16:creationId xmlns:a16="http://schemas.microsoft.com/office/drawing/2014/main" id="{96CA08EC-F6AA-B01B-F731-8A6641DEF59E}"/>
              </a:ext>
            </a:extLst>
          </p:cNvPr>
          <p:cNvSpPr>
            <a:spLocks noChangeArrowheads="1"/>
          </p:cNvSpPr>
          <p:nvPr>
            <p:custDataLst>
              <p:tags r:id="rId113"/>
            </p:custDataLst>
          </p:nvPr>
        </p:nvSpPr>
        <p:spPr bwMode="auto">
          <a:xfrm>
            <a:off x="4104244" y="1329433"/>
            <a:ext cx="800558" cy="644793"/>
          </a:xfrm>
          <a:custGeom>
            <a:avLst/>
            <a:gdLst>
              <a:gd name="T0" fmla="*/ 376 w 1947"/>
              <a:gd name="T1" fmla="*/ 618 h 1570"/>
              <a:gd name="T2" fmla="*/ 245 w 1947"/>
              <a:gd name="T3" fmla="*/ 578 h 1570"/>
              <a:gd name="T4" fmla="*/ 81 w 1947"/>
              <a:gd name="T5" fmla="*/ 555 h 1570"/>
              <a:gd name="T6" fmla="*/ 106 w 1947"/>
              <a:gd name="T7" fmla="*/ 602 h 1570"/>
              <a:gd name="T8" fmla="*/ 278 w 1947"/>
              <a:gd name="T9" fmla="*/ 721 h 1570"/>
              <a:gd name="T10" fmla="*/ 286 w 1947"/>
              <a:gd name="T11" fmla="*/ 848 h 1570"/>
              <a:gd name="T12" fmla="*/ 278 w 1947"/>
              <a:gd name="T13" fmla="*/ 896 h 1570"/>
              <a:gd name="T14" fmla="*/ 204 w 1947"/>
              <a:gd name="T15" fmla="*/ 1007 h 1570"/>
              <a:gd name="T16" fmla="*/ 73 w 1947"/>
              <a:gd name="T17" fmla="*/ 983 h 1570"/>
              <a:gd name="T18" fmla="*/ 163 w 1947"/>
              <a:gd name="T19" fmla="*/ 1094 h 1570"/>
              <a:gd name="T20" fmla="*/ 392 w 1947"/>
              <a:gd name="T21" fmla="*/ 1284 h 1570"/>
              <a:gd name="T22" fmla="*/ 695 w 1947"/>
              <a:gd name="T23" fmla="*/ 1546 h 1570"/>
              <a:gd name="T24" fmla="*/ 1071 w 1947"/>
              <a:gd name="T25" fmla="*/ 1498 h 1570"/>
              <a:gd name="T26" fmla="*/ 1341 w 1947"/>
              <a:gd name="T27" fmla="*/ 1435 h 1570"/>
              <a:gd name="T28" fmla="*/ 1586 w 1947"/>
              <a:gd name="T29" fmla="*/ 1411 h 1570"/>
              <a:gd name="T30" fmla="*/ 1733 w 1947"/>
              <a:gd name="T31" fmla="*/ 1308 h 1570"/>
              <a:gd name="T32" fmla="*/ 1848 w 1947"/>
              <a:gd name="T33" fmla="*/ 1244 h 1570"/>
              <a:gd name="T34" fmla="*/ 1897 w 1947"/>
              <a:gd name="T35" fmla="*/ 1141 h 1570"/>
              <a:gd name="T36" fmla="*/ 1946 w 1947"/>
              <a:gd name="T37" fmla="*/ 1007 h 1570"/>
              <a:gd name="T38" fmla="*/ 1856 w 1947"/>
              <a:gd name="T39" fmla="*/ 840 h 1570"/>
              <a:gd name="T40" fmla="*/ 1815 w 1947"/>
              <a:gd name="T41" fmla="*/ 721 h 1570"/>
              <a:gd name="T42" fmla="*/ 1872 w 1947"/>
              <a:gd name="T43" fmla="*/ 586 h 1570"/>
              <a:gd name="T44" fmla="*/ 1684 w 1947"/>
              <a:gd name="T45" fmla="*/ 594 h 1570"/>
              <a:gd name="T46" fmla="*/ 1652 w 1947"/>
              <a:gd name="T47" fmla="*/ 460 h 1570"/>
              <a:gd name="T48" fmla="*/ 1537 w 1947"/>
              <a:gd name="T49" fmla="*/ 571 h 1570"/>
              <a:gd name="T50" fmla="*/ 1398 w 1947"/>
              <a:gd name="T51" fmla="*/ 547 h 1570"/>
              <a:gd name="T52" fmla="*/ 1251 w 1947"/>
              <a:gd name="T53" fmla="*/ 460 h 1570"/>
              <a:gd name="T54" fmla="*/ 1202 w 1947"/>
              <a:gd name="T55" fmla="*/ 602 h 1570"/>
              <a:gd name="T56" fmla="*/ 1161 w 1947"/>
              <a:gd name="T57" fmla="*/ 420 h 1570"/>
              <a:gd name="T58" fmla="*/ 1014 w 1947"/>
              <a:gd name="T59" fmla="*/ 428 h 1570"/>
              <a:gd name="T60" fmla="*/ 948 w 1947"/>
              <a:gd name="T61" fmla="*/ 539 h 1570"/>
              <a:gd name="T62" fmla="*/ 866 w 1947"/>
              <a:gd name="T63" fmla="*/ 356 h 1570"/>
              <a:gd name="T64" fmla="*/ 752 w 1947"/>
              <a:gd name="T65" fmla="*/ 563 h 1570"/>
              <a:gd name="T66" fmla="*/ 646 w 1947"/>
              <a:gd name="T67" fmla="*/ 555 h 1570"/>
              <a:gd name="T68" fmla="*/ 605 w 1947"/>
              <a:gd name="T69" fmla="*/ 563 h 1570"/>
              <a:gd name="T70" fmla="*/ 621 w 1947"/>
              <a:gd name="T71" fmla="*/ 444 h 1570"/>
              <a:gd name="T72" fmla="*/ 646 w 1947"/>
              <a:gd name="T73" fmla="*/ 388 h 1570"/>
              <a:gd name="T74" fmla="*/ 703 w 1947"/>
              <a:gd name="T75" fmla="*/ 301 h 1570"/>
              <a:gd name="T76" fmla="*/ 654 w 1947"/>
              <a:gd name="T77" fmla="*/ 182 h 1570"/>
              <a:gd name="T78" fmla="*/ 588 w 1947"/>
              <a:gd name="T79" fmla="*/ 24 h 1570"/>
              <a:gd name="T80" fmla="*/ 498 w 1947"/>
              <a:gd name="T81" fmla="*/ 24 h 1570"/>
              <a:gd name="T82" fmla="*/ 523 w 1947"/>
              <a:gd name="T83" fmla="*/ 71 h 1570"/>
              <a:gd name="T84" fmla="*/ 531 w 1947"/>
              <a:gd name="T85" fmla="*/ 111 h 1570"/>
              <a:gd name="T86" fmla="*/ 523 w 1947"/>
              <a:gd name="T87" fmla="*/ 190 h 1570"/>
              <a:gd name="T88" fmla="*/ 482 w 1947"/>
              <a:gd name="T89" fmla="*/ 230 h 1570"/>
              <a:gd name="T90" fmla="*/ 441 w 1947"/>
              <a:gd name="T91" fmla="*/ 214 h 1570"/>
              <a:gd name="T92" fmla="*/ 433 w 1947"/>
              <a:gd name="T93" fmla="*/ 119 h 1570"/>
              <a:gd name="T94" fmla="*/ 335 w 1947"/>
              <a:gd name="T95" fmla="*/ 79 h 1570"/>
              <a:gd name="T96" fmla="*/ 310 w 1947"/>
              <a:gd name="T97" fmla="*/ 158 h 1570"/>
              <a:gd name="T98" fmla="*/ 278 w 1947"/>
              <a:gd name="T99" fmla="*/ 222 h 1570"/>
              <a:gd name="T100" fmla="*/ 245 w 1947"/>
              <a:gd name="T101" fmla="*/ 222 h 1570"/>
              <a:gd name="T102" fmla="*/ 196 w 1947"/>
              <a:gd name="T103" fmla="*/ 238 h 1570"/>
              <a:gd name="T104" fmla="*/ 163 w 1947"/>
              <a:gd name="T105" fmla="*/ 277 h 1570"/>
              <a:gd name="T106" fmla="*/ 90 w 1947"/>
              <a:gd name="T107" fmla="*/ 261 h 1570"/>
              <a:gd name="T108" fmla="*/ 204 w 1947"/>
              <a:gd name="T109" fmla="*/ 341 h 1570"/>
              <a:gd name="T110" fmla="*/ 310 w 1947"/>
              <a:gd name="T111" fmla="*/ 349 h 1570"/>
              <a:gd name="T112" fmla="*/ 400 w 1947"/>
              <a:gd name="T113" fmla="*/ 388 h 1570"/>
              <a:gd name="T114" fmla="*/ 433 w 1947"/>
              <a:gd name="T115" fmla="*/ 444 h 1570"/>
              <a:gd name="T116" fmla="*/ 499 w 1947"/>
              <a:gd name="T117" fmla="*/ 499 h 1570"/>
              <a:gd name="T118" fmla="*/ 319 w 1947"/>
              <a:gd name="T119" fmla="*/ 539 h 1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947" h="1570">
                <a:moveTo>
                  <a:pt x="392" y="586"/>
                </a:moveTo>
                <a:lnTo>
                  <a:pt x="425" y="610"/>
                </a:lnTo>
                <a:lnTo>
                  <a:pt x="449" y="594"/>
                </a:lnTo>
                <a:lnTo>
                  <a:pt x="466" y="578"/>
                </a:lnTo>
                <a:lnTo>
                  <a:pt x="482" y="594"/>
                </a:lnTo>
                <a:lnTo>
                  <a:pt x="458" y="618"/>
                </a:lnTo>
                <a:lnTo>
                  <a:pt x="441" y="634"/>
                </a:lnTo>
                <a:lnTo>
                  <a:pt x="441" y="658"/>
                </a:lnTo>
                <a:lnTo>
                  <a:pt x="409" y="650"/>
                </a:lnTo>
                <a:lnTo>
                  <a:pt x="376" y="618"/>
                </a:lnTo>
                <a:lnTo>
                  <a:pt x="359" y="610"/>
                </a:lnTo>
                <a:lnTo>
                  <a:pt x="343" y="602"/>
                </a:lnTo>
                <a:lnTo>
                  <a:pt x="335" y="578"/>
                </a:lnTo>
                <a:lnTo>
                  <a:pt x="327" y="586"/>
                </a:lnTo>
                <a:lnTo>
                  <a:pt x="294" y="594"/>
                </a:lnTo>
                <a:lnTo>
                  <a:pt x="286" y="602"/>
                </a:lnTo>
                <a:lnTo>
                  <a:pt x="278" y="586"/>
                </a:lnTo>
                <a:lnTo>
                  <a:pt x="286" y="571"/>
                </a:lnTo>
                <a:lnTo>
                  <a:pt x="261" y="571"/>
                </a:lnTo>
                <a:cubicBezTo>
                  <a:pt x="261" y="571"/>
                  <a:pt x="253" y="578"/>
                  <a:pt x="245" y="578"/>
                </a:cubicBezTo>
                <a:lnTo>
                  <a:pt x="229" y="578"/>
                </a:lnTo>
                <a:cubicBezTo>
                  <a:pt x="220" y="571"/>
                  <a:pt x="212" y="563"/>
                  <a:pt x="204" y="563"/>
                </a:cubicBezTo>
                <a:cubicBezTo>
                  <a:pt x="196" y="555"/>
                  <a:pt x="188" y="547"/>
                  <a:pt x="188" y="547"/>
                </a:cubicBezTo>
                <a:lnTo>
                  <a:pt x="171" y="555"/>
                </a:lnTo>
                <a:lnTo>
                  <a:pt x="155" y="571"/>
                </a:lnTo>
                <a:lnTo>
                  <a:pt x="155" y="563"/>
                </a:lnTo>
                <a:lnTo>
                  <a:pt x="139" y="555"/>
                </a:lnTo>
                <a:lnTo>
                  <a:pt x="106" y="555"/>
                </a:lnTo>
                <a:lnTo>
                  <a:pt x="98" y="555"/>
                </a:lnTo>
                <a:lnTo>
                  <a:pt x="81" y="555"/>
                </a:lnTo>
                <a:lnTo>
                  <a:pt x="73" y="547"/>
                </a:lnTo>
                <a:lnTo>
                  <a:pt x="49" y="539"/>
                </a:lnTo>
                <a:lnTo>
                  <a:pt x="24" y="531"/>
                </a:lnTo>
                <a:cubicBezTo>
                  <a:pt x="24" y="531"/>
                  <a:pt x="16" y="531"/>
                  <a:pt x="16" y="539"/>
                </a:cubicBezTo>
                <a:cubicBezTo>
                  <a:pt x="16" y="555"/>
                  <a:pt x="0" y="563"/>
                  <a:pt x="0" y="571"/>
                </a:cubicBezTo>
                <a:cubicBezTo>
                  <a:pt x="8" y="578"/>
                  <a:pt x="16" y="578"/>
                  <a:pt x="24" y="594"/>
                </a:cubicBezTo>
                <a:lnTo>
                  <a:pt x="41" y="602"/>
                </a:lnTo>
                <a:lnTo>
                  <a:pt x="65" y="602"/>
                </a:lnTo>
                <a:lnTo>
                  <a:pt x="73" y="594"/>
                </a:lnTo>
                <a:lnTo>
                  <a:pt x="106" y="602"/>
                </a:lnTo>
                <a:cubicBezTo>
                  <a:pt x="114" y="618"/>
                  <a:pt x="122" y="634"/>
                  <a:pt x="130" y="626"/>
                </a:cubicBezTo>
                <a:lnTo>
                  <a:pt x="139" y="618"/>
                </a:lnTo>
                <a:lnTo>
                  <a:pt x="155" y="626"/>
                </a:lnTo>
                <a:cubicBezTo>
                  <a:pt x="155" y="626"/>
                  <a:pt x="163" y="658"/>
                  <a:pt x="180" y="658"/>
                </a:cubicBezTo>
                <a:cubicBezTo>
                  <a:pt x="188" y="666"/>
                  <a:pt x="196" y="666"/>
                  <a:pt x="196" y="666"/>
                </a:cubicBezTo>
                <a:lnTo>
                  <a:pt x="229" y="681"/>
                </a:lnTo>
                <a:lnTo>
                  <a:pt x="245" y="681"/>
                </a:lnTo>
                <a:cubicBezTo>
                  <a:pt x="245" y="681"/>
                  <a:pt x="269" y="674"/>
                  <a:pt x="269" y="681"/>
                </a:cubicBezTo>
                <a:cubicBezTo>
                  <a:pt x="269" y="689"/>
                  <a:pt x="286" y="697"/>
                  <a:pt x="278" y="705"/>
                </a:cubicBezTo>
                <a:lnTo>
                  <a:pt x="278" y="721"/>
                </a:lnTo>
                <a:lnTo>
                  <a:pt x="278" y="737"/>
                </a:lnTo>
                <a:lnTo>
                  <a:pt x="253" y="761"/>
                </a:lnTo>
                <a:lnTo>
                  <a:pt x="253" y="777"/>
                </a:lnTo>
                <a:cubicBezTo>
                  <a:pt x="253" y="777"/>
                  <a:pt x="253" y="793"/>
                  <a:pt x="245" y="793"/>
                </a:cubicBezTo>
                <a:cubicBezTo>
                  <a:pt x="245" y="800"/>
                  <a:pt x="237" y="824"/>
                  <a:pt x="237" y="824"/>
                </a:cubicBezTo>
                <a:lnTo>
                  <a:pt x="261" y="808"/>
                </a:lnTo>
                <a:cubicBezTo>
                  <a:pt x="261" y="808"/>
                  <a:pt x="269" y="808"/>
                  <a:pt x="269" y="816"/>
                </a:cubicBezTo>
                <a:cubicBezTo>
                  <a:pt x="261" y="832"/>
                  <a:pt x="253" y="840"/>
                  <a:pt x="253" y="840"/>
                </a:cubicBezTo>
                <a:cubicBezTo>
                  <a:pt x="253" y="840"/>
                  <a:pt x="261" y="864"/>
                  <a:pt x="269" y="856"/>
                </a:cubicBezTo>
                <a:lnTo>
                  <a:pt x="286" y="848"/>
                </a:lnTo>
                <a:lnTo>
                  <a:pt x="302" y="840"/>
                </a:lnTo>
                <a:lnTo>
                  <a:pt x="327" y="832"/>
                </a:lnTo>
                <a:lnTo>
                  <a:pt x="335" y="824"/>
                </a:lnTo>
                <a:lnTo>
                  <a:pt x="376" y="824"/>
                </a:lnTo>
                <a:cubicBezTo>
                  <a:pt x="376" y="824"/>
                  <a:pt x="384" y="848"/>
                  <a:pt x="376" y="848"/>
                </a:cubicBezTo>
                <a:cubicBezTo>
                  <a:pt x="368" y="848"/>
                  <a:pt x="335" y="840"/>
                  <a:pt x="335" y="840"/>
                </a:cubicBezTo>
                <a:lnTo>
                  <a:pt x="319" y="848"/>
                </a:lnTo>
                <a:lnTo>
                  <a:pt x="302" y="856"/>
                </a:lnTo>
                <a:lnTo>
                  <a:pt x="286" y="872"/>
                </a:lnTo>
                <a:cubicBezTo>
                  <a:pt x="286" y="872"/>
                  <a:pt x="269" y="896"/>
                  <a:pt x="278" y="896"/>
                </a:cubicBezTo>
                <a:cubicBezTo>
                  <a:pt x="286" y="903"/>
                  <a:pt x="261" y="911"/>
                  <a:pt x="261" y="911"/>
                </a:cubicBezTo>
                <a:lnTo>
                  <a:pt x="253" y="911"/>
                </a:lnTo>
                <a:lnTo>
                  <a:pt x="253" y="919"/>
                </a:lnTo>
                <a:lnTo>
                  <a:pt x="261" y="927"/>
                </a:lnTo>
                <a:lnTo>
                  <a:pt x="294" y="927"/>
                </a:lnTo>
                <a:cubicBezTo>
                  <a:pt x="294" y="927"/>
                  <a:pt x="310" y="919"/>
                  <a:pt x="302" y="927"/>
                </a:cubicBezTo>
                <a:cubicBezTo>
                  <a:pt x="302" y="935"/>
                  <a:pt x="294" y="959"/>
                  <a:pt x="294" y="959"/>
                </a:cubicBezTo>
                <a:cubicBezTo>
                  <a:pt x="294" y="959"/>
                  <a:pt x="286" y="967"/>
                  <a:pt x="261" y="967"/>
                </a:cubicBezTo>
                <a:cubicBezTo>
                  <a:pt x="245" y="975"/>
                  <a:pt x="220" y="983"/>
                  <a:pt x="220" y="983"/>
                </a:cubicBezTo>
                <a:lnTo>
                  <a:pt x="204" y="1007"/>
                </a:lnTo>
                <a:cubicBezTo>
                  <a:pt x="204" y="1007"/>
                  <a:pt x="212" y="1014"/>
                  <a:pt x="188" y="1014"/>
                </a:cubicBezTo>
                <a:lnTo>
                  <a:pt x="155" y="1014"/>
                </a:lnTo>
                <a:lnTo>
                  <a:pt x="139" y="1014"/>
                </a:lnTo>
                <a:lnTo>
                  <a:pt x="122" y="1022"/>
                </a:lnTo>
                <a:cubicBezTo>
                  <a:pt x="114" y="1014"/>
                  <a:pt x="106" y="1007"/>
                  <a:pt x="106" y="1007"/>
                </a:cubicBezTo>
                <a:lnTo>
                  <a:pt x="114" y="975"/>
                </a:lnTo>
                <a:lnTo>
                  <a:pt x="106" y="967"/>
                </a:lnTo>
                <a:lnTo>
                  <a:pt x="106" y="943"/>
                </a:lnTo>
                <a:cubicBezTo>
                  <a:pt x="106" y="943"/>
                  <a:pt x="81" y="959"/>
                  <a:pt x="81" y="967"/>
                </a:cubicBezTo>
                <a:cubicBezTo>
                  <a:pt x="73" y="967"/>
                  <a:pt x="73" y="983"/>
                  <a:pt x="73" y="983"/>
                </a:cubicBezTo>
                <a:lnTo>
                  <a:pt x="57" y="1007"/>
                </a:lnTo>
                <a:lnTo>
                  <a:pt x="49" y="1007"/>
                </a:lnTo>
                <a:lnTo>
                  <a:pt x="49" y="1038"/>
                </a:lnTo>
                <a:lnTo>
                  <a:pt x="41" y="1054"/>
                </a:lnTo>
                <a:cubicBezTo>
                  <a:pt x="41" y="1054"/>
                  <a:pt x="32" y="1054"/>
                  <a:pt x="41" y="1062"/>
                </a:cubicBezTo>
                <a:cubicBezTo>
                  <a:pt x="49" y="1062"/>
                  <a:pt x="81" y="1078"/>
                  <a:pt x="81" y="1078"/>
                </a:cubicBezTo>
                <a:cubicBezTo>
                  <a:pt x="81" y="1078"/>
                  <a:pt x="90" y="1070"/>
                  <a:pt x="106" y="1086"/>
                </a:cubicBezTo>
                <a:cubicBezTo>
                  <a:pt x="114" y="1094"/>
                  <a:pt x="130" y="1102"/>
                  <a:pt x="130" y="1102"/>
                </a:cubicBezTo>
                <a:lnTo>
                  <a:pt x="139" y="1102"/>
                </a:lnTo>
                <a:lnTo>
                  <a:pt x="163" y="1094"/>
                </a:lnTo>
                <a:lnTo>
                  <a:pt x="180" y="1110"/>
                </a:lnTo>
                <a:lnTo>
                  <a:pt x="220" y="1118"/>
                </a:lnTo>
                <a:cubicBezTo>
                  <a:pt x="220" y="1118"/>
                  <a:pt x="229" y="1133"/>
                  <a:pt x="229" y="1141"/>
                </a:cubicBezTo>
                <a:cubicBezTo>
                  <a:pt x="237" y="1141"/>
                  <a:pt x="253" y="1165"/>
                  <a:pt x="253" y="1165"/>
                </a:cubicBezTo>
                <a:cubicBezTo>
                  <a:pt x="253" y="1165"/>
                  <a:pt x="253" y="1149"/>
                  <a:pt x="269" y="1157"/>
                </a:cubicBezTo>
                <a:lnTo>
                  <a:pt x="302" y="1157"/>
                </a:lnTo>
                <a:cubicBezTo>
                  <a:pt x="302" y="1157"/>
                  <a:pt x="319" y="1157"/>
                  <a:pt x="327" y="1165"/>
                </a:cubicBezTo>
                <a:cubicBezTo>
                  <a:pt x="335" y="1173"/>
                  <a:pt x="359" y="1213"/>
                  <a:pt x="359" y="1213"/>
                </a:cubicBezTo>
                <a:lnTo>
                  <a:pt x="376" y="1252"/>
                </a:lnTo>
                <a:lnTo>
                  <a:pt x="392" y="1284"/>
                </a:lnTo>
                <a:cubicBezTo>
                  <a:pt x="392" y="1284"/>
                  <a:pt x="392" y="1292"/>
                  <a:pt x="408" y="1300"/>
                </a:cubicBezTo>
                <a:cubicBezTo>
                  <a:pt x="425" y="1316"/>
                  <a:pt x="433" y="1332"/>
                  <a:pt x="433" y="1332"/>
                </a:cubicBezTo>
                <a:cubicBezTo>
                  <a:pt x="433" y="1332"/>
                  <a:pt x="433" y="1340"/>
                  <a:pt x="441" y="1347"/>
                </a:cubicBezTo>
                <a:cubicBezTo>
                  <a:pt x="449" y="1363"/>
                  <a:pt x="466" y="1379"/>
                  <a:pt x="466" y="1379"/>
                </a:cubicBezTo>
                <a:cubicBezTo>
                  <a:pt x="466" y="1379"/>
                  <a:pt x="466" y="1387"/>
                  <a:pt x="474" y="1395"/>
                </a:cubicBezTo>
                <a:cubicBezTo>
                  <a:pt x="490" y="1403"/>
                  <a:pt x="507" y="1403"/>
                  <a:pt x="515" y="1411"/>
                </a:cubicBezTo>
                <a:cubicBezTo>
                  <a:pt x="531" y="1427"/>
                  <a:pt x="548" y="1443"/>
                  <a:pt x="548" y="1443"/>
                </a:cubicBezTo>
                <a:cubicBezTo>
                  <a:pt x="548" y="1443"/>
                  <a:pt x="588" y="1482"/>
                  <a:pt x="605" y="1498"/>
                </a:cubicBezTo>
                <a:cubicBezTo>
                  <a:pt x="621" y="1514"/>
                  <a:pt x="637" y="1530"/>
                  <a:pt x="646" y="1530"/>
                </a:cubicBezTo>
                <a:cubicBezTo>
                  <a:pt x="654" y="1538"/>
                  <a:pt x="695" y="1546"/>
                  <a:pt x="695" y="1546"/>
                </a:cubicBezTo>
                <a:cubicBezTo>
                  <a:pt x="695" y="1546"/>
                  <a:pt x="719" y="1569"/>
                  <a:pt x="727" y="1561"/>
                </a:cubicBezTo>
                <a:cubicBezTo>
                  <a:pt x="744" y="1561"/>
                  <a:pt x="711" y="1554"/>
                  <a:pt x="760" y="1554"/>
                </a:cubicBezTo>
                <a:cubicBezTo>
                  <a:pt x="809" y="1554"/>
                  <a:pt x="842" y="1569"/>
                  <a:pt x="842" y="1569"/>
                </a:cubicBezTo>
                <a:lnTo>
                  <a:pt x="875" y="1546"/>
                </a:lnTo>
                <a:cubicBezTo>
                  <a:pt x="875" y="1546"/>
                  <a:pt x="866" y="1561"/>
                  <a:pt x="875" y="1538"/>
                </a:cubicBezTo>
                <a:lnTo>
                  <a:pt x="891" y="1506"/>
                </a:lnTo>
                <a:cubicBezTo>
                  <a:pt x="891" y="1506"/>
                  <a:pt x="883" y="1490"/>
                  <a:pt x="907" y="1490"/>
                </a:cubicBezTo>
                <a:cubicBezTo>
                  <a:pt x="924" y="1490"/>
                  <a:pt x="973" y="1482"/>
                  <a:pt x="981" y="1482"/>
                </a:cubicBezTo>
                <a:cubicBezTo>
                  <a:pt x="989" y="1482"/>
                  <a:pt x="989" y="1490"/>
                  <a:pt x="997" y="1482"/>
                </a:cubicBezTo>
                <a:cubicBezTo>
                  <a:pt x="997" y="1474"/>
                  <a:pt x="1071" y="1498"/>
                  <a:pt x="1071" y="1498"/>
                </a:cubicBezTo>
                <a:lnTo>
                  <a:pt x="1079" y="1482"/>
                </a:lnTo>
                <a:lnTo>
                  <a:pt x="1095" y="1474"/>
                </a:lnTo>
                <a:lnTo>
                  <a:pt x="1112" y="1506"/>
                </a:lnTo>
                <a:lnTo>
                  <a:pt x="1145" y="1506"/>
                </a:lnTo>
                <a:cubicBezTo>
                  <a:pt x="1145" y="1506"/>
                  <a:pt x="1169" y="1498"/>
                  <a:pt x="1185" y="1498"/>
                </a:cubicBezTo>
                <a:cubicBezTo>
                  <a:pt x="1194" y="1498"/>
                  <a:pt x="1226" y="1482"/>
                  <a:pt x="1226" y="1482"/>
                </a:cubicBezTo>
                <a:cubicBezTo>
                  <a:pt x="1226" y="1482"/>
                  <a:pt x="1234" y="1466"/>
                  <a:pt x="1243" y="1466"/>
                </a:cubicBezTo>
                <a:cubicBezTo>
                  <a:pt x="1251" y="1458"/>
                  <a:pt x="1275" y="1458"/>
                  <a:pt x="1284" y="1458"/>
                </a:cubicBezTo>
                <a:cubicBezTo>
                  <a:pt x="1300" y="1458"/>
                  <a:pt x="1324" y="1451"/>
                  <a:pt x="1324" y="1451"/>
                </a:cubicBezTo>
                <a:lnTo>
                  <a:pt x="1341" y="1435"/>
                </a:lnTo>
                <a:cubicBezTo>
                  <a:pt x="1341" y="1435"/>
                  <a:pt x="1349" y="1427"/>
                  <a:pt x="1365" y="1427"/>
                </a:cubicBezTo>
                <a:cubicBezTo>
                  <a:pt x="1373" y="1435"/>
                  <a:pt x="1406" y="1435"/>
                  <a:pt x="1406" y="1435"/>
                </a:cubicBezTo>
                <a:lnTo>
                  <a:pt x="1431" y="1419"/>
                </a:lnTo>
                <a:lnTo>
                  <a:pt x="1455" y="1411"/>
                </a:lnTo>
                <a:cubicBezTo>
                  <a:pt x="1455" y="1411"/>
                  <a:pt x="1455" y="1403"/>
                  <a:pt x="1463" y="1411"/>
                </a:cubicBezTo>
                <a:cubicBezTo>
                  <a:pt x="1472" y="1419"/>
                  <a:pt x="1488" y="1435"/>
                  <a:pt x="1488" y="1435"/>
                </a:cubicBezTo>
                <a:lnTo>
                  <a:pt x="1521" y="1443"/>
                </a:lnTo>
                <a:lnTo>
                  <a:pt x="1545" y="1435"/>
                </a:lnTo>
                <a:lnTo>
                  <a:pt x="1562" y="1419"/>
                </a:lnTo>
                <a:cubicBezTo>
                  <a:pt x="1562" y="1419"/>
                  <a:pt x="1562" y="1411"/>
                  <a:pt x="1586" y="1411"/>
                </a:cubicBezTo>
                <a:lnTo>
                  <a:pt x="1619" y="1411"/>
                </a:lnTo>
                <a:cubicBezTo>
                  <a:pt x="1619" y="1411"/>
                  <a:pt x="1643" y="1411"/>
                  <a:pt x="1643" y="1403"/>
                </a:cubicBezTo>
                <a:cubicBezTo>
                  <a:pt x="1643" y="1395"/>
                  <a:pt x="1643" y="1379"/>
                  <a:pt x="1652" y="1371"/>
                </a:cubicBezTo>
                <a:cubicBezTo>
                  <a:pt x="1652" y="1363"/>
                  <a:pt x="1684" y="1332"/>
                  <a:pt x="1684" y="1332"/>
                </a:cubicBezTo>
                <a:lnTo>
                  <a:pt x="1701" y="1324"/>
                </a:lnTo>
                <a:lnTo>
                  <a:pt x="1692" y="1300"/>
                </a:lnTo>
                <a:lnTo>
                  <a:pt x="1701" y="1284"/>
                </a:lnTo>
                <a:cubicBezTo>
                  <a:pt x="1701" y="1284"/>
                  <a:pt x="1725" y="1276"/>
                  <a:pt x="1717" y="1292"/>
                </a:cubicBezTo>
                <a:cubicBezTo>
                  <a:pt x="1709" y="1308"/>
                  <a:pt x="1717" y="1316"/>
                  <a:pt x="1717" y="1316"/>
                </a:cubicBezTo>
                <a:cubicBezTo>
                  <a:pt x="1717" y="1316"/>
                  <a:pt x="1725" y="1308"/>
                  <a:pt x="1733" y="1308"/>
                </a:cubicBezTo>
                <a:cubicBezTo>
                  <a:pt x="1750" y="1308"/>
                  <a:pt x="1750" y="1300"/>
                  <a:pt x="1758" y="1300"/>
                </a:cubicBezTo>
                <a:cubicBezTo>
                  <a:pt x="1774" y="1308"/>
                  <a:pt x="1782" y="1300"/>
                  <a:pt x="1782" y="1300"/>
                </a:cubicBezTo>
                <a:cubicBezTo>
                  <a:pt x="1782" y="1300"/>
                  <a:pt x="1774" y="1284"/>
                  <a:pt x="1782" y="1284"/>
                </a:cubicBezTo>
                <a:cubicBezTo>
                  <a:pt x="1791" y="1292"/>
                  <a:pt x="1807" y="1292"/>
                  <a:pt x="1807" y="1292"/>
                </a:cubicBezTo>
                <a:cubicBezTo>
                  <a:pt x="1807" y="1292"/>
                  <a:pt x="1815" y="1292"/>
                  <a:pt x="1815" y="1284"/>
                </a:cubicBezTo>
                <a:cubicBezTo>
                  <a:pt x="1815" y="1284"/>
                  <a:pt x="1791" y="1268"/>
                  <a:pt x="1799" y="1268"/>
                </a:cubicBezTo>
                <a:cubicBezTo>
                  <a:pt x="1807" y="1276"/>
                  <a:pt x="1823" y="1268"/>
                  <a:pt x="1823" y="1268"/>
                </a:cubicBezTo>
                <a:cubicBezTo>
                  <a:pt x="1823" y="1268"/>
                  <a:pt x="1848" y="1276"/>
                  <a:pt x="1823" y="1260"/>
                </a:cubicBezTo>
                <a:cubicBezTo>
                  <a:pt x="1807" y="1236"/>
                  <a:pt x="1831" y="1236"/>
                  <a:pt x="1831" y="1236"/>
                </a:cubicBezTo>
                <a:cubicBezTo>
                  <a:pt x="1831" y="1236"/>
                  <a:pt x="1856" y="1244"/>
                  <a:pt x="1848" y="1244"/>
                </a:cubicBezTo>
                <a:cubicBezTo>
                  <a:pt x="1840" y="1236"/>
                  <a:pt x="1807" y="1197"/>
                  <a:pt x="1807" y="1197"/>
                </a:cubicBezTo>
                <a:lnTo>
                  <a:pt x="1807" y="1173"/>
                </a:lnTo>
                <a:cubicBezTo>
                  <a:pt x="1807" y="1173"/>
                  <a:pt x="1823" y="1181"/>
                  <a:pt x="1831" y="1189"/>
                </a:cubicBezTo>
                <a:lnTo>
                  <a:pt x="1840" y="1197"/>
                </a:lnTo>
                <a:cubicBezTo>
                  <a:pt x="1856" y="1205"/>
                  <a:pt x="1848" y="1221"/>
                  <a:pt x="1856" y="1221"/>
                </a:cubicBezTo>
                <a:cubicBezTo>
                  <a:pt x="1864" y="1229"/>
                  <a:pt x="1889" y="1221"/>
                  <a:pt x="1889" y="1221"/>
                </a:cubicBezTo>
                <a:lnTo>
                  <a:pt x="1905" y="1197"/>
                </a:lnTo>
                <a:cubicBezTo>
                  <a:pt x="1905" y="1197"/>
                  <a:pt x="1938" y="1165"/>
                  <a:pt x="1930" y="1165"/>
                </a:cubicBezTo>
                <a:cubicBezTo>
                  <a:pt x="1921" y="1157"/>
                  <a:pt x="1881" y="1173"/>
                  <a:pt x="1881" y="1173"/>
                </a:cubicBezTo>
                <a:lnTo>
                  <a:pt x="1897" y="1141"/>
                </a:lnTo>
                <a:lnTo>
                  <a:pt x="1872" y="1133"/>
                </a:lnTo>
                <a:lnTo>
                  <a:pt x="1864" y="1125"/>
                </a:lnTo>
                <a:lnTo>
                  <a:pt x="1889" y="1125"/>
                </a:lnTo>
                <a:cubicBezTo>
                  <a:pt x="1897" y="1125"/>
                  <a:pt x="1913" y="1118"/>
                  <a:pt x="1913" y="1118"/>
                </a:cubicBezTo>
                <a:lnTo>
                  <a:pt x="1913" y="1102"/>
                </a:lnTo>
                <a:lnTo>
                  <a:pt x="1889" y="1086"/>
                </a:lnTo>
                <a:lnTo>
                  <a:pt x="1897" y="1078"/>
                </a:lnTo>
                <a:lnTo>
                  <a:pt x="1905" y="1062"/>
                </a:lnTo>
                <a:lnTo>
                  <a:pt x="1921" y="1054"/>
                </a:lnTo>
                <a:lnTo>
                  <a:pt x="1946" y="1007"/>
                </a:lnTo>
                <a:lnTo>
                  <a:pt x="1938" y="991"/>
                </a:lnTo>
                <a:lnTo>
                  <a:pt x="1921" y="991"/>
                </a:lnTo>
                <a:lnTo>
                  <a:pt x="1921" y="959"/>
                </a:lnTo>
                <a:lnTo>
                  <a:pt x="1889" y="943"/>
                </a:lnTo>
                <a:cubicBezTo>
                  <a:pt x="1889" y="943"/>
                  <a:pt x="1864" y="927"/>
                  <a:pt x="1864" y="919"/>
                </a:cubicBezTo>
                <a:cubicBezTo>
                  <a:pt x="1864" y="919"/>
                  <a:pt x="1864" y="903"/>
                  <a:pt x="1856" y="911"/>
                </a:cubicBezTo>
                <a:cubicBezTo>
                  <a:pt x="1848" y="911"/>
                  <a:pt x="1840" y="903"/>
                  <a:pt x="1840" y="903"/>
                </a:cubicBezTo>
                <a:lnTo>
                  <a:pt x="1840" y="880"/>
                </a:lnTo>
                <a:cubicBezTo>
                  <a:pt x="1840" y="880"/>
                  <a:pt x="1856" y="872"/>
                  <a:pt x="1856" y="864"/>
                </a:cubicBezTo>
                <a:cubicBezTo>
                  <a:pt x="1864" y="856"/>
                  <a:pt x="1856" y="840"/>
                  <a:pt x="1856" y="840"/>
                </a:cubicBezTo>
                <a:cubicBezTo>
                  <a:pt x="1848" y="840"/>
                  <a:pt x="1832" y="848"/>
                  <a:pt x="1832" y="848"/>
                </a:cubicBezTo>
                <a:lnTo>
                  <a:pt x="1782" y="856"/>
                </a:lnTo>
                <a:lnTo>
                  <a:pt x="1766" y="848"/>
                </a:lnTo>
                <a:cubicBezTo>
                  <a:pt x="1766" y="848"/>
                  <a:pt x="1774" y="848"/>
                  <a:pt x="1774" y="840"/>
                </a:cubicBezTo>
                <a:cubicBezTo>
                  <a:pt x="1782" y="832"/>
                  <a:pt x="1782" y="824"/>
                  <a:pt x="1791" y="816"/>
                </a:cubicBezTo>
                <a:cubicBezTo>
                  <a:pt x="1799" y="808"/>
                  <a:pt x="1799" y="816"/>
                  <a:pt x="1807" y="800"/>
                </a:cubicBezTo>
                <a:cubicBezTo>
                  <a:pt x="1823" y="793"/>
                  <a:pt x="1840" y="777"/>
                  <a:pt x="1840" y="777"/>
                </a:cubicBezTo>
                <a:lnTo>
                  <a:pt x="1840" y="753"/>
                </a:lnTo>
                <a:lnTo>
                  <a:pt x="1832" y="729"/>
                </a:lnTo>
                <a:cubicBezTo>
                  <a:pt x="1832" y="729"/>
                  <a:pt x="1823" y="721"/>
                  <a:pt x="1815" y="721"/>
                </a:cubicBezTo>
                <a:cubicBezTo>
                  <a:pt x="1807" y="721"/>
                  <a:pt x="1815" y="737"/>
                  <a:pt x="1799" y="721"/>
                </a:cubicBezTo>
                <a:cubicBezTo>
                  <a:pt x="1791" y="713"/>
                  <a:pt x="1791" y="713"/>
                  <a:pt x="1782" y="697"/>
                </a:cubicBezTo>
                <a:cubicBezTo>
                  <a:pt x="1774" y="689"/>
                  <a:pt x="1774" y="674"/>
                  <a:pt x="1774" y="674"/>
                </a:cubicBezTo>
                <a:cubicBezTo>
                  <a:pt x="1774" y="674"/>
                  <a:pt x="1758" y="666"/>
                  <a:pt x="1766" y="666"/>
                </a:cubicBezTo>
                <a:cubicBezTo>
                  <a:pt x="1782" y="666"/>
                  <a:pt x="1791" y="674"/>
                  <a:pt x="1799" y="666"/>
                </a:cubicBezTo>
                <a:cubicBezTo>
                  <a:pt x="1807" y="658"/>
                  <a:pt x="1807" y="666"/>
                  <a:pt x="1807" y="658"/>
                </a:cubicBezTo>
                <a:cubicBezTo>
                  <a:pt x="1807" y="650"/>
                  <a:pt x="1815" y="626"/>
                  <a:pt x="1815" y="626"/>
                </a:cubicBezTo>
                <a:cubicBezTo>
                  <a:pt x="1815" y="618"/>
                  <a:pt x="1815" y="618"/>
                  <a:pt x="1832" y="610"/>
                </a:cubicBezTo>
                <a:cubicBezTo>
                  <a:pt x="1856" y="602"/>
                  <a:pt x="1848" y="602"/>
                  <a:pt x="1864" y="602"/>
                </a:cubicBezTo>
                <a:cubicBezTo>
                  <a:pt x="1872" y="594"/>
                  <a:pt x="1881" y="586"/>
                  <a:pt x="1872" y="586"/>
                </a:cubicBezTo>
                <a:cubicBezTo>
                  <a:pt x="1872" y="578"/>
                  <a:pt x="1856" y="578"/>
                  <a:pt x="1856" y="578"/>
                </a:cubicBezTo>
                <a:cubicBezTo>
                  <a:pt x="1848" y="571"/>
                  <a:pt x="1832" y="586"/>
                  <a:pt x="1832" y="586"/>
                </a:cubicBezTo>
                <a:cubicBezTo>
                  <a:pt x="1832" y="586"/>
                  <a:pt x="1815" y="594"/>
                  <a:pt x="1807" y="602"/>
                </a:cubicBezTo>
                <a:cubicBezTo>
                  <a:pt x="1799" y="610"/>
                  <a:pt x="1791" y="602"/>
                  <a:pt x="1782" y="602"/>
                </a:cubicBezTo>
                <a:lnTo>
                  <a:pt x="1774" y="602"/>
                </a:lnTo>
                <a:cubicBezTo>
                  <a:pt x="1774" y="602"/>
                  <a:pt x="1758" y="594"/>
                  <a:pt x="1750" y="610"/>
                </a:cubicBezTo>
                <a:cubicBezTo>
                  <a:pt x="1750" y="626"/>
                  <a:pt x="1733" y="642"/>
                  <a:pt x="1733" y="642"/>
                </a:cubicBezTo>
                <a:cubicBezTo>
                  <a:pt x="1733" y="642"/>
                  <a:pt x="1725" y="650"/>
                  <a:pt x="1725" y="634"/>
                </a:cubicBezTo>
                <a:cubicBezTo>
                  <a:pt x="1725" y="626"/>
                  <a:pt x="1717" y="602"/>
                  <a:pt x="1717" y="602"/>
                </a:cubicBezTo>
                <a:cubicBezTo>
                  <a:pt x="1709" y="602"/>
                  <a:pt x="1684" y="594"/>
                  <a:pt x="1684" y="594"/>
                </a:cubicBezTo>
                <a:cubicBezTo>
                  <a:pt x="1684" y="594"/>
                  <a:pt x="1692" y="594"/>
                  <a:pt x="1692" y="578"/>
                </a:cubicBezTo>
                <a:cubicBezTo>
                  <a:pt x="1684" y="571"/>
                  <a:pt x="1684" y="563"/>
                  <a:pt x="1684" y="563"/>
                </a:cubicBezTo>
                <a:lnTo>
                  <a:pt x="1701" y="563"/>
                </a:lnTo>
                <a:cubicBezTo>
                  <a:pt x="1709" y="563"/>
                  <a:pt x="1709" y="563"/>
                  <a:pt x="1709" y="547"/>
                </a:cubicBezTo>
                <a:cubicBezTo>
                  <a:pt x="1709" y="523"/>
                  <a:pt x="1701" y="515"/>
                  <a:pt x="1701" y="515"/>
                </a:cubicBezTo>
                <a:lnTo>
                  <a:pt x="1692" y="507"/>
                </a:lnTo>
                <a:lnTo>
                  <a:pt x="1692" y="475"/>
                </a:lnTo>
                <a:cubicBezTo>
                  <a:pt x="1692" y="475"/>
                  <a:pt x="1692" y="467"/>
                  <a:pt x="1684" y="460"/>
                </a:cubicBezTo>
                <a:cubicBezTo>
                  <a:pt x="1676" y="452"/>
                  <a:pt x="1676" y="444"/>
                  <a:pt x="1668" y="452"/>
                </a:cubicBezTo>
                <a:cubicBezTo>
                  <a:pt x="1668" y="452"/>
                  <a:pt x="1660" y="460"/>
                  <a:pt x="1652" y="460"/>
                </a:cubicBezTo>
                <a:cubicBezTo>
                  <a:pt x="1643" y="452"/>
                  <a:pt x="1627" y="444"/>
                  <a:pt x="1627" y="444"/>
                </a:cubicBezTo>
                <a:lnTo>
                  <a:pt x="1594" y="428"/>
                </a:lnTo>
                <a:lnTo>
                  <a:pt x="1586" y="436"/>
                </a:lnTo>
                <a:cubicBezTo>
                  <a:pt x="1586" y="444"/>
                  <a:pt x="1578" y="436"/>
                  <a:pt x="1578" y="452"/>
                </a:cubicBezTo>
                <a:cubicBezTo>
                  <a:pt x="1586" y="460"/>
                  <a:pt x="1586" y="467"/>
                  <a:pt x="1586" y="475"/>
                </a:cubicBezTo>
                <a:cubicBezTo>
                  <a:pt x="1578" y="483"/>
                  <a:pt x="1578" y="491"/>
                  <a:pt x="1578" y="507"/>
                </a:cubicBezTo>
                <a:cubicBezTo>
                  <a:pt x="1570" y="515"/>
                  <a:pt x="1562" y="515"/>
                  <a:pt x="1562" y="523"/>
                </a:cubicBezTo>
                <a:cubicBezTo>
                  <a:pt x="1562" y="531"/>
                  <a:pt x="1570" y="531"/>
                  <a:pt x="1570" y="539"/>
                </a:cubicBezTo>
                <a:cubicBezTo>
                  <a:pt x="1570" y="539"/>
                  <a:pt x="1562" y="555"/>
                  <a:pt x="1553" y="555"/>
                </a:cubicBezTo>
                <a:cubicBezTo>
                  <a:pt x="1553" y="563"/>
                  <a:pt x="1545" y="571"/>
                  <a:pt x="1537" y="571"/>
                </a:cubicBezTo>
                <a:cubicBezTo>
                  <a:pt x="1537" y="563"/>
                  <a:pt x="1529" y="563"/>
                  <a:pt x="1521" y="563"/>
                </a:cubicBezTo>
                <a:cubicBezTo>
                  <a:pt x="1513" y="563"/>
                  <a:pt x="1504" y="571"/>
                  <a:pt x="1504" y="571"/>
                </a:cubicBezTo>
                <a:cubicBezTo>
                  <a:pt x="1504" y="571"/>
                  <a:pt x="1496" y="578"/>
                  <a:pt x="1488" y="571"/>
                </a:cubicBezTo>
                <a:cubicBezTo>
                  <a:pt x="1472" y="563"/>
                  <a:pt x="1463" y="555"/>
                  <a:pt x="1463" y="555"/>
                </a:cubicBezTo>
                <a:lnTo>
                  <a:pt x="1463" y="539"/>
                </a:lnTo>
                <a:cubicBezTo>
                  <a:pt x="1463" y="539"/>
                  <a:pt x="1496" y="547"/>
                  <a:pt x="1455" y="523"/>
                </a:cubicBezTo>
                <a:lnTo>
                  <a:pt x="1423" y="507"/>
                </a:lnTo>
                <a:cubicBezTo>
                  <a:pt x="1423" y="507"/>
                  <a:pt x="1423" y="515"/>
                  <a:pt x="1414" y="523"/>
                </a:cubicBezTo>
                <a:cubicBezTo>
                  <a:pt x="1406" y="523"/>
                  <a:pt x="1406" y="531"/>
                  <a:pt x="1406" y="531"/>
                </a:cubicBezTo>
                <a:lnTo>
                  <a:pt x="1398" y="547"/>
                </a:lnTo>
                <a:lnTo>
                  <a:pt x="1390" y="547"/>
                </a:lnTo>
                <a:lnTo>
                  <a:pt x="1374" y="571"/>
                </a:lnTo>
                <a:cubicBezTo>
                  <a:pt x="1374" y="571"/>
                  <a:pt x="1365" y="578"/>
                  <a:pt x="1357" y="578"/>
                </a:cubicBezTo>
                <a:lnTo>
                  <a:pt x="1349" y="578"/>
                </a:lnTo>
                <a:cubicBezTo>
                  <a:pt x="1341" y="578"/>
                  <a:pt x="1333" y="578"/>
                  <a:pt x="1333" y="571"/>
                </a:cubicBezTo>
                <a:cubicBezTo>
                  <a:pt x="1324" y="571"/>
                  <a:pt x="1324" y="571"/>
                  <a:pt x="1324" y="563"/>
                </a:cubicBezTo>
                <a:cubicBezTo>
                  <a:pt x="1324" y="555"/>
                  <a:pt x="1324" y="539"/>
                  <a:pt x="1316" y="531"/>
                </a:cubicBezTo>
                <a:cubicBezTo>
                  <a:pt x="1316" y="523"/>
                  <a:pt x="1316" y="523"/>
                  <a:pt x="1308" y="507"/>
                </a:cubicBezTo>
                <a:cubicBezTo>
                  <a:pt x="1300" y="499"/>
                  <a:pt x="1292" y="483"/>
                  <a:pt x="1292" y="483"/>
                </a:cubicBezTo>
                <a:lnTo>
                  <a:pt x="1251" y="460"/>
                </a:lnTo>
                <a:cubicBezTo>
                  <a:pt x="1251" y="460"/>
                  <a:pt x="1259" y="452"/>
                  <a:pt x="1243" y="452"/>
                </a:cubicBezTo>
                <a:cubicBezTo>
                  <a:pt x="1234" y="460"/>
                  <a:pt x="1218" y="475"/>
                  <a:pt x="1218" y="475"/>
                </a:cubicBezTo>
                <a:lnTo>
                  <a:pt x="1218" y="499"/>
                </a:lnTo>
                <a:cubicBezTo>
                  <a:pt x="1218" y="499"/>
                  <a:pt x="1210" y="507"/>
                  <a:pt x="1210" y="515"/>
                </a:cubicBezTo>
                <a:cubicBezTo>
                  <a:pt x="1218" y="531"/>
                  <a:pt x="1226" y="547"/>
                  <a:pt x="1218" y="555"/>
                </a:cubicBezTo>
                <a:cubicBezTo>
                  <a:pt x="1218" y="555"/>
                  <a:pt x="1210" y="571"/>
                  <a:pt x="1210" y="586"/>
                </a:cubicBezTo>
                <a:cubicBezTo>
                  <a:pt x="1210" y="602"/>
                  <a:pt x="1218" y="618"/>
                  <a:pt x="1210" y="618"/>
                </a:cubicBezTo>
                <a:cubicBezTo>
                  <a:pt x="1202" y="626"/>
                  <a:pt x="1202" y="634"/>
                  <a:pt x="1202" y="634"/>
                </a:cubicBezTo>
                <a:lnTo>
                  <a:pt x="1194" y="634"/>
                </a:lnTo>
                <a:cubicBezTo>
                  <a:pt x="1194" y="634"/>
                  <a:pt x="1194" y="626"/>
                  <a:pt x="1202" y="602"/>
                </a:cubicBezTo>
                <a:cubicBezTo>
                  <a:pt x="1202" y="578"/>
                  <a:pt x="1194" y="571"/>
                  <a:pt x="1194" y="563"/>
                </a:cubicBezTo>
                <a:cubicBezTo>
                  <a:pt x="1185" y="563"/>
                  <a:pt x="1185" y="563"/>
                  <a:pt x="1185" y="555"/>
                </a:cubicBezTo>
                <a:lnTo>
                  <a:pt x="1185" y="539"/>
                </a:lnTo>
                <a:cubicBezTo>
                  <a:pt x="1185" y="539"/>
                  <a:pt x="1169" y="523"/>
                  <a:pt x="1169" y="515"/>
                </a:cubicBezTo>
                <a:cubicBezTo>
                  <a:pt x="1169" y="507"/>
                  <a:pt x="1177" y="499"/>
                  <a:pt x="1177" y="483"/>
                </a:cubicBezTo>
                <a:cubicBezTo>
                  <a:pt x="1177" y="460"/>
                  <a:pt x="1185" y="460"/>
                  <a:pt x="1177" y="452"/>
                </a:cubicBezTo>
                <a:cubicBezTo>
                  <a:pt x="1169" y="444"/>
                  <a:pt x="1177" y="436"/>
                  <a:pt x="1169" y="428"/>
                </a:cubicBezTo>
                <a:cubicBezTo>
                  <a:pt x="1161" y="428"/>
                  <a:pt x="1161" y="436"/>
                  <a:pt x="1153" y="428"/>
                </a:cubicBezTo>
                <a:lnTo>
                  <a:pt x="1153" y="436"/>
                </a:lnTo>
                <a:lnTo>
                  <a:pt x="1161" y="420"/>
                </a:lnTo>
                <a:cubicBezTo>
                  <a:pt x="1161" y="420"/>
                  <a:pt x="1169" y="388"/>
                  <a:pt x="1161" y="404"/>
                </a:cubicBezTo>
                <a:cubicBezTo>
                  <a:pt x="1153" y="412"/>
                  <a:pt x="1128" y="420"/>
                  <a:pt x="1128" y="412"/>
                </a:cubicBezTo>
                <a:cubicBezTo>
                  <a:pt x="1136" y="404"/>
                  <a:pt x="1128" y="396"/>
                  <a:pt x="1128" y="396"/>
                </a:cubicBezTo>
                <a:lnTo>
                  <a:pt x="1095" y="396"/>
                </a:lnTo>
                <a:cubicBezTo>
                  <a:pt x="1095" y="396"/>
                  <a:pt x="1095" y="388"/>
                  <a:pt x="1095" y="404"/>
                </a:cubicBezTo>
                <a:cubicBezTo>
                  <a:pt x="1095" y="412"/>
                  <a:pt x="1104" y="428"/>
                  <a:pt x="1087" y="428"/>
                </a:cubicBezTo>
                <a:cubicBezTo>
                  <a:pt x="1071" y="436"/>
                  <a:pt x="1063" y="436"/>
                  <a:pt x="1063" y="436"/>
                </a:cubicBezTo>
                <a:cubicBezTo>
                  <a:pt x="1063" y="428"/>
                  <a:pt x="1046" y="420"/>
                  <a:pt x="1046" y="420"/>
                </a:cubicBezTo>
                <a:lnTo>
                  <a:pt x="1030" y="420"/>
                </a:lnTo>
                <a:cubicBezTo>
                  <a:pt x="1030" y="428"/>
                  <a:pt x="1014" y="428"/>
                  <a:pt x="1014" y="428"/>
                </a:cubicBezTo>
                <a:lnTo>
                  <a:pt x="1014" y="444"/>
                </a:lnTo>
                <a:lnTo>
                  <a:pt x="1014" y="452"/>
                </a:lnTo>
                <a:lnTo>
                  <a:pt x="1006" y="452"/>
                </a:lnTo>
                <a:cubicBezTo>
                  <a:pt x="997" y="460"/>
                  <a:pt x="989" y="460"/>
                  <a:pt x="997" y="467"/>
                </a:cubicBezTo>
                <a:lnTo>
                  <a:pt x="997" y="483"/>
                </a:lnTo>
                <a:lnTo>
                  <a:pt x="997" y="499"/>
                </a:lnTo>
                <a:cubicBezTo>
                  <a:pt x="989" y="507"/>
                  <a:pt x="989" y="515"/>
                  <a:pt x="981" y="523"/>
                </a:cubicBezTo>
                <a:lnTo>
                  <a:pt x="973" y="531"/>
                </a:lnTo>
                <a:cubicBezTo>
                  <a:pt x="965" y="539"/>
                  <a:pt x="964" y="539"/>
                  <a:pt x="956" y="539"/>
                </a:cubicBezTo>
                <a:cubicBezTo>
                  <a:pt x="947" y="539"/>
                  <a:pt x="948" y="547"/>
                  <a:pt x="948" y="539"/>
                </a:cubicBezTo>
                <a:lnTo>
                  <a:pt x="948" y="499"/>
                </a:lnTo>
                <a:cubicBezTo>
                  <a:pt x="948" y="491"/>
                  <a:pt x="956" y="491"/>
                  <a:pt x="940" y="475"/>
                </a:cubicBezTo>
                <a:cubicBezTo>
                  <a:pt x="932" y="460"/>
                  <a:pt x="924" y="460"/>
                  <a:pt x="924" y="452"/>
                </a:cubicBezTo>
                <a:lnTo>
                  <a:pt x="924" y="436"/>
                </a:lnTo>
                <a:cubicBezTo>
                  <a:pt x="924" y="428"/>
                  <a:pt x="924" y="444"/>
                  <a:pt x="924" y="412"/>
                </a:cubicBezTo>
                <a:cubicBezTo>
                  <a:pt x="932" y="388"/>
                  <a:pt x="924" y="380"/>
                  <a:pt x="924" y="380"/>
                </a:cubicBezTo>
                <a:lnTo>
                  <a:pt x="932" y="341"/>
                </a:lnTo>
                <a:lnTo>
                  <a:pt x="891" y="341"/>
                </a:lnTo>
                <a:lnTo>
                  <a:pt x="875" y="341"/>
                </a:lnTo>
                <a:cubicBezTo>
                  <a:pt x="875" y="349"/>
                  <a:pt x="866" y="341"/>
                  <a:pt x="866" y="356"/>
                </a:cubicBezTo>
                <a:cubicBezTo>
                  <a:pt x="858" y="372"/>
                  <a:pt x="850" y="372"/>
                  <a:pt x="850" y="388"/>
                </a:cubicBezTo>
                <a:lnTo>
                  <a:pt x="850" y="412"/>
                </a:lnTo>
                <a:cubicBezTo>
                  <a:pt x="850" y="420"/>
                  <a:pt x="842" y="428"/>
                  <a:pt x="842" y="428"/>
                </a:cubicBezTo>
                <a:lnTo>
                  <a:pt x="842" y="452"/>
                </a:lnTo>
                <a:cubicBezTo>
                  <a:pt x="834" y="467"/>
                  <a:pt x="834" y="475"/>
                  <a:pt x="834" y="483"/>
                </a:cubicBezTo>
                <a:lnTo>
                  <a:pt x="826" y="491"/>
                </a:lnTo>
                <a:cubicBezTo>
                  <a:pt x="817" y="499"/>
                  <a:pt x="801" y="523"/>
                  <a:pt x="793" y="523"/>
                </a:cubicBezTo>
                <a:lnTo>
                  <a:pt x="785" y="531"/>
                </a:lnTo>
                <a:cubicBezTo>
                  <a:pt x="785" y="531"/>
                  <a:pt x="768" y="555"/>
                  <a:pt x="760" y="555"/>
                </a:cubicBezTo>
                <a:cubicBezTo>
                  <a:pt x="752" y="563"/>
                  <a:pt x="760" y="563"/>
                  <a:pt x="752" y="563"/>
                </a:cubicBezTo>
                <a:cubicBezTo>
                  <a:pt x="752" y="555"/>
                  <a:pt x="744" y="555"/>
                  <a:pt x="744" y="547"/>
                </a:cubicBezTo>
                <a:cubicBezTo>
                  <a:pt x="744" y="531"/>
                  <a:pt x="744" y="531"/>
                  <a:pt x="752" y="515"/>
                </a:cubicBezTo>
                <a:cubicBezTo>
                  <a:pt x="752" y="507"/>
                  <a:pt x="760" y="491"/>
                  <a:pt x="760" y="491"/>
                </a:cubicBezTo>
                <a:cubicBezTo>
                  <a:pt x="760" y="491"/>
                  <a:pt x="768" y="483"/>
                  <a:pt x="760" y="483"/>
                </a:cubicBezTo>
                <a:lnTo>
                  <a:pt x="736" y="483"/>
                </a:lnTo>
                <a:cubicBezTo>
                  <a:pt x="719" y="483"/>
                  <a:pt x="703" y="491"/>
                  <a:pt x="695" y="499"/>
                </a:cubicBezTo>
                <a:cubicBezTo>
                  <a:pt x="687" y="499"/>
                  <a:pt x="687" y="507"/>
                  <a:pt x="670" y="523"/>
                </a:cubicBezTo>
                <a:lnTo>
                  <a:pt x="654" y="531"/>
                </a:lnTo>
                <a:lnTo>
                  <a:pt x="646" y="547"/>
                </a:lnTo>
                <a:lnTo>
                  <a:pt x="646" y="555"/>
                </a:lnTo>
                <a:lnTo>
                  <a:pt x="646" y="539"/>
                </a:lnTo>
                <a:cubicBezTo>
                  <a:pt x="646" y="539"/>
                  <a:pt x="637" y="539"/>
                  <a:pt x="637" y="547"/>
                </a:cubicBezTo>
                <a:lnTo>
                  <a:pt x="629" y="555"/>
                </a:lnTo>
                <a:cubicBezTo>
                  <a:pt x="621" y="563"/>
                  <a:pt x="621" y="571"/>
                  <a:pt x="621" y="578"/>
                </a:cubicBezTo>
                <a:cubicBezTo>
                  <a:pt x="613" y="586"/>
                  <a:pt x="613" y="602"/>
                  <a:pt x="605" y="602"/>
                </a:cubicBezTo>
                <a:lnTo>
                  <a:pt x="605" y="610"/>
                </a:lnTo>
                <a:cubicBezTo>
                  <a:pt x="597" y="610"/>
                  <a:pt x="588" y="618"/>
                  <a:pt x="588" y="618"/>
                </a:cubicBezTo>
                <a:cubicBezTo>
                  <a:pt x="588" y="626"/>
                  <a:pt x="580" y="610"/>
                  <a:pt x="580" y="594"/>
                </a:cubicBezTo>
                <a:cubicBezTo>
                  <a:pt x="588" y="586"/>
                  <a:pt x="588" y="586"/>
                  <a:pt x="588" y="578"/>
                </a:cubicBezTo>
                <a:cubicBezTo>
                  <a:pt x="597" y="578"/>
                  <a:pt x="597" y="563"/>
                  <a:pt x="605" y="563"/>
                </a:cubicBezTo>
                <a:cubicBezTo>
                  <a:pt x="605" y="563"/>
                  <a:pt x="605" y="571"/>
                  <a:pt x="605" y="555"/>
                </a:cubicBezTo>
                <a:cubicBezTo>
                  <a:pt x="613" y="539"/>
                  <a:pt x="613" y="531"/>
                  <a:pt x="613" y="531"/>
                </a:cubicBezTo>
                <a:lnTo>
                  <a:pt x="613" y="523"/>
                </a:lnTo>
                <a:cubicBezTo>
                  <a:pt x="605" y="515"/>
                  <a:pt x="605" y="523"/>
                  <a:pt x="605" y="515"/>
                </a:cubicBezTo>
                <a:cubicBezTo>
                  <a:pt x="613" y="507"/>
                  <a:pt x="613" y="499"/>
                  <a:pt x="613" y="491"/>
                </a:cubicBezTo>
                <a:cubicBezTo>
                  <a:pt x="621" y="491"/>
                  <a:pt x="621" y="483"/>
                  <a:pt x="621" y="483"/>
                </a:cubicBezTo>
                <a:lnTo>
                  <a:pt x="621" y="475"/>
                </a:lnTo>
                <a:lnTo>
                  <a:pt x="613" y="467"/>
                </a:lnTo>
                <a:lnTo>
                  <a:pt x="613" y="460"/>
                </a:lnTo>
                <a:cubicBezTo>
                  <a:pt x="613" y="460"/>
                  <a:pt x="621" y="452"/>
                  <a:pt x="621" y="444"/>
                </a:cubicBezTo>
                <a:cubicBezTo>
                  <a:pt x="613" y="444"/>
                  <a:pt x="613" y="436"/>
                  <a:pt x="605" y="428"/>
                </a:cubicBezTo>
                <a:cubicBezTo>
                  <a:pt x="597" y="428"/>
                  <a:pt x="597" y="428"/>
                  <a:pt x="597" y="420"/>
                </a:cubicBezTo>
                <a:lnTo>
                  <a:pt x="580" y="412"/>
                </a:lnTo>
                <a:lnTo>
                  <a:pt x="588" y="396"/>
                </a:lnTo>
                <a:cubicBezTo>
                  <a:pt x="588" y="396"/>
                  <a:pt x="588" y="388"/>
                  <a:pt x="597" y="388"/>
                </a:cubicBezTo>
                <a:lnTo>
                  <a:pt x="597" y="404"/>
                </a:lnTo>
                <a:cubicBezTo>
                  <a:pt x="597" y="412"/>
                  <a:pt x="621" y="420"/>
                  <a:pt x="621" y="420"/>
                </a:cubicBezTo>
                <a:lnTo>
                  <a:pt x="637" y="412"/>
                </a:lnTo>
                <a:cubicBezTo>
                  <a:pt x="646" y="412"/>
                  <a:pt x="646" y="396"/>
                  <a:pt x="646" y="396"/>
                </a:cubicBezTo>
                <a:cubicBezTo>
                  <a:pt x="646" y="396"/>
                  <a:pt x="637" y="396"/>
                  <a:pt x="646" y="388"/>
                </a:cubicBezTo>
                <a:cubicBezTo>
                  <a:pt x="654" y="388"/>
                  <a:pt x="670" y="380"/>
                  <a:pt x="670" y="380"/>
                </a:cubicBezTo>
                <a:cubicBezTo>
                  <a:pt x="670" y="372"/>
                  <a:pt x="678" y="372"/>
                  <a:pt x="678" y="372"/>
                </a:cubicBezTo>
                <a:lnTo>
                  <a:pt x="687" y="364"/>
                </a:lnTo>
                <a:cubicBezTo>
                  <a:pt x="687" y="356"/>
                  <a:pt x="695" y="356"/>
                  <a:pt x="687" y="349"/>
                </a:cubicBezTo>
                <a:lnTo>
                  <a:pt x="687" y="333"/>
                </a:lnTo>
                <a:cubicBezTo>
                  <a:pt x="687" y="333"/>
                  <a:pt x="703" y="341"/>
                  <a:pt x="687" y="325"/>
                </a:cubicBezTo>
                <a:cubicBezTo>
                  <a:pt x="670" y="317"/>
                  <a:pt x="654" y="309"/>
                  <a:pt x="662" y="309"/>
                </a:cubicBezTo>
                <a:lnTo>
                  <a:pt x="678" y="309"/>
                </a:lnTo>
                <a:cubicBezTo>
                  <a:pt x="687" y="309"/>
                  <a:pt x="695" y="317"/>
                  <a:pt x="695" y="309"/>
                </a:cubicBezTo>
                <a:cubicBezTo>
                  <a:pt x="703" y="309"/>
                  <a:pt x="703" y="309"/>
                  <a:pt x="703" y="301"/>
                </a:cubicBezTo>
                <a:lnTo>
                  <a:pt x="695" y="293"/>
                </a:lnTo>
                <a:cubicBezTo>
                  <a:pt x="687" y="285"/>
                  <a:pt x="687" y="285"/>
                  <a:pt x="678" y="285"/>
                </a:cubicBezTo>
                <a:cubicBezTo>
                  <a:pt x="678" y="285"/>
                  <a:pt x="670" y="293"/>
                  <a:pt x="678" y="277"/>
                </a:cubicBezTo>
                <a:lnTo>
                  <a:pt x="678" y="253"/>
                </a:lnTo>
                <a:cubicBezTo>
                  <a:pt x="678" y="253"/>
                  <a:pt x="695" y="253"/>
                  <a:pt x="678" y="253"/>
                </a:cubicBezTo>
                <a:lnTo>
                  <a:pt x="670" y="245"/>
                </a:lnTo>
                <a:lnTo>
                  <a:pt x="654" y="245"/>
                </a:lnTo>
                <a:cubicBezTo>
                  <a:pt x="646" y="245"/>
                  <a:pt x="654" y="230"/>
                  <a:pt x="654" y="230"/>
                </a:cubicBezTo>
                <a:cubicBezTo>
                  <a:pt x="654" y="222"/>
                  <a:pt x="662" y="190"/>
                  <a:pt x="662" y="190"/>
                </a:cubicBezTo>
                <a:lnTo>
                  <a:pt x="654" y="182"/>
                </a:lnTo>
                <a:lnTo>
                  <a:pt x="646" y="166"/>
                </a:lnTo>
                <a:cubicBezTo>
                  <a:pt x="646" y="158"/>
                  <a:pt x="646" y="150"/>
                  <a:pt x="637" y="150"/>
                </a:cubicBezTo>
                <a:lnTo>
                  <a:pt x="629" y="142"/>
                </a:lnTo>
                <a:cubicBezTo>
                  <a:pt x="629" y="142"/>
                  <a:pt x="621" y="142"/>
                  <a:pt x="621" y="135"/>
                </a:cubicBezTo>
                <a:lnTo>
                  <a:pt x="621" y="103"/>
                </a:lnTo>
                <a:lnTo>
                  <a:pt x="605" y="63"/>
                </a:lnTo>
                <a:lnTo>
                  <a:pt x="605" y="55"/>
                </a:lnTo>
                <a:lnTo>
                  <a:pt x="597" y="39"/>
                </a:lnTo>
                <a:lnTo>
                  <a:pt x="588" y="39"/>
                </a:lnTo>
                <a:lnTo>
                  <a:pt x="588" y="24"/>
                </a:lnTo>
                <a:cubicBezTo>
                  <a:pt x="588" y="24"/>
                  <a:pt x="580" y="24"/>
                  <a:pt x="580" y="31"/>
                </a:cubicBezTo>
                <a:cubicBezTo>
                  <a:pt x="580" y="31"/>
                  <a:pt x="580" y="39"/>
                  <a:pt x="572" y="39"/>
                </a:cubicBezTo>
                <a:cubicBezTo>
                  <a:pt x="564" y="39"/>
                  <a:pt x="556" y="31"/>
                  <a:pt x="556" y="31"/>
                </a:cubicBezTo>
                <a:lnTo>
                  <a:pt x="556" y="16"/>
                </a:lnTo>
                <a:cubicBezTo>
                  <a:pt x="547" y="16"/>
                  <a:pt x="523" y="0"/>
                  <a:pt x="523" y="0"/>
                </a:cubicBezTo>
                <a:lnTo>
                  <a:pt x="523" y="8"/>
                </a:lnTo>
                <a:cubicBezTo>
                  <a:pt x="523" y="8"/>
                  <a:pt x="515" y="16"/>
                  <a:pt x="515" y="8"/>
                </a:cubicBezTo>
                <a:cubicBezTo>
                  <a:pt x="507" y="8"/>
                  <a:pt x="490" y="0"/>
                  <a:pt x="490" y="0"/>
                </a:cubicBezTo>
                <a:lnTo>
                  <a:pt x="490" y="8"/>
                </a:lnTo>
                <a:cubicBezTo>
                  <a:pt x="490" y="16"/>
                  <a:pt x="498" y="24"/>
                  <a:pt x="498" y="24"/>
                </a:cubicBezTo>
                <a:lnTo>
                  <a:pt x="482" y="24"/>
                </a:lnTo>
                <a:lnTo>
                  <a:pt x="474" y="24"/>
                </a:lnTo>
                <a:cubicBezTo>
                  <a:pt x="474" y="16"/>
                  <a:pt x="466" y="16"/>
                  <a:pt x="466" y="16"/>
                </a:cubicBezTo>
                <a:cubicBezTo>
                  <a:pt x="466" y="24"/>
                  <a:pt x="458" y="24"/>
                  <a:pt x="458" y="39"/>
                </a:cubicBezTo>
                <a:cubicBezTo>
                  <a:pt x="466" y="47"/>
                  <a:pt x="458" y="47"/>
                  <a:pt x="466" y="55"/>
                </a:cubicBezTo>
                <a:cubicBezTo>
                  <a:pt x="474" y="55"/>
                  <a:pt x="474" y="55"/>
                  <a:pt x="482" y="63"/>
                </a:cubicBezTo>
                <a:lnTo>
                  <a:pt x="515" y="63"/>
                </a:lnTo>
                <a:lnTo>
                  <a:pt x="523" y="55"/>
                </a:lnTo>
                <a:lnTo>
                  <a:pt x="523" y="63"/>
                </a:lnTo>
                <a:cubicBezTo>
                  <a:pt x="523" y="63"/>
                  <a:pt x="515" y="63"/>
                  <a:pt x="523" y="71"/>
                </a:cubicBezTo>
                <a:lnTo>
                  <a:pt x="531" y="79"/>
                </a:lnTo>
                <a:lnTo>
                  <a:pt x="531" y="87"/>
                </a:lnTo>
                <a:cubicBezTo>
                  <a:pt x="531" y="95"/>
                  <a:pt x="531" y="95"/>
                  <a:pt x="539" y="95"/>
                </a:cubicBezTo>
                <a:cubicBezTo>
                  <a:pt x="547" y="103"/>
                  <a:pt x="547" y="95"/>
                  <a:pt x="547" y="95"/>
                </a:cubicBezTo>
                <a:cubicBezTo>
                  <a:pt x="547" y="95"/>
                  <a:pt x="564" y="111"/>
                  <a:pt x="556" y="111"/>
                </a:cubicBezTo>
                <a:cubicBezTo>
                  <a:pt x="556" y="111"/>
                  <a:pt x="547" y="103"/>
                  <a:pt x="556" y="111"/>
                </a:cubicBezTo>
                <a:cubicBezTo>
                  <a:pt x="564" y="119"/>
                  <a:pt x="572" y="119"/>
                  <a:pt x="572" y="119"/>
                </a:cubicBezTo>
                <a:cubicBezTo>
                  <a:pt x="572" y="119"/>
                  <a:pt x="564" y="127"/>
                  <a:pt x="547" y="119"/>
                </a:cubicBezTo>
                <a:lnTo>
                  <a:pt x="539" y="119"/>
                </a:lnTo>
                <a:lnTo>
                  <a:pt x="531" y="111"/>
                </a:lnTo>
                <a:cubicBezTo>
                  <a:pt x="523" y="103"/>
                  <a:pt x="523" y="95"/>
                  <a:pt x="523" y="95"/>
                </a:cubicBezTo>
                <a:cubicBezTo>
                  <a:pt x="523" y="95"/>
                  <a:pt x="515" y="87"/>
                  <a:pt x="507" y="87"/>
                </a:cubicBezTo>
                <a:cubicBezTo>
                  <a:pt x="498" y="79"/>
                  <a:pt x="490" y="87"/>
                  <a:pt x="482" y="87"/>
                </a:cubicBezTo>
                <a:cubicBezTo>
                  <a:pt x="482" y="87"/>
                  <a:pt x="474" y="95"/>
                  <a:pt x="466" y="95"/>
                </a:cubicBezTo>
                <a:lnTo>
                  <a:pt x="466" y="111"/>
                </a:lnTo>
                <a:cubicBezTo>
                  <a:pt x="474" y="119"/>
                  <a:pt x="490" y="150"/>
                  <a:pt x="490" y="150"/>
                </a:cubicBezTo>
                <a:lnTo>
                  <a:pt x="507" y="166"/>
                </a:lnTo>
                <a:lnTo>
                  <a:pt x="515" y="182"/>
                </a:lnTo>
                <a:lnTo>
                  <a:pt x="523" y="190"/>
                </a:lnTo>
                <a:cubicBezTo>
                  <a:pt x="531" y="190"/>
                  <a:pt x="523" y="190"/>
                  <a:pt x="523" y="190"/>
                </a:cubicBezTo>
                <a:cubicBezTo>
                  <a:pt x="523" y="198"/>
                  <a:pt x="515" y="206"/>
                  <a:pt x="515" y="214"/>
                </a:cubicBezTo>
                <a:cubicBezTo>
                  <a:pt x="515" y="214"/>
                  <a:pt x="515" y="206"/>
                  <a:pt x="515" y="214"/>
                </a:cubicBezTo>
                <a:lnTo>
                  <a:pt x="515" y="245"/>
                </a:lnTo>
                <a:lnTo>
                  <a:pt x="507" y="261"/>
                </a:lnTo>
                <a:lnTo>
                  <a:pt x="498" y="269"/>
                </a:lnTo>
                <a:cubicBezTo>
                  <a:pt x="490" y="269"/>
                  <a:pt x="498" y="261"/>
                  <a:pt x="498" y="261"/>
                </a:cubicBezTo>
                <a:lnTo>
                  <a:pt x="498" y="253"/>
                </a:lnTo>
                <a:lnTo>
                  <a:pt x="507" y="238"/>
                </a:lnTo>
                <a:cubicBezTo>
                  <a:pt x="507" y="238"/>
                  <a:pt x="498" y="230"/>
                  <a:pt x="490" y="230"/>
                </a:cubicBezTo>
                <a:cubicBezTo>
                  <a:pt x="490" y="222"/>
                  <a:pt x="490" y="230"/>
                  <a:pt x="482" y="230"/>
                </a:cubicBezTo>
                <a:lnTo>
                  <a:pt x="474" y="245"/>
                </a:lnTo>
                <a:cubicBezTo>
                  <a:pt x="474" y="245"/>
                  <a:pt x="466" y="245"/>
                  <a:pt x="474" y="238"/>
                </a:cubicBezTo>
                <a:cubicBezTo>
                  <a:pt x="474" y="238"/>
                  <a:pt x="474" y="222"/>
                  <a:pt x="482" y="222"/>
                </a:cubicBezTo>
                <a:cubicBezTo>
                  <a:pt x="482" y="214"/>
                  <a:pt x="490" y="214"/>
                  <a:pt x="490" y="206"/>
                </a:cubicBezTo>
                <a:lnTo>
                  <a:pt x="490" y="190"/>
                </a:lnTo>
                <a:cubicBezTo>
                  <a:pt x="482" y="190"/>
                  <a:pt x="482" y="182"/>
                  <a:pt x="482" y="174"/>
                </a:cubicBezTo>
                <a:cubicBezTo>
                  <a:pt x="474" y="174"/>
                  <a:pt x="466" y="182"/>
                  <a:pt x="466" y="182"/>
                </a:cubicBezTo>
                <a:lnTo>
                  <a:pt x="466" y="190"/>
                </a:lnTo>
                <a:cubicBezTo>
                  <a:pt x="458" y="198"/>
                  <a:pt x="458" y="198"/>
                  <a:pt x="449" y="206"/>
                </a:cubicBezTo>
                <a:lnTo>
                  <a:pt x="441" y="214"/>
                </a:lnTo>
                <a:lnTo>
                  <a:pt x="449" y="198"/>
                </a:lnTo>
                <a:cubicBezTo>
                  <a:pt x="449" y="198"/>
                  <a:pt x="458" y="190"/>
                  <a:pt x="449" y="190"/>
                </a:cubicBezTo>
                <a:lnTo>
                  <a:pt x="449" y="174"/>
                </a:lnTo>
                <a:lnTo>
                  <a:pt x="441" y="174"/>
                </a:lnTo>
                <a:lnTo>
                  <a:pt x="433" y="174"/>
                </a:lnTo>
                <a:cubicBezTo>
                  <a:pt x="433" y="166"/>
                  <a:pt x="441" y="166"/>
                  <a:pt x="441" y="166"/>
                </a:cubicBezTo>
                <a:cubicBezTo>
                  <a:pt x="441" y="158"/>
                  <a:pt x="449" y="150"/>
                  <a:pt x="449" y="150"/>
                </a:cubicBezTo>
                <a:lnTo>
                  <a:pt x="441" y="142"/>
                </a:lnTo>
                <a:cubicBezTo>
                  <a:pt x="433" y="135"/>
                  <a:pt x="433" y="127"/>
                  <a:pt x="433" y="127"/>
                </a:cubicBezTo>
                <a:cubicBezTo>
                  <a:pt x="433" y="127"/>
                  <a:pt x="433" y="142"/>
                  <a:pt x="433" y="119"/>
                </a:cubicBezTo>
                <a:lnTo>
                  <a:pt x="425" y="95"/>
                </a:lnTo>
                <a:lnTo>
                  <a:pt x="417" y="87"/>
                </a:lnTo>
                <a:cubicBezTo>
                  <a:pt x="417" y="87"/>
                  <a:pt x="417" y="79"/>
                  <a:pt x="408" y="79"/>
                </a:cubicBezTo>
                <a:cubicBezTo>
                  <a:pt x="408" y="71"/>
                  <a:pt x="392" y="63"/>
                  <a:pt x="392" y="63"/>
                </a:cubicBezTo>
                <a:lnTo>
                  <a:pt x="392" y="47"/>
                </a:lnTo>
                <a:cubicBezTo>
                  <a:pt x="384" y="47"/>
                  <a:pt x="376" y="39"/>
                  <a:pt x="376" y="47"/>
                </a:cubicBezTo>
                <a:lnTo>
                  <a:pt x="376" y="63"/>
                </a:lnTo>
                <a:lnTo>
                  <a:pt x="351" y="63"/>
                </a:lnTo>
                <a:lnTo>
                  <a:pt x="351" y="71"/>
                </a:lnTo>
                <a:lnTo>
                  <a:pt x="335" y="79"/>
                </a:lnTo>
                <a:cubicBezTo>
                  <a:pt x="335" y="79"/>
                  <a:pt x="335" y="71"/>
                  <a:pt x="335" y="79"/>
                </a:cubicBezTo>
                <a:cubicBezTo>
                  <a:pt x="343" y="87"/>
                  <a:pt x="343" y="95"/>
                  <a:pt x="343" y="103"/>
                </a:cubicBezTo>
                <a:cubicBezTo>
                  <a:pt x="343" y="103"/>
                  <a:pt x="359" y="111"/>
                  <a:pt x="351" y="111"/>
                </a:cubicBezTo>
                <a:lnTo>
                  <a:pt x="335" y="111"/>
                </a:lnTo>
                <a:cubicBezTo>
                  <a:pt x="335" y="111"/>
                  <a:pt x="327" y="103"/>
                  <a:pt x="327" y="95"/>
                </a:cubicBezTo>
                <a:cubicBezTo>
                  <a:pt x="327" y="95"/>
                  <a:pt x="318" y="87"/>
                  <a:pt x="310" y="87"/>
                </a:cubicBezTo>
                <a:cubicBezTo>
                  <a:pt x="310" y="87"/>
                  <a:pt x="302" y="87"/>
                  <a:pt x="294" y="95"/>
                </a:cubicBezTo>
                <a:lnTo>
                  <a:pt x="294" y="111"/>
                </a:lnTo>
                <a:lnTo>
                  <a:pt x="294" y="142"/>
                </a:lnTo>
                <a:cubicBezTo>
                  <a:pt x="294" y="142"/>
                  <a:pt x="302" y="150"/>
                  <a:pt x="310" y="158"/>
                </a:cubicBezTo>
                <a:lnTo>
                  <a:pt x="318" y="182"/>
                </a:lnTo>
                <a:cubicBezTo>
                  <a:pt x="318" y="190"/>
                  <a:pt x="327" y="198"/>
                  <a:pt x="327" y="198"/>
                </a:cubicBezTo>
                <a:cubicBezTo>
                  <a:pt x="327" y="198"/>
                  <a:pt x="286" y="182"/>
                  <a:pt x="286" y="174"/>
                </a:cubicBezTo>
                <a:cubicBezTo>
                  <a:pt x="286" y="166"/>
                  <a:pt x="286" y="150"/>
                  <a:pt x="278" y="150"/>
                </a:cubicBezTo>
                <a:cubicBezTo>
                  <a:pt x="278" y="150"/>
                  <a:pt x="278" y="142"/>
                  <a:pt x="269" y="150"/>
                </a:cubicBezTo>
                <a:lnTo>
                  <a:pt x="253" y="150"/>
                </a:lnTo>
                <a:lnTo>
                  <a:pt x="253" y="166"/>
                </a:lnTo>
                <a:lnTo>
                  <a:pt x="253" y="182"/>
                </a:lnTo>
                <a:cubicBezTo>
                  <a:pt x="261" y="198"/>
                  <a:pt x="261" y="198"/>
                  <a:pt x="261" y="206"/>
                </a:cubicBezTo>
                <a:cubicBezTo>
                  <a:pt x="269" y="214"/>
                  <a:pt x="278" y="214"/>
                  <a:pt x="278" y="222"/>
                </a:cubicBezTo>
                <a:lnTo>
                  <a:pt x="286" y="230"/>
                </a:lnTo>
                <a:lnTo>
                  <a:pt x="278" y="245"/>
                </a:lnTo>
                <a:cubicBezTo>
                  <a:pt x="278" y="253"/>
                  <a:pt x="269" y="261"/>
                  <a:pt x="269" y="261"/>
                </a:cubicBezTo>
                <a:lnTo>
                  <a:pt x="286" y="269"/>
                </a:lnTo>
                <a:cubicBezTo>
                  <a:pt x="286" y="269"/>
                  <a:pt x="294" y="277"/>
                  <a:pt x="286" y="285"/>
                </a:cubicBezTo>
                <a:lnTo>
                  <a:pt x="269" y="285"/>
                </a:lnTo>
                <a:cubicBezTo>
                  <a:pt x="269" y="277"/>
                  <a:pt x="261" y="285"/>
                  <a:pt x="261" y="269"/>
                </a:cubicBezTo>
                <a:cubicBezTo>
                  <a:pt x="269" y="261"/>
                  <a:pt x="269" y="253"/>
                  <a:pt x="269" y="253"/>
                </a:cubicBezTo>
                <a:cubicBezTo>
                  <a:pt x="261" y="253"/>
                  <a:pt x="253" y="238"/>
                  <a:pt x="253" y="238"/>
                </a:cubicBezTo>
                <a:cubicBezTo>
                  <a:pt x="253" y="238"/>
                  <a:pt x="269" y="261"/>
                  <a:pt x="245" y="222"/>
                </a:cubicBezTo>
                <a:lnTo>
                  <a:pt x="229" y="190"/>
                </a:lnTo>
                <a:lnTo>
                  <a:pt x="229" y="174"/>
                </a:lnTo>
                <a:lnTo>
                  <a:pt x="220" y="174"/>
                </a:lnTo>
                <a:lnTo>
                  <a:pt x="212" y="166"/>
                </a:lnTo>
                <a:lnTo>
                  <a:pt x="196" y="166"/>
                </a:lnTo>
                <a:lnTo>
                  <a:pt x="196" y="182"/>
                </a:lnTo>
                <a:cubicBezTo>
                  <a:pt x="188" y="182"/>
                  <a:pt x="188" y="198"/>
                  <a:pt x="188" y="198"/>
                </a:cubicBezTo>
                <a:cubicBezTo>
                  <a:pt x="180" y="198"/>
                  <a:pt x="180" y="214"/>
                  <a:pt x="180" y="214"/>
                </a:cubicBezTo>
                <a:cubicBezTo>
                  <a:pt x="180" y="214"/>
                  <a:pt x="188" y="214"/>
                  <a:pt x="188" y="222"/>
                </a:cubicBezTo>
                <a:cubicBezTo>
                  <a:pt x="196" y="230"/>
                  <a:pt x="196" y="238"/>
                  <a:pt x="196" y="238"/>
                </a:cubicBezTo>
                <a:lnTo>
                  <a:pt x="188" y="230"/>
                </a:lnTo>
                <a:lnTo>
                  <a:pt x="180" y="230"/>
                </a:lnTo>
                <a:lnTo>
                  <a:pt x="171" y="238"/>
                </a:lnTo>
                <a:lnTo>
                  <a:pt x="171" y="253"/>
                </a:lnTo>
                <a:lnTo>
                  <a:pt x="180" y="261"/>
                </a:lnTo>
                <a:lnTo>
                  <a:pt x="180" y="269"/>
                </a:lnTo>
                <a:lnTo>
                  <a:pt x="188" y="277"/>
                </a:lnTo>
                <a:lnTo>
                  <a:pt x="188" y="285"/>
                </a:lnTo>
                <a:cubicBezTo>
                  <a:pt x="180" y="285"/>
                  <a:pt x="188" y="293"/>
                  <a:pt x="180" y="285"/>
                </a:cubicBezTo>
                <a:cubicBezTo>
                  <a:pt x="171" y="277"/>
                  <a:pt x="171" y="285"/>
                  <a:pt x="163" y="277"/>
                </a:cubicBezTo>
                <a:lnTo>
                  <a:pt x="163" y="261"/>
                </a:lnTo>
                <a:cubicBezTo>
                  <a:pt x="163" y="261"/>
                  <a:pt x="171" y="253"/>
                  <a:pt x="155" y="245"/>
                </a:cubicBezTo>
                <a:cubicBezTo>
                  <a:pt x="147" y="230"/>
                  <a:pt x="147" y="222"/>
                  <a:pt x="147" y="222"/>
                </a:cubicBezTo>
                <a:cubicBezTo>
                  <a:pt x="147" y="222"/>
                  <a:pt x="139" y="214"/>
                  <a:pt x="130" y="214"/>
                </a:cubicBezTo>
                <a:cubicBezTo>
                  <a:pt x="130" y="222"/>
                  <a:pt x="130" y="222"/>
                  <a:pt x="122" y="222"/>
                </a:cubicBezTo>
                <a:cubicBezTo>
                  <a:pt x="114" y="230"/>
                  <a:pt x="114" y="230"/>
                  <a:pt x="106" y="230"/>
                </a:cubicBezTo>
                <a:lnTo>
                  <a:pt x="90" y="230"/>
                </a:lnTo>
                <a:lnTo>
                  <a:pt x="73" y="238"/>
                </a:lnTo>
                <a:cubicBezTo>
                  <a:pt x="65" y="253"/>
                  <a:pt x="57" y="253"/>
                  <a:pt x="65" y="253"/>
                </a:cubicBezTo>
                <a:cubicBezTo>
                  <a:pt x="73" y="261"/>
                  <a:pt x="90" y="261"/>
                  <a:pt x="90" y="261"/>
                </a:cubicBezTo>
                <a:cubicBezTo>
                  <a:pt x="90" y="261"/>
                  <a:pt x="98" y="261"/>
                  <a:pt x="106" y="269"/>
                </a:cubicBezTo>
                <a:cubicBezTo>
                  <a:pt x="114" y="269"/>
                  <a:pt x="130" y="285"/>
                  <a:pt x="130" y="285"/>
                </a:cubicBezTo>
                <a:lnTo>
                  <a:pt x="147" y="309"/>
                </a:lnTo>
                <a:lnTo>
                  <a:pt x="147" y="317"/>
                </a:lnTo>
                <a:lnTo>
                  <a:pt x="147" y="325"/>
                </a:lnTo>
                <a:lnTo>
                  <a:pt x="147" y="333"/>
                </a:lnTo>
                <a:cubicBezTo>
                  <a:pt x="147" y="333"/>
                  <a:pt x="155" y="341"/>
                  <a:pt x="163" y="349"/>
                </a:cubicBezTo>
                <a:lnTo>
                  <a:pt x="180" y="349"/>
                </a:lnTo>
                <a:lnTo>
                  <a:pt x="188" y="349"/>
                </a:lnTo>
                <a:lnTo>
                  <a:pt x="204" y="341"/>
                </a:lnTo>
                <a:lnTo>
                  <a:pt x="212" y="341"/>
                </a:lnTo>
                <a:cubicBezTo>
                  <a:pt x="229" y="341"/>
                  <a:pt x="220" y="349"/>
                  <a:pt x="229" y="349"/>
                </a:cubicBezTo>
                <a:cubicBezTo>
                  <a:pt x="229" y="341"/>
                  <a:pt x="245" y="341"/>
                  <a:pt x="245" y="341"/>
                </a:cubicBezTo>
                <a:cubicBezTo>
                  <a:pt x="253" y="341"/>
                  <a:pt x="253" y="333"/>
                  <a:pt x="261" y="341"/>
                </a:cubicBezTo>
                <a:lnTo>
                  <a:pt x="261" y="356"/>
                </a:lnTo>
                <a:cubicBezTo>
                  <a:pt x="270" y="356"/>
                  <a:pt x="278" y="364"/>
                  <a:pt x="278" y="364"/>
                </a:cubicBezTo>
                <a:lnTo>
                  <a:pt x="294" y="364"/>
                </a:lnTo>
                <a:cubicBezTo>
                  <a:pt x="294" y="364"/>
                  <a:pt x="294" y="356"/>
                  <a:pt x="302" y="356"/>
                </a:cubicBezTo>
                <a:cubicBezTo>
                  <a:pt x="302" y="349"/>
                  <a:pt x="310" y="341"/>
                  <a:pt x="310" y="341"/>
                </a:cubicBezTo>
                <a:cubicBezTo>
                  <a:pt x="310" y="341"/>
                  <a:pt x="302" y="341"/>
                  <a:pt x="310" y="349"/>
                </a:cubicBezTo>
                <a:cubicBezTo>
                  <a:pt x="319" y="349"/>
                  <a:pt x="319" y="349"/>
                  <a:pt x="327" y="356"/>
                </a:cubicBezTo>
                <a:lnTo>
                  <a:pt x="343" y="349"/>
                </a:lnTo>
                <a:lnTo>
                  <a:pt x="351" y="349"/>
                </a:lnTo>
                <a:cubicBezTo>
                  <a:pt x="351" y="349"/>
                  <a:pt x="343" y="356"/>
                  <a:pt x="351" y="356"/>
                </a:cubicBezTo>
                <a:cubicBezTo>
                  <a:pt x="351" y="356"/>
                  <a:pt x="343" y="356"/>
                  <a:pt x="351" y="356"/>
                </a:cubicBezTo>
                <a:cubicBezTo>
                  <a:pt x="359" y="356"/>
                  <a:pt x="368" y="349"/>
                  <a:pt x="368" y="349"/>
                </a:cubicBezTo>
                <a:cubicBezTo>
                  <a:pt x="368" y="349"/>
                  <a:pt x="359" y="356"/>
                  <a:pt x="359" y="364"/>
                </a:cubicBezTo>
                <a:lnTo>
                  <a:pt x="359" y="372"/>
                </a:lnTo>
                <a:cubicBezTo>
                  <a:pt x="359" y="372"/>
                  <a:pt x="359" y="380"/>
                  <a:pt x="368" y="388"/>
                </a:cubicBezTo>
                <a:lnTo>
                  <a:pt x="400" y="388"/>
                </a:lnTo>
                <a:lnTo>
                  <a:pt x="400" y="396"/>
                </a:lnTo>
                <a:lnTo>
                  <a:pt x="409" y="388"/>
                </a:lnTo>
                <a:lnTo>
                  <a:pt x="425" y="388"/>
                </a:lnTo>
                <a:cubicBezTo>
                  <a:pt x="425" y="396"/>
                  <a:pt x="417" y="404"/>
                  <a:pt x="417" y="404"/>
                </a:cubicBezTo>
                <a:lnTo>
                  <a:pt x="417" y="412"/>
                </a:lnTo>
                <a:lnTo>
                  <a:pt x="433" y="412"/>
                </a:lnTo>
                <a:cubicBezTo>
                  <a:pt x="433" y="412"/>
                  <a:pt x="433" y="404"/>
                  <a:pt x="441" y="412"/>
                </a:cubicBezTo>
                <a:lnTo>
                  <a:pt x="441" y="420"/>
                </a:lnTo>
                <a:cubicBezTo>
                  <a:pt x="433" y="420"/>
                  <a:pt x="433" y="412"/>
                  <a:pt x="433" y="428"/>
                </a:cubicBezTo>
                <a:cubicBezTo>
                  <a:pt x="425" y="436"/>
                  <a:pt x="433" y="444"/>
                  <a:pt x="433" y="444"/>
                </a:cubicBezTo>
                <a:lnTo>
                  <a:pt x="441" y="460"/>
                </a:lnTo>
                <a:lnTo>
                  <a:pt x="458" y="460"/>
                </a:lnTo>
                <a:cubicBezTo>
                  <a:pt x="466" y="452"/>
                  <a:pt x="466" y="452"/>
                  <a:pt x="474" y="452"/>
                </a:cubicBezTo>
                <a:lnTo>
                  <a:pt x="482" y="460"/>
                </a:lnTo>
                <a:lnTo>
                  <a:pt x="482" y="467"/>
                </a:lnTo>
                <a:lnTo>
                  <a:pt x="482" y="475"/>
                </a:lnTo>
                <a:cubicBezTo>
                  <a:pt x="490" y="483"/>
                  <a:pt x="499" y="483"/>
                  <a:pt x="499" y="483"/>
                </a:cubicBezTo>
                <a:lnTo>
                  <a:pt x="499" y="491"/>
                </a:lnTo>
                <a:cubicBezTo>
                  <a:pt x="507" y="499"/>
                  <a:pt x="523" y="507"/>
                  <a:pt x="523" y="507"/>
                </a:cubicBezTo>
                <a:lnTo>
                  <a:pt x="499" y="499"/>
                </a:lnTo>
                <a:lnTo>
                  <a:pt x="474" y="499"/>
                </a:lnTo>
                <a:lnTo>
                  <a:pt x="449" y="499"/>
                </a:lnTo>
                <a:lnTo>
                  <a:pt x="425" y="507"/>
                </a:lnTo>
                <a:cubicBezTo>
                  <a:pt x="425" y="507"/>
                  <a:pt x="409" y="515"/>
                  <a:pt x="400" y="515"/>
                </a:cubicBezTo>
                <a:lnTo>
                  <a:pt x="384" y="515"/>
                </a:lnTo>
                <a:cubicBezTo>
                  <a:pt x="384" y="523"/>
                  <a:pt x="376" y="523"/>
                  <a:pt x="368" y="523"/>
                </a:cubicBezTo>
                <a:lnTo>
                  <a:pt x="343" y="523"/>
                </a:lnTo>
                <a:lnTo>
                  <a:pt x="335" y="523"/>
                </a:lnTo>
                <a:lnTo>
                  <a:pt x="310" y="531"/>
                </a:lnTo>
                <a:lnTo>
                  <a:pt x="319" y="539"/>
                </a:lnTo>
                <a:lnTo>
                  <a:pt x="335" y="547"/>
                </a:lnTo>
                <a:cubicBezTo>
                  <a:pt x="343" y="547"/>
                  <a:pt x="351" y="555"/>
                  <a:pt x="351" y="555"/>
                </a:cubicBezTo>
                <a:cubicBezTo>
                  <a:pt x="351" y="555"/>
                  <a:pt x="359" y="563"/>
                  <a:pt x="368" y="571"/>
                </a:cubicBezTo>
                <a:lnTo>
                  <a:pt x="376" y="578"/>
                </a:lnTo>
                <a:lnTo>
                  <a:pt x="392" y="58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22" name="Freeform 114">
            <a:extLst>
              <a:ext uri="{FF2B5EF4-FFF2-40B4-BE49-F238E27FC236}">
                <a16:creationId xmlns:a16="http://schemas.microsoft.com/office/drawing/2014/main" id="{AE51DAC4-A7E2-1988-B2C9-A79E1675A050}"/>
              </a:ext>
            </a:extLst>
          </p:cNvPr>
          <p:cNvSpPr>
            <a:spLocks noChangeArrowheads="1"/>
          </p:cNvSpPr>
          <p:nvPr>
            <p:custDataLst>
              <p:tags r:id="rId114"/>
            </p:custDataLst>
          </p:nvPr>
        </p:nvSpPr>
        <p:spPr bwMode="auto">
          <a:xfrm>
            <a:off x="7545556" y="3082691"/>
            <a:ext cx="1173669" cy="967190"/>
          </a:xfrm>
          <a:custGeom>
            <a:avLst/>
            <a:gdLst>
              <a:gd name="T0" fmla="*/ 1574 w 2857"/>
              <a:gd name="T1" fmla="*/ 128 h 2354"/>
              <a:gd name="T2" fmla="*/ 2109 w 2857"/>
              <a:gd name="T3" fmla="*/ 40 h 2354"/>
              <a:gd name="T4" fmla="*/ 2345 w 2857"/>
              <a:gd name="T5" fmla="*/ 104 h 2354"/>
              <a:gd name="T6" fmla="*/ 2548 w 2857"/>
              <a:gd name="T7" fmla="*/ 478 h 2354"/>
              <a:gd name="T8" fmla="*/ 2548 w 2857"/>
              <a:gd name="T9" fmla="*/ 717 h 2354"/>
              <a:gd name="T10" fmla="*/ 2458 w 2857"/>
              <a:gd name="T11" fmla="*/ 909 h 2354"/>
              <a:gd name="T12" fmla="*/ 2580 w 2857"/>
              <a:gd name="T13" fmla="*/ 1108 h 2354"/>
              <a:gd name="T14" fmla="*/ 2645 w 2857"/>
              <a:gd name="T15" fmla="*/ 1260 h 2354"/>
              <a:gd name="T16" fmla="*/ 2791 w 2857"/>
              <a:gd name="T17" fmla="*/ 1396 h 2354"/>
              <a:gd name="T18" fmla="*/ 2807 w 2857"/>
              <a:gd name="T19" fmla="*/ 1507 h 2354"/>
              <a:gd name="T20" fmla="*/ 2791 w 2857"/>
              <a:gd name="T21" fmla="*/ 1675 h 2354"/>
              <a:gd name="T22" fmla="*/ 2653 w 2857"/>
              <a:gd name="T23" fmla="*/ 1875 h 2354"/>
              <a:gd name="T24" fmla="*/ 2572 w 2857"/>
              <a:gd name="T25" fmla="*/ 2146 h 2354"/>
              <a:gd name="T26" fmla="*/ 2613 w 2857"/>
              <a:gd name="T27" fmla="*/ 2234 h 2354"/>
              <a:gd name="T28" fmla="*/ 2556 w 2857"/>
              <a:gd name="T29" fmla="*/ 2274 h 2354"/>
              <a:gd name="T30" fmla="*/ 2491 w 2857"/>
              <a:gd name="T31" fmla="*/ 2258 h 2354"/>
              <a:gd name="T32" fmla="*/ 2434 w 2857"/>
              <a:gd name="T33" fmla="*/ 2250 h 2354"/>
              <a:gd name="T34" fmla="*/ 2369 w 2857"/>
              <a:gd name="T35" fmla="*/ 2234 h 2354"/>
              <a:gd name="T36" fmla="*/ 2337 w 2857"/>
              <a:gd name="T37" fmla="*/ 2186 h 2354"/>
              <a:gd name="T38" fmla="*/ 2280 w 2857"/>
              <a:gd name="T39" fmla="*/ 2178 h 2354"/>
              <a:gd name="T40" fmla="*/ 2199 w 2857"/>
              <a:gd name="T41" fmla="*/ 2178 h 2354"/>
              <a:gd name="T42" fmla="*/ 2142 w 2857"/>
              <a:gd name="T43" fmla="*/ 2170 h 2354"/>
              <a:gd name="T44" fmla="*/ 2093 w 2857"/>
              <a:gd name="T45" fmla="*/ 2186 h 2354"/>
              <a:gd name="T46" fmla="*/ 2061 w 2857"/>
              <a:gd name="T47" fmla="*/ 2258 h 2354"/>
              <a:gd name="T48" fmla="*/ 2012 w 2857"/>
              <a:gd name="T49" fmla="*/ 2234 h 2354"/>
              <a:gd name="T50" fmla="*/ 1955 w 2857"/>
              <a:gd name="T51" fmla="*/ 2226 h 2354"/>
              <a:gd name="T52" fmla="*/ 1906 w 2857"/>
              <a:gd name="T53" fmla="*/ 2234 h 2354"/>
              <a:gd name="T54" fmla="*/ 1874 w 2857"/>
              <a:gd name="T55" fmla="*/ 2266 h 2354"/>
              <a:gd name="T56" fmla="*/ 1833 w 2857"/>
              <a:gd name="T57" fmla="*/ 2290 h 2354"/>
              <a:gd name="T58" fmla="*/ 1817 w 2857"/>
              <a:gd name="T59" fmla="*/ 2346 h 2354"/>
              <a:gd name="T60" fmla="*/ 1777 w 2857"/>
              <a:gd name="T61" fmla="*/ 2346 h 2354"/>
              <a:gd name="T62" fmla="*/ 1752 w 2857"/>
              <a:gd name="T63" fmla="*/ 2322 h 2354"/>
              <a:gd name="T64" fmla="*/ 1687 w 2857"/>
              <a:gd name="T65" fmla="*/ 2266 h 2354"/>
              <a:gd name="T66" fmla="*/ 1598 w 2857"/>
              <a:gd name="T67" fmla="*/ 2218 h 2354"/>
              <a:gd name="T68" fmla="*/ 1525 w 2857"/>
              <a:gd name="T69" fmla="*/ 2298 h 2354"/>
              <a:gd name="T70" fmla="*/ 1468 w 2857"/>
              <a:gd name="T71" fmla="*/ 2258 h 2354"/>
              <a:gd name="T72" fmla="*/ 1371 w 2857"/>
              <a:gd name="T73" fmla="*/ 2154 h 2354"/>
              <a:gd name="T74" fmla="*/ 1192 w 2857"/>
              <a:gd name="T75" fmla="*/ 2090 h 2354"/>
              <a:gd name="T76" fmla="*/ 1111 w 2857"/>
              <a:gd name="T77" fmla="*/ 2002 h 2354"/>
              <a:gd name="T78" fmla="*/ 949 w 2857"/>
              <a:gd name="T79" fmla="*/ 1946 h 2354"/>
              <a:gd name="T80" fmla="*/ 860 w 2857"/>
              <a:gd name="T81" fmla="*/ 2034 h 2354"/>
              <a:gd name="T82" fmla="*/ 746 w 2857"/>
              <a:gd name="T83" fmla="*/ 2010 h 2354"/>
              <a:gd name="T84" fmla="*/ 705 w 2857"/>
              <a:gd name="T85" fmla="*/ 1922 h 2354"/>
              <a:gd name="T86" fmla="*/ 624 w 2857"/>
              <a:gd name="T87" fmla="*/ 1883 h 2354"/>
              <a:gd name="T88" fmla="*/ 535 w 2857"/>
              <a:gd name="T89" fmla="*/ 1843 h 2354"/>
              <a:gd name="T90" fmla="*/ 414 w 2857"/>
              <a:gd name="T91" fmla="*/ 1803 h 2354"/>
              <a:gd name="T92" fmla="*/ 325 w 2857"/>
              <a:gd name="T93" fmla="*/ 1771 h 2354"/>
              <a:gd name="T94" fmla="*/ 309 w 2857"/>
              <a:gd name="T95" fmla="*/ 1739 h 2354"/>
              <a:gd name="T96" fmla="*/ 284 w 2857"/>
              <a:gd name="T97" fmla="*/ 1579 h 2354"/>
              <a:gd name="T98" fmla="*/ 195 w 2857"/>
              <a:gd name="T99" fmla="*/ 1428 h 2354"/>
              <a:gd name="T100" fmla="*/ 195 w 2857"/>
              <a:gd name="T101" fmla="*/ 1292 h 2354"/>
              <a:gd name="T102" fmla="*/ 146 w 2857"/>
              <a:gd name="T103" fmla="*/ 1053 h 2354"/>
              <a:gd name="T104" fmla="*/ 73 w 2857"/>
              <a:gd name="T105" fmla="*/ 869 h 2354"/>
              <a:gd name="T106" fmla="*/ 17 w 2857"/>
              <a:gd name="T107" fmla="*/ 558 h 2354"/>
              <a:gd name="T108" fmla="*/ 106 w 2857"/>
              <a:gd name="T109" fmla="*/ 462 h 2354"/>
              <a:gd name="T110" fmla="*/ 447 w 2857"/>
              <a:gd name="T111" fmla="*/ 319 h 2354"/>
              <a:gd name="T112" fmla="*/ 559 w 2857"/>
              <a:gd name="T113" fmla="*/ 200 h 2354"/>
              <a:gd name="T114" fmla="*/ 770 w 2857"/>
              <a:gd name="T115" fmla="*/ 72 h 2354"/>
              <a:gd name="T116" fmla="*/ 1046 w 2857"/>
              <a:gd name="T117" fmla="*/ 32 h 2354"/>
              <a:gd name="T118" fmla="*/ 1111 w 2857"/>
              <a:gd name="T119" fmla="*/ 168 h 2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857" h="2354">
                <a:moveTo>
                  <a:pt x="1257" y="184"/>
                </a:moveTo>
                <a:cubicBezTo>
                  <a:pt x="1274" y="184"/>
                  <a:pt x="1347" y="128"/>
                  <a:pt x="1347" y="128"/>
                </a:cubicBezTo>
                <a:cubicBezTo>
                  <a:pt x="1347" y="128"/>
                  <a:pt x="1387" y="144"/>
                  <a:pt x="1412" y="136"/>
                </a:cubicBezTo>
                <a:cubicBezTo>
                  <a:pt x="1436" y="136"/>
                  <a:pt x="1517" y="128"/>
                  <a:pt x="1517" y="128"/>
                </a:cubicBezTo>
                <a:lnTo>
                  <a:pt x="1574" y="128"/>
                </a:lnTo>
                <a:cubicBezTo>
                  <a:pt x="1590" y="128"/>
                  <a:pt x="1663" y="120"/>
                  <a:pt x="1679" y="120"/>
                </a:cubicBezTo>
                <a:cubicBezTo>
                  <a:pt x="1696" y="120"/>
                  <a:pt x="1744" y="112"/>
                  <a:pt x="1752" y="104"/>
                </a:cubicBezTo>
                <a:cubicBezTo>
                  <a:pt x="1769" y="104"/>
                  <a:pt x="1866" y="96"/>
                  <a:pt x="1874" y="96"/>
                </a:cubicBezTo>
                <a:cubicBezTo>
                  <a:pt x="1890" y="96"/>
                  <a:pt x="2045" y="80"/>
                  <a:pt x="2045" y="80"/>
                </a:cubicBezTo>
                <a:lnTo>
                  <a:pt x="2109" y="40"/>
                </a:lnTo>
                <a:lnTo>
                  <a:pt x="2183" y="24"/>
                </a:lnTo>
                <a:cubicBezTo>
                  <a:pt x="2183" y="24"/>
                  <a:pt x="2207" y="0"/>
                  <a:pt x="2207" y="8"/>
                </a:cubicBezTo>
                <a:cubicBezTo>
                  <a:pt x="2215" y="24"/>
                  <a:pt x="2231" y="48"/>
                  <a:pt x="2231" y="48"/>
                </a:cubicBezTo>
                <a:lnTo>
                  <a:pt x="2320" y="48"/>
                </a:lnTo>
                <a:cubicBezTo>
                  <a:pt x="2320" y="56"/>
                  <a:pt x="2345" y="104"/>
                  <a:pt x="2345" y="104"/>
                </a:cubicBezTo>
                <a:lnTo>
                  <a:pt x="2369" y="128"/>
                </a:lnTo>
                <a:cubicBezTo>
                  <a:pt x="2369" y="128"/>
                  <a:pt x="2377" y="168"/>
                  <a:pt x="2377" y="192"/>
                </a:cubicBezTo>
                <a:cubicBezTo>
                  <a:pt x="2385" y="208"/>
                  <a:pt x="2442" y="303"/>
                  <a:pt x="2442" y="303"/>
                </a:cubicBezTo>
                <a:lnTo>
                  <a:pt x="2483" y="390"/>
                </a:lnTo>
                <a:lnTo>
                  <a:pt x="2548" y="478"/>
                </a:lnTo>
                <a:lnTo>
                  <a:pt x="2556" y="542"/>
                </a:lnTo>
                <a:cubicBezTo>
                  <a:pt x="2556" y="542"/>
                  <a:pt x="2580" y="566"/>
                  <a:pt x="2580" y="582"/>
                </a:cubicBezTo>
                <a:lnTo>
                  <a:pt x="2580" y="622"/>
                </a:lnTo>
                <a:cubicBezTo>
                  <a:pt x="2588" y="622"/>
                  <a:pt x="2596" y="661"/>
                  <a:pt x="2588" y="661"/>
                </a:cubicBezTo>
                <a:cubicBezTo>
                  <a:pt x="2580" y="669"/>
                  <a:pt x="2548" y="717"/>
                  <a:pt x="2548" y="717"/>
                </a:cubicBezTo>
                <a:lnTo>
                  <a:pt x="2515" y="733"/>
                </a:lnTo>
                <a:lnTo>
                  <a:pt x="2475" y="789"/>
                </a:lnTo>
                <a:lnTo>
                  <a:pt x="2450" y="861"/>
                </a:lnTo>
                <a:lnTo>
                  <a:pt x="2442" y="885"/>
                </a:lnTo>
                <a:cubicBezTo>
                  <a:pt x="2442" y="885"/>
                  <a:pt x="2450" y="909"/>
                  <a:pt x="2458" y="909"/>
                </a:cubicBezTo>
                <a:cubicBezTo>
                  <a:pt x="2475" y="909"/>
                  <a:pt x="2531" y="917"/>
                  <a:pt x="2531" y="917"/>
                </a:cubicBezTo>
                <a:lnTo>
                  <a:pt x="2580" y="949"/>
                </a:lnTo>
                <a:lnTo>
                  <a:pt x="2580" y="981"/>
                </a:lnTo>
                <a:cubicBezTo>
                  <a:pt x="2580" y="981"/>
                  <a:pt x="2588" y="1045"/>
                  <a:pt x="2588" y="1053"/>
                </a:cubicBezTo>
                <a:lnTo>
                  <a:pt x="2580" y="1108"/>
                </a:lnTo>
                <a:cubicBezTo>
                  <a:pt x="2580" y="1108"/>
                  <a:pt x="2596" y="1140"/>
                  <a:pt x="2596" y="1148"/>
                </a:cubicBezTo>
                <a:cubicBezTo>
                  <a:pt x="2605" y="1156"/>
                  <a:pt x="2621" y="1172"/>
                  <a:pt x="2621" y="1180"/>
                </a:cubicBezTo>
                <a:cubicBezTo>
                  <a:pt x="2629" y="1180"/>
                  <a:pt x="2629" y="1188"/>
                  <a:pt x="2629" y="1188"/>
                </a:cubicBezTo>
                <a:lnTo>
                  <a:pt x="2645" y="1228"/>
                </a:lnTo>
                <a:lnTo>
                  <a:pt x="2645" y="1260"/>
                </a:lnTo>
                <a:cubicBezTo>
                  <a:pt x="2645" y="1260"/>
                  <a:pt x="2645" y="1284"/>
                  <a:pt x="2661" y="1284"/>
                </a:cubicBezTo>
                <a:cubicBezTo>
                  <a:pt x="2678" y="1284"/>
                  <a:pt x="2686" y="1292"/>
                  <a:pt x="2686" y="1308"/>
                </a:cubicBezTo>
                <a:cubicBezTo>
                  <a:pt x="2686" y="1324"/>
                  <a:pt x="2726" y="1340"/>
                  <a:pt x="2726" y="1340"/>
                </a:cubicBezTo>
                <a:cubicBezTo>
                  <a:pt x="2726" y="1340"/>
                  <a:pt x="2726" y="1372"/>
                  <a:pt x="2734" y="1380"/>
                </a:cubicBezTo>
                <a:cubicBezTo>
                  <a:pt x="2751" y="1388"/>
                  <a:pt x="2767" y="1396"/>
                  <a:pt x="2791" y="1396"/>
                </a:cubicBezTo>
                <a:cubicBezTo>
                  <a:pt x="2816" y="1404"/>
                  <a:pt x="2807" y="1436"/>
                  <a:pt x="2824" y="1444"/>
                </a:cubicBezTo>
                <a:cubicBezTo>
                  <a:pt x="2840" y="1452"/>
                  <a:pt x="2856" y="1468"/>
                  <a:pt x="2840" y="1468"/>
                </a:cubicBezTo>
                <a:cubicBezTo>
                  <a:pt x="2832" y="1476"/>
                  <a:pt x="2807" y="1476"/>
                  <a:pt x="2807" y="1476"/>
                </a:cubicBezTo>
                <a:cubicBezTo>
                  <a:pt x="2807" y="1476"/>
                  <a:pt x="2799" y="1484"/>
                  <a:pt x="2799" y="1499"/>
                </a:cubicBezTo>
                <a:lnTo>
                  <a:pt x="2807" y="1507"/>
                </a:lnTo>
                <a:lnTo>
                  <a:pt x="2840" y="1547"/>
                </a:lnTo>
                <a:lnTo>
                  <a:pt x="2840" y="1595"/>
                </a:lnTo>
                <a:lnTo>
                  <a:pt x="2840" y="1627"/>
                </a:lnTo>
                <a:cubicBezTo>
                  <a:pt x="2840" y="1635"/>
                  <a:pt x="2832" y="1651"/>
                  <a:pt x="2816" y="1651"/>
                </a:cubicBezTo>
                <a:cubicBezTo>
                  <a:pt x="2799" y="1651"/>
                  <a:pt x="2799" y="1675"/>
                  <a:pt x="2791" y="1675"/>
                </a:cubicBezTo>
                <a:cubicBezTo>
                  <a:pt x="2783" y="1683"/>
                  <a:pt x="2767" y="1659"/>
                  <a:pt x="2759" y="1683"/>
                </a:cubicBezTo>
                <a:cubicBezTo>
                  <a:pt x="2751" y="1715"/>
                  <a:pt x="2734" y="1739"/>
                  <a:pt x="2734" y="1747"/>
                </a:cubicBezTo>
                <a:cubicBezTo>
                  <a:pt x="2726" y="1755"/>
                  <a:pt x="2702" y="1763"/>
                  <a:pt x="2702" y="1779"/>
                </a:cubicBezTo>
                <a:cubicBezTo>
                  <a:pt x="2694" y="1795"/>
                  <a:pt x="2694" y="1779"/>
                  <a:pt x="2678" y="1819"/>
                </a:cubicBezTo>
                <a:cubicBezTo>
                  <a:pt x="2661" y="1859"/>
                  <a:pt x="2653" y="1875"/>
                  <a:pt x="2653" y="1875"/>
                </a:cubicBezTo>
                <a:lnTo>
                  <a:pt x="2580" y="1970"/>
                </a:lnTo>
                <a:cubicBezTo>
                  <a:pt x="2580" y="1970"/>
                  <a:pt x="2540" y="2034"/>
                  <a:pt x="2540" y="2042"/>
                </a:cubicBezTo>
                <a:lnTo>
                  <a:pt x="2540" y="2082"/>
                </a:lnTo>
                <a:lnTo>
                  <a:pt x="2572" y="2114"/>
                </a:lnTo>
                <a:lnTo>
                  <a:pt x="2572" y="2146"/>
                </a:lnTo>
                <a:cubicBezTo>
                  <a:pt x="2572" y="2146"/>
                  <a:pt x="2572" y="2170"/>
                  <a:pt x="2580" y="2178"/>
                </a:cubicBezTo>
                <a:lnTo>
                  <a:pt x="2588" y="2178"/>
                </a:lnTo>
                <a:lnTo>
                  <a:pt x="2580" y="2202"/>
                </a:lnTo>
                <a:cubicBezTo>
                  <a:pt x="2580" y="2202"/>
                  <a:pt x="2588" y="2226"/>
                  <a:pt x="2596" y="2226"/>
                </a:cubicBezTo>
                <a:lnTo>
                  <a:pt x="2613" y="2234"/>
                </a:lnTo>
                <a:lnTo>
                  <a:pt x="2629" y="2250"/>
                </a:lnTo>
                <a:cubicBezTo>
                  <a:pt x="2637" y="2258"/>
                  <a:pt x="2629" y="2274"/>
                  <a:pt x="2629" y="2274"/>
                </a:cubicBezTo>
                <a:cubicBezTo>
                  <a:pt x="2629" y="2274"/>
                  <a:pt x="2629" y="2282"/>
                  <a:pt x="2621" y="2282"/>
                </a:cubicBezTo>
                <a:lnTo>
                  <a:pt x="2596" y="2282"/>
                </a:lnTo>
                <a:cubicBezTo>
                  <a:pt x="2588" y="2274"/>
                  <a:pt x="2564" y="2274"/>
                  <a:pt x="2556" y="2274"/>
                </a:cubicBezTo>
                <a:lnTo>
                  <a:pt x="2548" y="2274"/>
                </a:lnTo>
                <a:cubicBezTo>
                  <a:pt x="2540" y="2274"/>
                  <a:pt x="2540" y="2274"/>
                  <a:pt x="2531" y="2282"/>
                </a:cubicBezTo>
                <a:lnTo>
                  <a:pt x="2531" y="2258"/>
                </a:lnTo>
                <a:lnTo>
                  <a:pt x="2507" y="2258"/>
                </a:lnTo>
                <a:lnTo>
                  <a:pt x="2491" y="2258"/>
                </a:lnTo>
                <a:lnTo>
                  <a:pt x="2475" y="2250"/>
                </a:lnTo>
                <a:lnTo>
                  <a:pt x="2467" y="2250"/>
                </a:lnTo>
                <a:cubicBezTo>
                  <a:pt x="2467" y="2242"/>
                  <a:pt x="2458" y="2250"/>
                  <a:pt x="2458" y="2250"/>
                </a:cubicBezTo>
                <a:lnTo>
                  <a:pt x="2450" y="2250"/>
                </a:lnTo>
                <a:lnTo>
                  <a:pt x="2434" y="2250"/>
                </a:lnTo>
                <a:lnTo>
                  <a:pt x="2434" y="2242"/>
                </a:lnTo>
                <a:cubicBezTo>
                  <a:pt x="2434" y="2234"/>
                  <a:pt x="2426" y="2242"/>
                  <a:pt x="2426" y="2242"/>
                </a:cubicBezTo>
                <a:lnTo>
                  <a:pt x="2410" y="2242"/>
                </a:lnTo>
                <a:cubicBezTo>
                  <a:pt x="2410" y="2234"/>
                  <a:pt x="2402" y="2234"/>
                  <a:pt x="2402" y="2234"/>
                </a:cubicBezTo>
                <a:lnTo>
                  <a:pt x="2369" y="2234"/>
                </a:lnTo>
                <a:lnTo>
                  <a:pt x="2369" y="2210"/>
                </a:lnTo>
                <a:cubicBezTo>
                  <a:pt x="2369" y="2210"/>
                  <a:pt x="2361" y="2210"/>
                  <a:pt x="2361" y="2202"/>
                </a:cubicBezTo>
                <a:lnTo>
                  <a:pt x="2353" y="2194"/>
                </a:lnTo>
                <a:cubicBezTo>
                  <a:pt x="2353" y="2186"/>
                  <a:pt x="2345" y="2186"/>
                  <a:pt x="2345" y="2178"/>
                </a:cubicBezTo>
                <a:lnTo>
                  <a:pt x="2337" y="2186"/>
                </a:lnTo>
                <a:cubicBezTo>
                  <a:pt x="2329" y="2186"/>
                  <a:pt x="2320" y="2178"/>
                  <a:pt x="2320" y="2178"/>
                </a:cubicBezTo>
                <a:lnTo>
                  <a:pt x="2312" y="2170"/>
                </a:lnTo>
                <a:lnTo>
                  <a:pt x="2296" y="2170"/>
                </a:lnTo>
                <a:lnTo>
                  <a:pt x="2296" y="2186"/>
                </a:lnTo>
                <a:cubicBezTo>
                  <a:pt x="2296" y="2186"/>
                  <a:pt x="2288" y="2186"/>
                  <a:pt x="2280" y="2178"/>
                </a:cubicBezTo>
                <a:cubicBezTo>
                  <a:pt x="2280" y="2178"/>
                  <a:pt x="2272" y="2170"/>
                  <a:pt x="2264" y="2170"/>
                </a:cubicBezTo>
                <a:cubicBezTo>
                  <a:pt x="2264" y="2170"/>
                  <a:pt x="2256" y="2170"/>
                  <a:pt x="2247" y="2162"/>
                </a:cubicBezTo>
                <a:lnTo>
                  <a:pt x="2239" y="2162"/>
                </a:lnTo>
                <a:lnTo>
                  <a:pt x="2207" y="2170"/>
                </a:lnTo>
                <a:cubicBezTo>
                  <a:pt x="2207" y="2170"/>
                  <a:pt x="2207" y="2178"/>
                  <a:pt x="2199" y="2178"/>
                </a:cubicBezTo>
                <a:cubicBezTo>
                  <a:pt x="2199" y="2186"/>
                  <a:pt x="2191" y="2178"/>
                  <a:pt x="2191" y="2178"/>
                </a:cubicBezTo>
                <a:lnTo>
                  <a:pt x="2174" y="2178"/>
                </a:lnTo>
                <a:lnTo>
                  <a:pt x="2166" y="2178"/>
                </a:lnTo>
                <a:cubicBezTo>
                  <a:pt x="2166" y="2178"/>
                  <a:pt x="2158" y="2170"/>
                  <a:pt x="2150" y="2170"/>
                </a:cubicBezTo>
                <a:lnTo>
                  <a:pt x="2142" y="2170"/>
                </a:lnTo>
                <a:lnTo>
                  <a:pt x="2134" y="2178"/>
                </a:lnTo>
                <a:lnTo>
                  <a:pt x="2126" y="2186"/>
                </a:lnTo>
                <a:lnTo>
                  <a:pt x="2126" y="2194"/>
                </a:lnTo>
                <a:lnTo>
                  <a:pt x="2109" y="2186"/>
                </a:lnTo>
                <a:lnTo>
                  <a:pt x="2093" y="2186"/>
                </a:lnTo>
                <a:cubicBezTo>
                  <a:pt x="2077" y="2194"/>
                  <a:pt x="2085" y="2202"/>
                  <a:pt x="2085" y="2202"/>
                </a:cubicBezTo>
                <a:cubicBezTo>
                  <a:pt x="2093" y="2202"/>
                  <a:pt x="2101" y="2218"/>
                  <a:pt x="2101" y="2218"/>
                </a:cubicBezTo>
                <a:lnTo>
                  <a:pt x="2077" y="2226"/>
                </a:lnTo>
                <a:cubicBezTo>
                  <a:pt x="2069" y="2234"/>
                  <a:pt x="2069" y="2234"/>
                  <a:pt x="2069" y="2242"/>
                </a:cubicBezTo>
                <a:cubicBezTo>
                  <a:pt x="2069" y="2242"/>
                  <a:pt x="2061" y="2250"/>
                  <a:pt x="2061" y="2258"/>
                </a:cubicBezTo>
                <a:cubicBezTo>
                  <a:pt x="2061" y="2258"/>
                  <a:pt x="2053" y="2250"/>
                  <a:pt x="2045" y="2250"/>
                </a:cubicBezTo>
                <a:cubicBezTo>
                  <a:pt x="2036" y="2250"/>
                  <a:pt x="2036" y="2242"/>
                  <a:pt x="2036" y="2242"/>
                </a:cubicBezTo>
                <a:lnTo>
                  <a:pt x="2028" y="2250"/>
                </a:lnTo>
                <a:lnTo>
                  <a:pt x="2020" y="2250"/>
                </a:lnTo>
                <a:cubicBezTo>
                  <a:pt x="2020" y="2250"/>
                  <a:pt x="2012" y="2242"/>
                  <a:pt x="2012" y="2234"/>
                </a:cubicBezTo>
                <a:cubicBezTo>
                  <a:pt x="2004" y="2234"/>
                  <a:pt x="1996" y="2234"/>
                  <a:pt x="1996" y="2226"/>
                </a:cubicBezTo>
                <a:lnTo>
                  <a:pt x="1988" y="2210"/>
                </a:lnTo>
                <a:cubicBezTo>
                  <a:pt x="1988" y="2210"/>
                  <a:pt x="1971" y="2218"/>
                  <a:pt x="1971" y="2226"/>
                </a:cubicBezTo>
                <a:cubicBezTo>
                  <a:pt x="1963" y="2226"/>
                  <a:pt x="1971" y="2226"/>
                  <a:pt x="1963" y="2218"/>
                </a:cubicBezTo>
                <a:cubicBezTo>
                  <a:pt x="1955" y="2218"/>
                  <a:pt x="1955" y="2226"/>
                  <a:pt x="1955" y="2226"/>
                </a:cubicBezTo>
                <a:cubicBezTo>
                  <a:pt x="1955" y="2234"/>
                  <a:pt x="1947" y="2234"/>
                  <a:pt x="1947" y="2234"/>
                </a:cubicBezTo>
                <a:cubicBezTo>
                  <a:pt x="1947" y="2242"/>
                  <a:pt x="1939" y="2234"/>
                  <a:pt x="1939" y="2234"/>
                </a:cubicBezTo>
                <a:lnTo>
                  <a:pt x="1923" y="2234"/>
                </a:lnTo>
                <a:lnTo>
                  <a:pt x="1923" y="2226"/>
                </a:lnTo>
                <a:lnTo>
                  <a:pt x="1906" y="2234"/>
                </a:lnTo>
                <a:lnTo>
                  <a:pt x="1906" y="2242"/>
                </a:lnTo>
                <a:cubicBezTo>
                  <a:pt x="1906" y="2242"/>
                  <a:pt x="1898" y="2242"/>
                  <a:pt x="1890" y="2250"/>
                </a:cubicBezTo>
                <a:cubicBezTo>
                  <a:pt x="1874" y="2250"/>
                  <a:pt x="1882" y="2242"/>
                  <a:pt x="1874" y="2250"/>
                </a:cubicBezTo>
                <a:lnTo>
                  <a:pt x="1874" y="2258"/>
                </a:lnTo>
                <a:cubicBezTo>
                  <a:pt x="1874" y="2258"/>
                  <a:pt x="1882" y="2258"/>
                  <a:pt x="1874" y="2266"/>
                </a:cubicBezTo>
                <a:cubicBezTo>
                  <a:pt x="1866" y="2274"/>
                  <a:pt x="1866" y="2266"/>
                  <a:pt x="1866" y="2266"/>
                </a:cubicBezTo>
                <a:cubicBezTo>
                  <a:pt x="1858" y="2266"/>
                  <a:pt x="1850" y="2274"/>
                  <a:pt x="1850" y="2274"/>
                </a:cubicBezTo>
                <a:lnTo>
                  <a:pt x="1850" y="2282"/>
                </a:lnTo>
                <a:lnTo>
                  <a:pt x="1833" y="2282"/>
                </a:lnTo>
                <a:cubicBezTo>
                  <a:pt x="1825" y="2282"/>
                  <a:pt x="1833" y="2290"/>
                  <a:pt x="1833" y="2290"/>
                </a:cubicBezTo>
                <a:cubicBezTo>
                  <a:pt x="1833" y="2290"/>
                  <a:pt x="1833" y="2298"/>
                  <a:pt x="1825" y="2306"/>
                </a:cubicBezTo>
                <a:lnTo>
                  <a:pt x="1825" y="2322"/>
                </a:lnTo>
                <a:lnTo>
                  <a:pt x="1825" y="2337"/>
                </a:lnTo>
                <a:lnTo>
                  <a:pt x="1825" y="2346"/>
                </a:lnTo>
                <a:lnTo>
                  <a:pt x="1817" y="2346"/>
                </a:lnTo>
                <a:cubicBezTo>
                  <a:pt x="1817" y="2337"/>
                  <a:pt x="1809" y="2346"/>
                  <a:pt x="1809" y="2346"/>
                </a:cubicBezTo>
                <a:cubicBezTo>
                  <a:pt x="1809" y="2346"/>
                  <a:pt x="1801" y="2337"/>
                  <a:pt x="1801" y="2330"/>
                </a:cubicBezTo>
                <a:lnTo>
                  <a:pt x="1793" y="2330"/>
                </a:lnTo>
                <a:lnTo>
                  <a:pt x="1777" y="2337"/>
                </a:lnTo>
                <a:lnTo>
                  <a:pt x="1777" y="2346"/>
                </a:lnTo>
                <a:cubicBezTo>
                  <a:pt x="1769" y="2346"/>
                  <a:pt x="1752" y="2353"/>
                  <a:pt x="1752" y="2353"/>
                </a:cubicBezTo>
                <a:lnTo>
                  <a:pt x="1744" y="2353"/>
                </a:lnTo>
                <a:lnTo>
                  <a:pt x="1736" y="2346"/>
                </a:lnTo>
                <a:lnTo>
                  <a:pt x="1736" y="2337"/>
                </a:lnTo>
                <a:lnTo>
                  <a:pt x="1752" y="2322"/>
                </a:lnTo>
                <a:lnTo>
                  <a:pt x="1744" y="2298"/>
                </a:lnTo>
                <a:lnTo>
                  <a:pt x="1728" y="2282"/>
                </a:lnTo>
                <a:lnTo>
                  <a:pt x="1728" y="2274"/>
                </a:lnTo>
                <a:lnTo>
                  <a:pt x="1704" y="2274"/>
                </a:lnTo>
                <a:lnTo>
                  <a:pt x="1687" y="2266"/>
                </a:lnTo>
                <a:lnTo>
                  <a:pt x="1679" y="2258"/>
                </a:lnTo>
                <a:lnTo>
                  <a:pt x="1655" y="2242"/>
                </a:lnTo>
                <a:lnTo>
                  <a:pt x="1639" y="2194"/>
                </a:lnTo>
                <a:lnTo>
                  <a:pt x="1614" y="2194"/>
                </a:lnTo>
                <a:cubicBezTo>
                  <a:pt x="1614" y="2194"/>
                  <a:pt x="1598" y="2210"/>
                  <a:pt x="1598" y="2218"/>
                </a:cubicBezTo>
                <a:cubicBezTo>
                  <a:pt x="1598" y="2226"/>
                  <a:pt x="1582" y="2226"/>
                  <a:pt x="1582" y="2226"/>
                </a:cubicBezTo>
                <a:lnTo>
                  <a:pt x="1566" y="2250"/>
                </a:lnTo>
                <a:lnTo>
                  <a:pt x="1566" y="2290"/>
                </a:lnTo>
                <a:cubicBezTo>
                  <a:pt x="1566" y="2298"/>
                  <a:pt x="1549" y="2282"/>
                  <a:pt x="1549" y="2282"/>
                </a:cubicBezTo>
                <a:cubicBezTo>
                  <a:pt x="1549" y="2282"/>
                  <a:pt x="1533" y="2290"/>
                  <a:pt x="1525" y="2298"/>
                </a:cubicBezTo>
                <a:cubicBezTo>
                  <a:pt x="1517" y="2306"/>
                  <a:pt x="1501" y="2306"/>
                  <a:pt x="1501" y="2306"/>
                </a:cubicBezTo>
                <a:cubicBezTo>
                  <a:pt x="1501" y="2306"/>
                  <a:pt x="1493" y="2290"/>
                  <a:pt x="1484" y="2282"/>
                </a:cubicBezTo>
                <a:lnTo>
                  <a:pt x="1484" y="2258"/>
                </a:lnTo>
                <a:cubicBezTo>
                  <a:pt x="1484" y="2250"/>
                  <a:pt x="1468" y="2266"/>
                  <a:pt x="1468" y="2266"/>
                </a:cubicBezTo>
                <a:lnTo>
                  <a:pt x="1468" y="2258"/>
                </a:lnTo>
                <a:cubicBezTo>
                  <a:pt x="1460" y="2242"/>
                  <a:pt x="1452" y="2234"/>
                  <a:pt x="1452" y="2234"/>
                </a:cubicBezTo>
                <a:cubicBezTo>
                  <a:pt x="1452" y="2234"/>
                  <a:pt x="1444" y="2218"/>
                  <a:pt x="1444" y="2202"/>
                </a:cubicBezTo>
                <a:cubicBezTo>
                  <a:pt x="1444" y="2194"/>
                  <a:pt x="1411" y="2178"/>
                  <a:pt x="1411" y="2178"/>
                </a:cubicBezTo>
                <a:cubicBezTo>
                  <a:pt x="1411" y="2178"/>
                  <a:pt x="1420" y="2194"/>
                  <a:pt x="1403" y="2178"/>
                </a:cubicBezTo>
                <a:cubicBezTo>
                  <a:pt x="1387" y="2154"/>
                  <a:pt x="1371" y="2154"/>
                  <a:pt x="1371" y="2154"/>
                </a:cubicBezTo>
                <a:lnTo>
                  <a:pt x="1363" y="2090"/>
                </a:lnTo>
                <a:lnTo>
                  <a:pt x="1298" y="2106"/>
                </a:lnTo>
                <a:cubicBezTo>
                  <a:pt x="1298" y="2106"/>
                  <a:pt x="1257" y="2090"/>
                  <a:pt x="1249" y="2082"/>
                </a:cubicBezTo>
                <a:cubicBezTo>
                  <a:pt x="1241" y="2074"/>
                  <a:pt x="1217" y="2066"/>
                  <a:pt x="1217" y="2066"/>
                </a:cubicBezTo>
                <a:lnTo>
                  <a:pt x="1192" y="2090"/>
                </a:lnTo>
                <a:lnTo>
                  <a:pt x="1168" y="2090"/>
                </a:lnTo>
                <a:cubicBezTo>
                  <a:pt x="1168" y="2090"/>
                  <a:pt x="1135" y="2082"/>
                  <a:pt x="1127" y="2074"/>
                </a:cubicBezTo>
                <a:cubicBezTo>
                  <a:pt x="1111" y="2058"/>
                  <a:pt x="1119" y="2050"/>
                  <a:pt x="1111" y="2050"/>
                </a:cubicBezTo>
                <a:cubicBezTo>
                  <a:pt x="1095" y="2050"/>
                  <a:pt x="1087" y="2034"/>
                  <a:pt x="1087" y="2034"/>
                </a:cubicBezTo>
                <a:cubicBezTo>
                  <a:pt x="1087" y="2034"/>
                  <a:pt x="1103" y="2010"/>
                  <a:pt x="1111" y="2002"/>
                </a:cubicBezTo>
                <a:cubicBezTo>
                  <a:pt x="1111" y="1994"/>
                  <a:pt x="1127" y="2002"/>
                  <a:pt x="1119" y="1978"/>
                </a:cubicBezTo>
                <a:cubicBezTo>
                  <a:pt x="1103" y="1962"/>
                  <a:pt x="1095" y="1954"/>
                  <a:pt x="1095" y="1954"/>
                </a:cubicBezTo>
                <a:cubicBezTo>
                  <a:pt x="1095" y="1954"/>
                  <a:pt x="1095" y="1970"/>
                  <a:pt x="1079" y="1978"/>
                </a:cubicBezTo>
                <a:cubicBezTo>
                  <a:pt x="1062" y="1978"/>
                  <a:pt x="1038" y="1986"/>
                  <a:pt x="1038" y="1986"/>
                </a:cubicBezTo>
                <a:lnTo>
                  <a:pt x="949" y="1946"/>
                </a:lnTo>
                <a:cubicBezTo>
                  <a:pt x="949" y="1946"/>
                  <a:pt x="924" y="1938"/>
                  <a:pt x="916" y="1938"/>
                </a:cubicBezTo>
                <a:cubicBezTo>
                  <a:pt x="908" y="1946"/>
                  <a:pt x="876" y="1938"/>
                  <a:pt x="876" y="1938"/>
                </a:cubicBezTo>
                <a:lnTo>
                  <a:pt x="892" y="1970"/>
                </a:lnTo>
                <a:lnTo>
                  <a:pt x="908" y="2018"/>
                </a:lnTo>
                <a:lnTo>
                  <a:pt x="860" y="2034"/>
                </a:lnTo>
                <a:lnTo>
                  <a:pt x="851" y="2074"/>
                </a:lnTo>
                <a:cubicBezTo>
                  <a:pt x="851" y="2074"/>
                  <a:pt x="803" y="2106"/>
                  <a:pt x="803" y="2090"/>
                </a:cubicBezTo>
                <a:cubicBezTo>
                  <a:pt x="795" y="2082"/>
                  <a:pt x="787" y="2050"/>
                  <a:pt x="787" y="2050"/>
                </a:cubicBezTo>
                <a:cubicBezTo>
                  <a:pt x="787" y="2050"/>
                  <a:pt x="778" y="2034"/>
                  <a:pt x="770" y="2026"/>
                </a:cubicBezTo>
                <a:cubicBezTo>
                  <a:pt x="754" y="2018"/>
                  <a:pt x="746" y="2010"/>
                  <a:pt x="746" y="2010"/>
                </a:cubicBezTo>
                <a:lnTo>
                  <a:pt x="722" y="2002"/>
                </a:lnTo>
                <a:cubicBezTo>
                  <a:pt x="722" y="2002"/>
                  <a:pt x="713" y="1970"/>
                  <a:pt x="705" y="1970"/>
                </a:cubicBezTo>
                <a:lnTo>
                  <a:pt x="689" y="1970"/>
                </a:lnTo>
                <a:lnTo>
                  <a:pt x="689" y="1946"/>
                </a:lnTo>
                <a:lnTo>
                  <a:pt x="705" y="1922"/>
                </a:lnTo>
                <a:cubicBezTo>
                  <a:pt x="705" y="1922"/>
                  <a:pt x="713" y="1930"/>
                  <a:pt x="713" y="1898"/>
                </a:cubicBezTo>
                <a:cubicBezTo>
                  <a:pt x="722" y="1859"/>
                  <a:pt x="697" y="1859"/>
                  <a:pt x="697" y="1859"/>
                </a:cubicBezTo>
                <a:lnTo>
                  <a:pt x="673" y="1867"/>
                </a:lnTo>
                <a:lnTo>
                  <a:pt x="640" y="1883"/>
                </a:lnTo>
                <a:lnTo>
                  <a:pt x="624" y="1883"/>
                </a:lnTo>
                <a:cubicBezTo>
                  <a:pt x="616" y="1883"/>
                  <a:pt x="600" y="1859"/>
                  <a:pt x="600" y="1859"/>
                </a:cubicBezTo>
                <a:cubicBezTo>
                  <a:pt x="600" y="1859"/>
                  <a:pt x="616" y="1835"/>
                  <a:pt x="592" y="1859"/>
                </a:cubicBezTo>
                <a:cubicBezTo>
                  <a:pt x="567" y="1883"/>
                  <a:pt x="551" y="1851"/>
                  <a:pt x="551" y="1851"/>
                </a:cubicBezTo>
                <a:lnTo>
                  <a:pt x="543" y="1843"/>
                </a:lnTo>
                <a:lnTo>
                  <a:pt x="535" y="1843"/>
                </a:lnTo>
                <a:cubicBezTo>
                  <a:pt x="527" y="1851"/>
                  <a:pt x="502" y="1851"/>
                  <a:pt x="502" y="1843"/>
                </a:cubicBezTo>
                <a:cubicBezTo>
                  <a:pt x="494" y="1827"/>
                  <a:pt x="478" y="1819"/>
                  <a:pt x="478" y="1819"/>
                </a:cubicBezTo>
                <a:lnTo>
                  <a:pt x="455" y="1827"/>
                </a:lnTo>
                <a:lnTo>
                  <a:pt x="430" y="1827"/>
                </a:lnTo>
                <a:cubicBezTo>
                  <a:pt x="430" y="1819"/>
                  <a:pt x="430" y="1811"/>
                  <a:pt x="414" y="1803"/>
                </a:cubicBezTo>
                <a:cubicBezTo>
                  <a:pt x="398" y="1795"/>
                  <a:pt x="390" y="1771"/>
                  <a:pt x="390" y="1771"/>
                </a:cubicBezTo>
                <a:cubicBezTo>
                  <a:pt x="390" y="1771"/>
                  <a:pt x="398" y="1755"/>
                  <a:pt x="382" y="1755"/>
                </a:cubicBezTo>
                <a:cubicBezTo>
                  <a:pt x="374" y="1755"/>
                  <a:pt x="357" y="1747"/>
                  <a:pt x="357" y="1747"/>
                </a:cubicBezTo>
                <a:cubicBezTo>
                  <a:pt x="357" y="1747"/>
                  <a:pt x="333" y="1731"/>
                  <a:pt x="333" y="1739"/>
                </a:cubicBezTo>
                <a:cubicBezTo>
                  <a:pt x="325" y="1747"/>
                  <a:pt x="325" y="1763"/>
                  <a:pt x="325" y="1771"/>
                </a:cubicBezTo>
                <a:lnTo>
                  <a:pt x="333" y="1795"/>
                </a:lnTo>
                <a:cubicBezTo>
                  <a:pt x="333" y="1795"/>
                  <a:pt x="301" y="1811"/>
                  <a:pt x="292" y="1811"/>
                </a:cubicBezTo>
                <a:cubicBezTo>
                  <a:pt x="284" y="1811"/>
                  <a:pt x="276" y="1819"/>
                  <a:pt x="276" y="1803"/>
                </a:cubicBezTo>
                <a:cubicBezTo>
                  <a:pt x="276" y="1795"/>
                  <a:pt x="292" y="1755"/>
                  <a:pt x="292" y="1755"/>
                </a:cubicBezTo>
                <a:cubicBezTo>
                  <a:pt x="301" y="1747"/>
                  <a:pt x="309" y="1739"/>
                  <a:pt x="309" y="1739"/>
                </a:cubicBezTo>
                <a:cubicBezTo>
                  <a:pt x="309" y="1739"/>
                  <a:pt x="301" y="1723"/>
                  <a:pt x="301" y="1715"/>
                </a:cubicBezTo>
                <a:cubicBezTo>
                  <a:pt x="301" y="1707"/>
                  <a:pt x="292" y="1707"/>
                  <a:pt x="309" y="1683"/>
                </a:cubicBezTo>
                <a:cubicBezTo>
                  <a:pt x="333" y="1659"/>
                  <a:pt x="333" y="1643"/>
                  <a:pt x="333" y="1643"/>
                </a:cubicBezTo>
                <a:cubicBezTo>
                  <a:pt x="333" y="1643"/>
                  <a:pt x="317" y="1619"/>
                  <a:pt x="309" y="1611"/>
                </a:cubicBezTo>
                <a:lnTo>
                  <a:pt x="284" y="1579"/>
                </a:lnTo>
                <a:lnTo>
                  <a:pt x="284" y="1555"/>
                </a:lnTo>
                <a:cubicBezTo>
                  <a:pt x="284" y="1555"/>
                  <a:pt x="268" y="1539"/>
                  <a:pt x="260" y="1539"/>
                </a:cubicBezTo>
                <a:cubicBezTo>
                  <a:pt x="252" y="1539"/>
                  <a:pt x="228" y="1531"/>
                  <a:pt x="228" y="1531"/>
                </a:cubicBezTo>
                <a:lnTo>
                  <a:pt x="228" y="1467"/>
                </a:lnTo>
                <a:lnTo>
                  <a:pt x="195" y="1428"/>
                </a:lnTo>
                <a:lnTo>
                  <a:pt x="187" y="1404"/>
                </a:lnTo>
                <a:cubicBezTo>
                  <a:pt x="187" y="1404"/>
                  <a:pt x="195" y="1388"/>
                  <a:pt x="195" y="1372"/>
                </a:cubicBezTo>
                <a:cubicBezTo>
                  <a:pt x="203" y="1364"/>
                  <a:pt x="211" y="1340"/>
                  <a:pt x="211" y="1340"/>
                </a:cubicBezTo>
                <a:lnTo>
                  <a:pt x="195" y="1308"/>
                </a:lnTo>
                <a:cubicBezTo>
                  <a:pt x="195" y="1308"/>
                  <a:pt x="187" y="1300"/>
                  <a:pt x="195" y="1292"/>
                </a:cubicBezTo>
                <a:cubicBezTo>
                  <a:pt x="195" y="1284"/>
                  <a:pt x="187" y="1236"/>
                  <a:pt x="187" y="1236"/>
                </a:cubicBezTo>
                <a:cubicBezTo>
                  <a:pt x="187" y="1236"/>
                  <a:pt x="179" y="1188"/>
                  <a:pt x="171" y="1196"/>
                </a:cubicBezTo>
                <a:cubicBezTo>
                  <a:pt x="155" y="1196"/>
                  <a:pt x="146" y="1164"/>
                  <a:pt x="146" y="1164"/>
                </a:cubicBezTo>
                <a:lnTo>
                  <a:pt x="163" y="1108"/>
                </a:lnTo>
                <a:cubicBezTo>
                  <a:pt x="163" y="1108"/>
                  <a:pt x="171" y="1069"/>
                  <a:pt x="146" y="1053"/>
                </a:cubicBezTo>
                <a:cubicBezTo>
                  <a:pt x="122" y="1045"/>
                  <a:pt x="73" y="1021"/>
                  <a:pt x="65" y="1013"/>
                </a:cubicBezTo>
                <a:cubicBezTo>
                  <a:pt x="65" y="1013"/>
                  <a:pt x="41" y="989"/>
                  <a:pt x="33" y="981"/>
                </a:cubicBezTo>
                <a:cubicBezTo>
                  <a:pt x="25" y="981"/>
                  <a:pt x="17" y="973"/>
                  <a:pt x="17" y="973"/>
                </a:cubicBezTo>
                <a:lnTo>
                  <a:pt x="33" y="901"/>
                </a:lnTo>
                <a:lnTo>
                  <a:pt x="73" y="869"/>
                </a:lnTo>
                <a:lnTo>
                  <a:pt x="73" y="733"/>
                </a:lnTo>
                <a:cubicBezTo>
                  <a:pt x="73" y="733"/>
                  <a:pt x="81" y="725"/>
                  <a:pt x="57" y="693"/>
                </a:cubicBezTo>
                <a:cubicBezTo>
                  <a:pt x="41" y="669"/>
                  <a:pt x="33" y="638"/>
                  <a:pt x="33" y="638"/>
                </a:cubicBezTo>
                <a:cubicBezTo>
                  <a:pt x="33" y="630"/>
                  <a:pt x="25" y="598"/>
                  <a:pt x="17" y="590"/>
                </a:cubicBezTo>
                <a:lnTo>
                  <a:pt x="17" y="558"/>
                </a:lnTo>
                <a:cubicBezTo>
                  <a:pt x="25" y="550"/>
                  <a:pt x="0" y="526"/>
                  <a:pt x="0" y="526"/>
                </a:cubicBezTo>
                <a:cubicBezTo>
                  <a:pt x="0" y="526"/>
                  <a:pt x="8" y="510"/>
                  <a:pt x="17" y="510"/>
                </a:cubicBezTo>
                <a:cubicBezTo>
                  <a:pt x="25" y="510"/>
                  <a:pt x="33" y="502"/>
                  <a:pt x="49" y="502"/>
                </a:cubicBezTo>
                <a:cubicBezTo>
                  <a:pt x="65" y="502"/>
                  <a:pt x="73" y="486"/>
                  <a:pt x="90" y="486"/>
                </a:cubicBezTo>
                <a:cubicBezTo>
                  <a:pt x="98" y="478"/>
                  <a:pt x="98" y="462"/>
                  <a:pt x="106" y="462"/>
                </a:cubicBezTo>
                <a:cubicBezTo>
                  <a:pt x="122" y="454"/>
                  <a:pt x="138" y="462"/>
                  <a:pt x="163" y="446"/>
                </a:cubicBezTo>
                <a:cubicBezTo>
                  <a:pt x="187" y="438"/>
                  <a:pt x="187" y="430"/>
                  <a:pt x="203" y="414"/>
                </a:cubicBezTo>
                <a:cubicBezTo>
                  <a:pt x="211" y="406"/>
                  <a:pt x="366" y="359"/>
                  <a:pt x="366" y="359"/>
                </a:cubicBezTo>
                <a:cubicBezTo>
                  <a:pt x="366" y="359"/>
                  <a:pt x="406" y="335"/>
                  <a:pt x="422" y="335"/>
                </a:cubicBezTo>
                <a:cubicBezTo>
                  <a:pt x="430" y="327"/>
                  <a:pt x="430" y="319"/>
                  <a:pt x="447" y="319"/>
                </a:cubicBezTo>
                <a:cubicBezTo>
                  <a:pt x="455" y="327"/>
                  <a:pt x="486" y="327"/>
                  <a:pt x="486" y="327"/>
                </a:cubicBezTo>
                <a:cubicBezTo>
                  <a:pt x="486" y="327"/>
                  <a:pt x="494" y="303"/>
                  <a:pt x="502" y="295"/>
                </a:cubicBezTo>
                <a:cubicBezTo>
                  <a:pt x="511" y="279"/>
                  <a:pt x="519" y="263"/>
                  <a:pt x="519" y="255"/>
                </a:cubicBezTo>
                <a:cubicBezTo>
                  <a:pt x="527" y="239"/>
                  <a:pt x="535" y="232"/>
                  <a:pt x="543" y="224"/>
                </a:cubicBezTo>
                <a:cubicBezTo>
                  <a:pt x="551" y="208"/>
                  <a:pt x="559" y="200"/>
                  <a:pt x="559" y="200"/>
                </a:cubicBezTo>
                <a:cubicBezTo>
                  <a:pt x="567" y="200"/>
                  <a:pt x="616" y="176"/>
                  <a:pt x="624" y="176"/>
                </a:cubicBezTo>
                <a:cubicBezTo>
                  <a:pt x="632" y="168"/>
                  <a:pt x="697" y="144"/>
                  <a:pt x="697" y="136"/>
                </a:cubicBezTo>
                <a:cubicBezTo>
                  <a:pt x="697" y="136"/>
                  <a:pt x="722" y="104"/>
                  <a:pt x="722" y="96"/>
                </a:cubicBezTo>
                <a:cubicBezTo>
                  <a:pt x="722" y="88"/>
                  <a:pt x="754" y="80"/>
                  <a:pt x="754" y="80"/>
                </a:cubicBezTo>
                <a:cubicBezTo>
                  <a:pt x="762" y="80"/>
                  <a:pt x="762" y="80"/>
                  <a:pt x="770" y="72"/>
                </a:cubicBezTo>
                <a:cubicBezTo>
                  <a:pt x="787" y="72"/>
                  <a:pt x="860" y="40"/>
                  <a:pt x="860" y="40"/>
                </a:cubicBezTo>
                <a:lnTo>
                  <a:pt x="924" y="16"/>
                </a:lnTo>
                <a:cubicBezTo>
                  <a:pt x="933" y="24"/>
                  <a:pt x="973" y="16"/>
                  <a:pt x="981" y="16"/>
                </a:cubicBezTo>
                <a:cubicBezTo>
                  <a:pt x="981" y="24"/>
                  <a:pt x="1030" y="16"/>
                  <a:pt x="1030" y="16"/>
                </a:cubicBezTo>
                <a:cubicBezTo>
                  <a:pt x="1030" y="16"/>
                  <a:pt x="1046" y="24"/>
                  <a:pt x="1046" y="32"/>
                </a:cubicBezTo>
                <a:cubicBezTo>
                  <a:pt x="1046" y="40"/>
                  <a:pt x="1030" y="48"/>
                  <a:pt x="1038" y="56"/>
                </a:cubicBezTo>
                <a:cubicBezTo>
                  <a:pt x="1046" y="64"/>
                  <a:pt x="1079" y="88"/>
                  <a:pt x="1079" y="88"/>
                </a:cubicBezTo>
                <a:lnTo>
                  <a:pt x="1071" y="112"/>
                </a:lnTo>
                <a:cubicBezTo>
                  <a:pt x="1071" y="120"/>
                  <a:pt x="1079" y="128"/>
                  <a:pt x="1087" y="144"/>
                </a:cubicBezTo>
                <a:cubicBezTo>
                  <a:pt x="1095" y="152"/>
                  <a:pt x="1111" y="168"/>
                  <a:pt x="1111" y="168"/>
                </a:cubicBezTo>
                <a:cubicBezTo>
                  <a:pt x="1111" y="168"/>
                  <a:pt x="1103" y="176"/>
                  <a:pt x="1135" y="192"/>
                </a:cubicBezTo>
                <a:cubicBezTo>
                  <a:pt x="1168" y="208"/>
                  <a:pt x="1192" y="192"/>
                  <a:pt x="1192" y="192"/>
                </a:cubicBezTo>
                <a:lnTo>
                  <a:pt x="1225" y="192"/>
                </a:lnTo>
                <a:cubicBezTo>
                  <a:pt x="1233" y="192"/>
                  <a:pt x="1257" y="184"/>
                  <a:pt x="1257" y="184"/>
                </a:cubicBez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23" name="Freeform 115">
            <a:extLst>
              <a:ext uri="{FF2B5EF4-FFF2-40B4-BE49-F238E27FC236}">
                <a16:creationId xmlns:a16="http://schemas.microsoft.com/office/drawing/2014/main" id="{7D695829-2D01-42C5-FF8E-5A0E05ED691B}"/>
              </a:ext>
            </a:extLst>
          </p:cNvPr>
          <p:cNvSpPr>
            <a:spLocks noChangeArrowheads="1"/>
          </p:cNvSpPr>
          <p:nvPr>
            <p:custDataLst>
              <p:tags r:id="rId115"/>
            </p:custDataLst>
          </p:nvPr>
        </p:nvSpPr>
        <p:spPr bwMode="auto">
          <a:xfrm>
            <a:off x="7545556" y="3082691"/>
            <a:ext cx="1173669" cy="967190"/>
          </a:xfrm>
          <a:custGeom>
            <a:avLst/>
            <a:gdLst>
              <a:gd name="T0" fmla="*/ 1574 w 2857"/>
              <a:gd name="T1" fmla="*/ 128 h 2354"/>
              <a:gd name="T2" fmla="*/ 2109 w 2857"/>
              <a:gd name="T3" fmla="*/ 40 h 2354"/>
              <a:gd name="T4" fmla="*/ 2345 w 2857"/>
              <a:gd name="T5" fmla="*/ 104 h 2354"/>
              <a:gd name="T6" fmla="*/ 2548 w 2857"/>
              <a:gd name="T7" fmla="*/ 478 h 2354"/>
              <a:gd name="T8" fmla="*/ 2548 w 2857"/>
              <a:gd name="T9" fmla="*/ 717 h 2354"/>
              <a:gd name="T10" fmla="*/ 2458 w 2857"/>
              <a:gd name="T11" fmla="*/ 909 h 2354"/>
              <a:gd name="T12" fmla="*/ 2580 w 2857"/>
              <a:gd name="T13" fmla="*/ 1108 h 2354"/>
              <a:gd name="T14" fmla="*/ 2645 w 2857"/>
              <a:gd name="T15" fmla="*/ 1260 h 2354"/>
              <a:gd name="T16" fmla="*/ 2791 w 2857"/>
              <a:gd name="T17" fmla="*/ 1396 h 2354"/>
              <a:gd name="T18" fmla="*/ 2807 w 2857"/>
              <a:gd name="T19" fmla="*/ 1507 h 2354"/>
              <a:gd name="T20" fmla="*/ 2791 w 2857"/>
              <a:gd name="T21" fmla="*/ 1675 h 2354"/>
              <a:gd name="T22" fmla="*/ 2653 w 2857"/>
              <a:gd name="T23" fmla="*/ 1875 h 2354"/>
              <a:gd name="T24" fmla="*/ 2572 w 2857"/>
              <a:gd name="T25" fmla="*/ 2146 h 2354"/>
              <a:gd name="T26" fmla="*/ 2613 w 2857"/>
              <a:gd name="T27" fmla="*/ 2234 h 2354"/>
              <a:gd name="T28" fmla="*/ 2556 w 2857"/>
              <a:gd name="T29" fmla="*/ 2274 h 2354"/>
              <a:gd name="T30" fmla="*/ 2491 w 2857"/>
              <a:gd name="T31" fmla="*/ 2258 h 2354"/>
              <a:gd name="T32" fmla="*/ 2434 w 2857"/>
              <a:gd name="T33" fmla="*/ 2250 h 2354"/>
              <a:gd name="T34" fmla="*/ 2369 w 2857"/>
              <a:gd name="T35" fmla="*/ 2234 h 2354"/>
              <a:gd name="T36" fmla="*/ 2337 w 2857"/>
              <a:gd name="T37" fmla="*/ 2186 h 2354"/>
              <a:gd name="T38" fmla="*/ 2280 w 2857"/>
              <a:gd name="T39" fmla="*/ 2178 h 2354"/>
              <a:gd name="T40" fmla="*/ 2199 w 2857"/>
              <a:gd name="T41" fmla="*/ 2178 h 2354"/>
              <a:gd name="T42" fmla="*/ 2142 w 2857"/>
              <a:gd name="T43" fmla="*/ 2170 h 2354"/>
              <a:gd name="T44" fmla="*/ 2093 w 2857"/>
              <a:gd name="T45" fmla="*/ 2186 h 2354"/>
              <a:gd name="T46" fmla="*/ 2061 w 2857"/>
              <a:gd name="T47" fmla="*/ 2258 h 2354"/>
              <a:gd name="T48" fmla="*/ 2012 w 2857"/>
              <a:gd name="T49" fmla="*/ 2234 h 2354"/>
              <a:gd name="T50" fmla="*/ 1955 w 2857"/>
              <a:gd name="T51" fmla="*/ 2226 h 2354"/>
              <a:gd name="T52" fmla="*/ 1906 w 2857"/>
              <a:gd name="T53" fmla="*/ 2234 h 2354"/>
              <a:gd name="T54" fmla="*/ 1874 w 2857"/>
              <a:gd name="T55" fmla="*/ 2266 h 2354"/>
              <a:gd name="T56" fmla="*/ 1833 w 2857"/>
              <a:gd name="T57" fmla="*/ 2290 h 2354"/>
              <a:gd name="T58" fmla="*/ 1817 w 2857"/>
              <a:gd name="T59" fmla="*/ 2346 h 2354"/>
              <a:gd name="T60" fmla="*/ 1777 w 2857"/>
              <a:gd name="T61" fmla="*/ 2346 h 2354"/>
              <a:gd name="T62" fmla="*/ 1752 w 2857"/>
              <a:gd name="T63" fmla="*/ 2322 h 2354"/>
              <a:gd name="T64" fmla="*/ 1687 w 2857"/>
              <a:gd name="T65" fmla="*/ 2266 h 2354"/>
              <a:gd name="T66" fmla="*/ 1598 w 2857"/>
              <a:gd name="T67" fmla="*/ 2218 h 2354"/>
              <a:gd name="T68" fmla="*/ 1525 w 2857"/>
              <a:gd name="T69" fmla="*/ 2298 h 2354"/>
              <a:gd name="T70" fmla="*/ 1468 w 2857"/>
              <a:gd name="T71" fmla="*/ 2258 h 2354"/>
              <a:gd name="T72" fmla="*/ 1371 w 2857"/>
              <a:gd name="T73" fmla="*/ 2154 h 2354"/>
              <a:gd name="T74" fmla="*/ 1192 w 2857"/>
              <a:gd name="T75" fmla="*/ 2090 h 2354"/>
              <a:gd name="T76" fmla="*/ 1111 w 2857"/>
              <a:gd name="T77" fmla="*/ 2002 h 2354"/>
              <a:gd name="T78" fmla="*/ 949 w 2857"/>
              <a:gd name="T79" fmla="*/ 1946 h 2354"/>
              <a:gd name="T80" fmla="*/ 860 w 2857"/>
              <a:gd name="T81" fmla="*/ 2034 h 2354"/>
              <a:gd name="T82" fmla="*/ 746 w 2857"/>
              <a:gd name="T83" fmla="*/ 2010 h 2354"/>
              <a:gd name="T84" fmla="*/ 705 w 2857"/>
              <a:gd name="T85" fmla="*/ 1922 h 2354"/>
              <a:gd name="T86" fmla="*/ 624 w 2857"/>
              <a:gd name="T87" fmla="*/ 1883 h 2354"/>
              <a:gd name="T88" fmla="*/ 535 w 2857"/>
              <a:gd name="T89" fmla="*/ 1843 h 2354"/>
              <a:gd name="T90" fmla="*/ 414 w 2857"/>
              <a:gd name="T91" fmla="*/ 1803 h 2354"/>
              <a:gd name="T92" fmla="*/ 325 w 2857"/>
              <a:gd name="T93" fmla="*/ 1771 h 2354"/>
              <a:gd name="T94" fmla="*/ 309 w 2857"/>
              <a:gd name="T95" fmla="*/ 1739 h 2354"/>
              <a:gd name="T96" fmla="*/ 284 w 2857"/>
              <a:gd name="T97" fmla="*/ 1579 h 2354"/>
              <a:gd name="T98" fmla="*/ 195 w 2857"/>
              <a:gd name="T99" fmla="*/ 1428 h 2354"/>
              <a:gd name="T100" fmla="*/ 195 w 2857"/>
              <a:gd name="T101" fmla="*/ 1292 h 2354"/>
              <a:gd name="T102" fmla="*/ 146 w 2857"/>
              <a:gd name="T103" fmla="*/ 1053 h 2354"/>
              <a:gd name="T104" fmla="*/ 73 w 2857"/>
              <a:gd name="T105" fmla="*/ 869 h 2354"/>
              <a:gd name="T106" fmla="*/ 17 w 2857"/>
              <a:gd name="T107" fmla="*/ 558 h 2354"/>
              <a:gd name="T108" fmla="*/ 106 w 2857"/>
              <a:gd name="T109" fmla="*/ 462 h 2354"/>
              <a:gd name="T110" fmla="*/ 447 w 2857"/>
              <a:gd name="T111" fmla="*/ 319 h 2354"/>
              <a:gd name="T112" fmla="*/ 559 w 2857"/>
              <a:gd name="T113" fmla="*/ 200 h 2354"/>
              <a:gd name="T114" fmla="*/ 770 w 2857"/>
              <a:gd name="T115" fmla="*/ 72 h 2354"/>
              <a:gd name="T116" fmla="*/ 1046 w 2857"/>
              <a:gd name="T117" fmla="*/ 32 h 2354"/>
              <a:gd name="T118" fmla="*/ 1111 w 2857"/>
              <a:gd name="T119" fmla="*/ 168 h 2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857" h="2354">
                <a:moveTo>
                  <a:pt x="1257" y="184"/>
                </a:moveTo>
                <a:cubicBezTo>
                  <a:pt x="1274" y="184"/>
                  <a:pt x="1347" y="128"/>
                  <a:pt x="1347" y="128"/>
                </a:cubicBezTo>
                <a:cubicBezTo>
                  <a:pt x="1347" y="128"/>
                  <a:pt x="1387" y="144"/>
                  <a:pt x="1412" y="136"/>
                </a:cubicBezTo>
                <a:cubicBezTo>
                  <a:pt x="1436" y="136"/>
                  <a:pt x="1517" y="128"/>
                  <a:pt x="1517" y="128"/>
                </a:cubicBezTo>
                <a:lnTo>
                  <a:pt x="1574" y="128"/>
                </a:lnTo>
                <a:cubicBezTo>
                  <a:pt x="1590" y="128"/>
                  <a:pt x="1663" y="120"/>
                  <a:pt x="1679" y="120"/>
                </a:cubicBezTo>
                <a:cubicBezTo>
                  <a:pt x="1696" y="120"/>
                  <a:pt x="1744" y="112"/>
                  <a:pt x="1752" y="104"/>
                </a:cubicBezTo>
                <a:cubicBezTo>
                  <a:pt x="1769" y="104"/>
                  <a:pt x="1866" y="96"/>
                  <a:pt x="1874" y="96"/>
                </a:cubicBezTo>
                <a:cubicBezTo>
                  <a:pt x="1890" y="96"/>
                  <a:pt x="2045" y="80"/>
                  <a:pt x="2045" y="80"/>
                </a:cubicBezTo>
                <a:lnTo>
                  <a:pt x="2109" y="40"/>
                </a:lnTo>
                <a:lnTo>
                  <a:pt x="2183" y="24"/>
                </a:lnTo>
                <a:cubicBezTo>
                  <a:pt x="2183" y="24"/>
                  <a:pt x="2207" y="0"/>
                  <a:pt x="2207" y="8"/>
                </a:cubicBezTo>
                <a:cubicBezTo>
                  <a:pt x="2215" y="24"/>
                  <a:pt x="2231" y="48"/>
                  <a:pt x="2231" y="48"/>
                </a:cubicBezTo>
                <a:lnTo>
                  <a:pt x="2320" y="48"/>
                </a:lnTo>
                <a:cubicBezTo>
                  <a:pt x="2320" y="56"/>
                  <a:pt x="2345" y="104"/>
                  <a:pt x="2345" y="104"/>
                </a:cubicBezTo>
                <a:lnTo>
                  <a:pt x="2369" y="128"/>
                </a:lnTo>
                <a:cubicBezTo>
                  <a:pt x="2369" y="128"/>
                  <a:pt x="2377" y="168"/>
                  <a:pt x="2377" y="192"/>
                </a:cubicBezTo>
                <a:cubicBezTo>
                  <a:pt x="2385" y="208"/>
                  <a:pt x="2442" y="303"/>
                  <a:pt x="2442" y="303"/>
                </a:cubicBezTo>
                <a:lnTo>
                  <a:pt x="2483" y="390"/>
                </a:lnTo>
                <a:lnTo>
                  <a:pt x="2548" y="478"/>
                </a:lnTo>
                <a:lnTo>
                  <a:pt x="2556" y="542"/>
                </a:lnTo>
                <a:cubicBezTo>
                  <a:pt x="2556" y="542"/>
                  <a:pt x="2580" y="566"/>
                  <a:pt x="2580" y="582"/>
                </a:cubicBezTo>
                <a:lnTo>
                  <a:pt x="2580" y="622"/>
                </a:lnTo>
                <a:cubicBezTo>
                  <a:pt x="2588" y="622"/>
                  <a:pt x="2596" y="661"/>
                  <a:pt x="2588" y="661"/>
                </a:cubicBezTo>
                <a:cubicBezTo>
                  <a:pt x="2580" y="669"/>
                  <a:pt x="2548" y="717"/>
                  <a:pt x="2548" y="717"/>
                </a:cubicBezTo>
                <a:lnTo>
                  <a:pt x="2515" y="733"/>
                </a:lnTo>
                <a:lnTo>
                  <a:pt x="2475" y="789"/>
                </a:lnTo>
                <a:lnTo>
                  <a:pt x="2450" y="861"/>
                </a:lnTo>
                <a:lnTo>
                  <a:pt x="2442" y="885"/>
                </a:lnTo>
                <a:cubicBezTo>
                  <a:pt x="2442" y="885"/>
                  <a:pt x="2450" y="909"/>
                  <a:pt x="2458" y="909"/>
                </a:cubicBezTo>
                <a:cubicBezTo>
                  <a:pt x="2475" y="909"/>
                  <a:pt x="2531" y="917"/>
                  <a:pt x="2531" y="917"/>
                </a:cubicBezTo>
                <a:lnTo>
                  <a:pt x="2580" y="949"/>
                </a:lnTo>
                <a:lnTo>
                  <a:pt x="2580" y="981"/>
                </a:lnTo>
                <a:cubicBezTo>
                  <a:pt x="2580" y="981"/>
                  <a:pt x="2588" y="1045"/>
                  <a:pt x="2588" y="1053"/>
                </a:cubicBezTo>
                <a:lnTo>
                  <a:pt x="2580" y="1108"/>
                </a:lnTo>
                <a:cubicBezTo>
                  <a:pt x="2580" y="1108"/>
                  <a:pt x="2596" y="1140"/>
                  <a:pt x="2596" y="1148"/>
                </a:cubicBezTo>
                <a:cubicBezTo>
                  <a:pt x="2605" y="1156"/>
                  <a:pt x="2621" y="1172"/>
                  <a:pt x="2621" y="1180"/>
                </a:cubicBezTo>
                <a:cubicBezTo>
                  <a:pt x="2629" y="1180"/>
                  <a:pt x="2629" y="1188"/>
                  <a:pt x="2629" y="1188"/>
                </a:cubicBezTo>
                <a:lnTo>
                  <a:pt x="2645" y="1228"/>
                </a:lnTo>
                <a:lnTo>
                  <a:pt x="2645" y="1260"/>
                </a:lnTo>
                <a:cubicBezTo>
                  <a:pt x="2645" y="1260"/>
                  <a:pt x="2645" y="1284"/>
                  <a:pt x="2661" y="1284"/>
                </a:cubicBezTo>
                <a:cubicBezTo>
                  <a:pt x="2678" y="1284"/>
                  <a:pt x="2686" y="1292"/>
                  <a:pt x="2686" y="1308"/>
                </a:cubicBezTo>
                <a:cubicBezTo>
                  <a:pt x="2686" y="1324"/>
                  <a:pt x="2726" y="1340"/>
                  <a:pt x="2726" y="1340"/>
                </a:cubicBezTo>
                <a:cubicBezTo>
                  <a:pt x="2726" y="1340"/>
                  <a:pt x="2726" y="1372"/>
                  <a:pt x="2734" y="1380"/>
                </a:cubicBezTo>
                <a:cubicBezTo>
                  <a:pt x="2751" y="1388"/>
                  <a:pt x="2767" y="1396"/>
                  <a:pt x="2791" y="1396"/>
                </a:cubicBezTo>
                <a:cubicBezTo>
                  <a:pt x="2816" y="1404"/>
                  <a:pt x="2807" y="1436"/>
                  <a:pt x="2824" y="1444"/>
                </a:cubicBezTo>
                <a:cubicBezTo>
                  <a:pt x="2840" y="1452"/>
                  <a:pt x="2856" y="1468"/>
                  <a:pt x="2840" y="1468"/>
                </a:cubicBezTo>
                <a:cubicBezTo>
                  <a:pt x="2832" y="1476"/>
                  <a:pt x="2807" y="1476"/>
                  <a:pt x="2807" y="1476"/>
                </a:cubicBezTo>
                <a:cubicBezTo>
                  <a:pt x="2807" y="1476"/>
                  <a:pt x="2799" y="1484"/>
                  <a:pt x="2799" y="1499"/>
                </a:cubicBezTo>
                <a:lnTo>
                  <a:pt x="2807" y="1507"/>
                </a:lnTo>
                <a:lnTo>
                  <a:pt x="2840" y="1547"/>
                </a:lnTo>
                <a:lnTo>
                  <a:pt x="2840" y="1595"/>
                </a:lnTo>
                <a:lnTo>
                  <a:pt x="2840" y="1627"/>
                </a:lnTo>
                <a:cubicBezTo>
                  <a:pt x="2840" y="1635"/>
                  <a:pt x="2832" y="1651"/>
                  <a:pt x="2816" y="1651"/>
                </a:cubicBezTo>
                <a:cubicBezTo>
                  <a:pt x="2799" y="1651"/>
                  <a:pt x="2799" y="1675"/>
                  <a:pt x="2791" y="1675"/>
                </a:cubicBezTo>
                <a:cubicBezTo>
                  <a:pt x="2783" y="1683"/>
                  <a:pt x="2767" y="1659"/>
                  <a:pt x="2759" y="1683"/>
                </a:cubicBezTo>
                <a:cubicBezTo>
                  <a:pt x="2751" y="1715"/>
                  <a:pt x="2734" y="1739"/>
                  <a:pt x="2734" y="1747"/>
                </a:cubicBezTo>
                <a:cubicBezTo>
                  <a:pt x="2726" y="1755"/>
                  <a:pt x="2702" y="1763"/>
                  <a:pt x="2702" y="1779"/>
                </a:cubicBezTo>
                <a:cubicBezTo>
                  <a:pt x="2694" y="1795"/>
                  <a:pt x="2694" y="1779"/>
                  <a:pt x="2678" y="1819"/>
                </a:cubicBezTo>
                <a:cubicBezTo>
                  <a:pt x="2661" y="1859"/>
                  <a:pt x="2653" y="1875"/>
                  <a:pt x="2653" y="1875"/>
                </a:cubicBezTo>
                <a:lnTo>
                  <a:pt x="2580" y="1970"/>
                </a:lnTo>
                <a:cubicBezTo>
                  <a:pt x="2580" y="1970"/>
                  <a:pt x="2540" y="2034"/>
                  <a:pt x="2540" y="2042"/>
                </a:cubicBezTo>
                <a:lnTo>
                  <a:pt x="2540" y="2082"/>
                </a:lnTo>
                <a:lnTo>
                  <a:pt x="2572" y="2114"/>
                </a:lnTo>
                <a:lnTo>
                  <a:pt x="2572" y="2146"/>
                </a:lnTo>
                <a:cubicBezTo>
                  <a:pt x="2572" y="2146"/>
                  <a:pt x="2572" y="2170"/>
                  <a:pt x="2580" y="2178"/>
                </a:cubicBezTo>
                <a:lnTo>
                  <a:pt x="2588" y="2178"/>
                </a:lnTo>
                <a:lnTo>
                  <a:pt x="2580" y="2202"/>
                </a:lnTo>
                <a:cubicBezTo>
                  <a:pt x="2580" y="2202"/>
                  <a:pt x="2588" y="2226"/>
                  <a:pt x="2596" y="2226"/>
                </a:cubicBezTo>
                <a:lnTo>
                  <a:pt x="2613" y="2234"/>
                </a:lnTo>
                <a:lnTo>
                  <a:pt x="2629" y="2250"/>
                </a:lnTo>
                <a:cubicBezTo>
                  <a:pt x="2637" y="2258"/>
                  <a:pt x="2629" y="2274"/>
                  <a:pt x="2629" y="2274"/>
                </a:cubicBezTo>
                <a:cubicBezTo>
                  <a:pt x="2629" y="2274"/>
                  <a:pt x="2629" y="2282"/>
                  <a:pt x="2621" y="2282"/>
                </a:cubicBezTo>
                <a:lnTo>
                  <a:pt x="2596" y="2282"/>
                </a:lnTo>
                <a:cubicBezTo>
                  <a:pt x="2588" y="2274"/>
                  <a:pt x="2564" y="2274"/>
                  <a:pt x="2556" y="2274"/>
                </a:cubicBezTo>
                <a:lnTo>
                  <a:pt x="2548" y="2274"/>
                </a:lnTo>
                <a:cubicBezTo>
                  <a:pt x="2540" y="2274"/>
                  <a:pt x="2540" y="2274"/>
                  <a:pt x="2531" y="2282"/>
                </a:cubicBezTo>
                <a:lnTo>
                  <a:pt x="2531" y="2258"/>
                </a:lnTo>
                <a:lnTo>
                  <a:pt x="2507" y="2258"/>
                </a:lnTo>
                <a:lnTo>
                  <a:pt x="2491" y="2258"/>
                </a:lnTo>
                <a:lnTo>
                  <a:pt x="2475" y="2250"/>
                </a:lnTo>
                <a:lnTo>
                  <a:pt x="2467" y="2250"/>
                </a:lnTo>
                <a:cubicBezTo>
                  <a:pt x="2467" y="2242"/>
                  <a:pt x="2458" y="2250"/>
                  <a:pt x="2458" y="2250"/>
                </a:cubicBezTo>
                <a:lnTo>
                  <a:pt x="2450" y="2250"/>
                </a:lnTo>
                <a:lnTo>
                  <a:pt x="2434" y="2250"/>
                </a:lnTo>
                <a:lnTo>
                  <a:pt x="2434" y="2242"/>
                </a:lnTo>
                <a:cubicBezTo>
                  <a:pt x="2434" y="2234"/>
                  <a:pt x="2426" y="2242"/>
                  <a:pt x="2426" y="2242"/>
                </a:cubicBezTo>
                <a:lnTo>
                  <a:pt x="2410" y="2242"/>
                </a:lnTo>
                <a:cubicBezTo>
                  <a:pt x="2410" y="2234"/>
                  <a:pt x="2402" y="2234"/>
                  <a:pt x="2402" y="2234"/>
                </a:cubicBezTo>
                <a:lnTo>
                  <a:pt x="2369" y="2234"/>
                </a:lnTo>
                <a:lnTo>
                  <a:pt x="2369" y="2210"/>
                </a:lnTo>
                <a:cubicBezTo>
                  <a:pt x="2369" y="2210"/>
                  <a:pt x="2361" y="2210"/>
                  <a:pt x="2361" y="2202"/>
                </a:cubicBezTo>
                <a:lnTo>
                  <a:pt x="2353" y="2194"/>
                </a:lnTo>
                <a:cubicBezTo>
                  <a:pt x="2353" y="2186"/>
                  <a:pt x="2345" y="2186"/>
                  <a:pt x="2345" y="2178"/>
                </a:cubicBezTo>
                <a:lnTo>
                  <a:pt x="2337" y="2186"/>
                </a:lnTo>
                <a:cubicBezTo>
                  <a:pt x="2329" y="2186"/>
                  <a:pt x="2320" y="2178"/>
                  <a:pt x="2320" y="2178"/>
                </a:cubicBezTo>
                <a:lnTo>
                  <a:pt x="2312" y="2170"/>
                </a:lnTo>
                <a:lnTo>
                  <a:pt x="2296" y="2170"/>
                </a:lnTo>
                <a:lnTo>
                  <a:pt x="2296" y="2186"/>
                </a:lnTo>
                <a:cubicBezTo>
                  <a:pt x="2296" y="2186"/>
                  <a:pt x="2288" y="2186"/>
                  <a:pt x="2280" y="2178"/>
                </a:cubicBezTo>
                <a:cubicBezTo>
                  <a:pt x="2280" y="2178"/>
                  <a:pt x="2272" y="2170"/>
                  <a:pt x="2264" y="2170"/>
                </a:cubicBezTo>
                <a:cubicBezTo>
                  <a:pt x="2264" y="2170"/>
                  <a:pt x="2256" y="2170"/>
                  <a:pt x="2247" y="2162"/>
                </a:cubicBezTo>
                <a:lnTo>
                  <a:pt x="2239" y="2162"/>
                </a:lnTo>
                <a:lnTo>
                  <a:pt x="2207" y="2170"/>
                </a:lnTo>
                <a:cubicBezTo>
                  <a:pt x="2207" y="2170"/>
                  <a:pt x="2207" y="2178"/>
                  <a:pt x="2199" y="2178"/>
                </a:cubicBezTo>
                <a:cubicBezTo>
                  <a:pt x="2199" y="2186"/>
                  <a:pt x="2191" y="2178"/>
                  <a:pt x="2191" y="2178"/>
                </a:cubicBezTo>
                <a:lnTo>
                  <a:pt x="2174" y="2178"/>
                </a:lnTo>
                <a:lnTo>
                  <a:pt x="2166" y="2178"/>
                </a:lnTo>
                <a:cubicBezTo>
                  <a:pt x="2166" y="2178"/>
                  <a:pt x="2158" y="2170"/>
                  <a:pt x="2150" y="2170"/>
                </a:cubicBezTo>
                <a:lnTo>
                  <a:pt x="2142" y="2170"/>
                </a:lnTo>
                <a:lnTo>
                  <a:pt x="2134" y="2178"/>
                </a:lnTo>
                <a:lnTo>
                  <a:pt x="2126" y="2186"/>
                </a:lnTo>
                <a:lnTo>
                  <a:pt x="2126" y="2194"/>
                </a:lnTo>
                <a:lnTo>
                  <a:pt x="2109" y="2186"/>
                </a:lnTo>
                <a:lnTo>
                  <a:pt x="2093" y="2186"/>
                </a:lnTo>
                <a:cubicBezTo>
                  <a:pt x="2077" y="2194"/>
                  <a:pt x="2085" y="2202"/>
                  <a:pt x="2085" y="2202"/>
                </a:cubicBezTo>
                <a:cubicBezTo>
                  <a:pt x="2093" y="2202"/>
                  <a:pt x="2101" y="2218"/>
                  <a:pt x="2101" y="2218"/>
                </a:cubicBezTo>
                <a:lnTo>
                  <a:pt x="2077" y="2226"/>
                </a:lnTo>
                <a:cubicBezTo>
                  <a:pt x="2069" y="2234"/>
                  <a:pt x="2069" y="2234"/>
                  <a:pt x="2069" y="2242"/>
                </a:cubicBezTo>
                <a:cubicBezTo>
                  <a:pt x="2069" y="2242"/>
                  <a:pt x="2061" y="2250"/>
                  <a:pt x="2061" y="2258"/>
                </a:cubicBezTo>
                <a:cubicBezTo>
                  <a:pt x="2061" y="2258"/>
                  <a:pt x="2053" y="2250"/>
                  <a:pt x="2045" y="2250"/>
                </a:cubicBezTo>
                <a:cubicBezTo>
                  <a:pt x="2036" y="2250"/>
                  <a:pt x="2036" y="2242"/>
                  <a:pt x="2036" y="2242"/>
                </a:cubicBezTo>
                <a:lnTo>
                  <a:pt x="2028" y="2250"/>
                </a:lnTo>
                <a:lnTo>
                  <a:pt x="2020" y="2250"/>
                </a:lnTo>
                <a:cubicBezTo>
                  <a:pt x="2020" y="2250"/>
                  <a:pt x="2012" y="2242"/>
                  <a:pt x="2012" y="2234"/>
                </a:cubicBezTo>
                <a:cubicBezTo>
                  <a:pt x="2004" y="2234"/>
                  <a:pt x="1996" y="2234"/>
                  <a:pt x="1996" y="2226"/>
                </a:cubicBezTo>
                <a:lnTo>
                  <a:pt x="1988" y="2210"/>
                </a:lnTo>
                <a:cubicBezTo>
                  <a:pt x="1988" y="2210"/>
                  <a:pt x="1971" y="2218"/>
                  <a:pt x="1971" y="2226"/>
                </a:cubicBezTo>
                <a:cubicBezTo>
                  <a:pt x="1963" y="2226"/>
                  <a:pt x="1971" y="2226"/>
                  <a:pt x="1963" y="2218"/>
                </a:cubicBezTo>
                <a:cubicBezTo>
                  <a:pt x="1955" y="2218"/>
                  <a:pt x="1955" y="2226"/>
                  <a:pt x="1955" y="2226"/>
                </a:cubicBezTo>
                <a:cubicBezTo>
                  <a:pt x="1955" y="2234"/>
                  <a:pt x="1947" y="2234"/>
                  <a:pt x="1947" y="2234"/>
                </a:cubicBezTo>
                <a:cubicBezTo>
                  <a:pt x="1947" y="2242"/>
                  <a:pt x="1939" y="2234"/>
                  <a:pt x="1939" y="2234"/>
                </a:cubicBezTo>
                <a:lnTo>
                  <a:pt x="1923" y="2234"/>
                </a:lnTo>
                <a:lnTo>
                  <a:pt x="1923" y="2226"/>
                </a:lnTo>
                <a:lnTo>
                  <a:pt x="1906" y="2234"/>
                </a:lnTo>
                <a:lnTo>
                  <a:pt x="1906" y="2242"/>
                </a:lnTo>
                <a:cubicBezTo>
                  <a:pt x="1906" y="2242"/>
                  <a:pt x="1898" y="2242"/>
                  <a:pt x="1890" y="2250"/>
                </a:cubicBezTo>
                <a:cubicBezTo>
                  <a:pt x="1874" y="2250"/>
                  <a:pt x="1882" y="2242"/>
                  <a:pt x="1874" y="2250"/>
                </a:cubicBezTo>
                <a:lnTo>
                  <a:pt x="1874" y="2258"/>
                </a:lnTo>
                <a:cubicBezTo>
                  <a:pt x="1874" y="2258"/>
                  <a:pt x="1882" y="2258"/>
                  <a:pt x="1874" y="2266"/>
                </a:cubicBezTo>
                <a:cubicBezTo>
                  <a:pt x="1866" y="2274"/>
                  <a:pt x="1866" y="2266"/>
                  <a:pt x="1866" y="2266"/>
                </a:cubicBezTo>
                <a:cubicBezTo>
                  <a:pt x="1858" y="2266"/>
                  <a:pt x="1850" y="2274"/>
                  <a:pt x="1850" y="2274"/>
                </a:cubicBezTo>
                <a:lnTo>
                  <a:pt x="1850" y="2282"/>
                </a:lnTo>
                <a:lnTo>
                  <a:pt x="1833" y="2282"/>
                </a:lnTo>
                <a:cubicBezTo>
                  <a:pt x="1825" y="2282"/>
                  <a:pt x="1833" y="2290"/>
                  <a:pt x="1833" y="2290"/>
                </a:cubicBezTo>
                <a:cubicBezTo>
                  <a:pt x="1833" y="2290"/>
                  <a:pt x="1833" y="2298"/>
                  <a:pt x="1825" y="2306"/>
                </a:cubicBezTo>
                <a:lnTo>
                  <a:pt x="1825" y="2322"/>
                </a:lnTo>
                <a:lnTo>
                  <a:pt x="1825" y="2337"/>
                </a:lnTo>
                <a:lnTo>
                  <a:pt x="1825" y="2346"/>
                </a:lnTo>
                <a:lnTo>
                  <a:pt x="1817" y="2346"/>
                </a:lnTo>
                <a:cubicBezTo>
                  <a:pt x="1817" y="2337"/>
                  <a:pt x="1809" y="2346"/>
                  <a:pt x="1809" y="2346"/>
                </a:cubicBezTo>
                <a:cubicBezTo>
                  <a:pt x="1809" y="2346"/>
                  <a:pt x="1801" y="2337"/>
                  <a:pt x="1801" y="2330"/>
                </a:cubicBezTo>
                <a:lnTo>
                  <a:pt x="1793" y="2330"/>
                </a:lnTo>
                <a:lnTo>
                  <a:pt x="1777" y="2337"/>
                </a:lnTo>
                <a:lnTo>
                  <a:pt x="1777" y="2346"/>
                </a:lnTo>
                <a:cubicBezTo>
                  <a:pt x="1769" y="2346"/>
                  <a:pt x="1752" y="2353"/>
                  <a:pt x="1752" y="2353"/>
                </a:cubicBezTo>
                <a:lnTo>
                  <a:pt x="1744" y="2353"/>
                </a:lnTo>
                <a:lnTo>
                  <a:pt x="1736" y="2346"/>
                </a:lnTo>
                <a:lnTo>
                  <a:pt x="1736" y="2337"/>
                </a:lnTo>
                <a:lnTo>
                  <a:pt x="1752" y="2322"/>
                </a:lnTo>
                <a:lnTo>
                  <a:pt x="1744" y="2298"/>
                </a:lnTo>
                <a:lnTo>
                  <a:pt x="1728" y="2282"/>
                </a:lnTo>
                <a:lnTo>
                  <a:pt x="1728" y="2274"/>
                </a:lnTo>
                <a:lnTo>
                  <a:pt x="1704" y="2274"/>
                </a:lnTo>
                <a:lnTo>
                  <a:pt x="1687" y="2266"/>
                </a:lnTo>
                <a:lnTo>
                  <a:pt x="1679" y="2258"/>
                </a:lnTo>
                <a:lnTo>
                  <a:pt x="1655" y="2242"/>
                </a:lnTo>
                <a:lnTo>
                  <a:pt x="1639" y="2194"/>
                </a:lnTo>
                <a:lnTo>
                  <a:pt x="1614" y="2194"/>
                </a:lnTo>
                <a:cubicBezTo>
                  <a:pt x="1614" y="2194"/>
                  <a:pt x="1598" y="2210"/>
                  <a:pt x="1598" y="2218"/>
                </a:cubicBezTo>
                <a:cubicBezTo>
                  <a:pt x="1598" y="2226"/>
                  <a:pt x="1582" y="2226"/>
                  <a:pt x="1582" y="2226"/>
                </a:cubicBezTo>
                <a:lnTo>
                  <a:pt x="1566" y="2250"/>
                </a:lnTo>
                <a:lnTo>
                  <a:pt x="1566" y="2290"/>
                </a:lnTo>
                <a:cubicBezTo>
                  <a:pt x="1566" y="2298"/>
                  <a:pt x="1549" y="2282"/>
                  <a:pt x="1549" y="2282"/>
                </a:cubicBezTo>
                <a:cubicBezTo>
                  <a:pt x="1549" y="2282"/>
                  <a:pt x="1533" y="2290"/>
                  <a:pt x="1525" y="2298"/>
                </a:cubicBezTo>
                <a:cubicBezTo>
                  <a:pt x="1517" y="2306"/>
                  <a:pt x="1501" y="2306"/>
                  <a:pt x="1501" y="2306"/>
                </a:cubicBezTo>
                <a:cubicBezTo>
                  <a:pt x="1501" y="2306"/>
                  <a:pt x="1493" y="2290"/>
                  <a:pt x="1484" y="2282"/>
                </a:cubicBezTo>
                <a:lnTo>
                  <a:pt x="1484" y="2258"/>
                </a:lnTo>
                <a:cubicBezTo>
                  <a:pt x="1484" y="2250"/>
                  <a:pt x="1468" y="2266"/>
                  <a:pt x="1468" y="2266"/>
                </a:cubicBezTo>
                <a:lnTo>
                  <a:pt x="1468" y="2258"/>
                </a:lnTo>
                <a:cubicBezTo>
                  <a:pt x="1460" y="2242"/>
                  <a:pt x="1452" y="2234"/>
                  <a:pt x="1452" y="2234"/>
                </a:cubicBezTo>
                <a:cubicBezTo>
                  <a:pt x="1452" y="2234"/>
                  <a:pt x="1444" y="2218"/>
                  <a:pt x="1444" y="2202"/>
                </a:cubicBezTo>
                <a:cubicBezTo>
                  <a:pt x="1444" y="2194"/>
                  <a:pt x="1411" y="2178"/>
                  <a:pt x="1411" y="2178"/>
                </a:cubicBezTo>
                <a:cubicBezTo>
                  <a:pt x="1411" y="2178"/>
                  <a:pt x="1420" y="2194"/>
                  <a:pt x="1403" y="2178"/>
                </a:cubicBezTo>
                <a:cubicBezTo>
                  <a:pt x="1387" y="2154"/>
                  <a:pt x="1371" y="2154"/>
                  <a:pt x="1371" y="2154"/>
                </a:cubicBezTo>
                <a:lnTo>
                  <a:pt x="1363" y="2090"/>
                </a:lnTo>
                <a:lnTo>
                  <a:pt x="1298" y="2106"/>
                </a:lnTo>
                <a:cubicBezTo>
                  <a:pt x="1298" y="2106"/>
                  <a:pt x="1257" y="2090"/>
                  <a:pt x="1249" y="2082"/>
                </a:cubicBezTo>
                <a:cubicBezTo>
                  <a:pt x="1241" y="2074"/>
                  <a:pt x="1217" y="2066"/>
                  <a:pt x="1217" y="2066"/>
                </a:cubicBezTo>
                <a:lnTo>
                  <a:pt x="1192" y="2090"/>
                </a:lnTo>
                <a:lnTo>
                  <a:pt x="1168" y="2090"/>
                </a:lnTo>
                <a:cubicBezTo>
                  <a:pt x="1168" y="2090"/>
                  <a:pt x="1135" y="2082"/>
                  <a:pt x="1127" y="2074"/>
                </a:cubicBezTo>
                <a:cubicBezTo>
                  <a:pt x="1111" y="2058"/>
                  <a:pt x="1119" y="2050"/>
                  <a:pt x="1111" y="2050"/>
                </a:cubicBezTo>
                <a:cubicBezTo>
                  <a:pt x="1095" y="2050"/>
                  <a:pt x="1087" y="2034"/>
                  <a:pt x="1087" y="2034"/>
                </a:cubicBezTo>
                <a:cubicBezTo>
                  <a:pt x="1087" y="2034"/>
                  <a:pt x="1103" y="2010"/>
                  <a:pt x="1111" y="2002"/>
                </a:cubicBezTo>
                <a:cubicBezTo>
                  <a:pt x="1111" y="1994"/>
                  <a:pt x="1127" y="2002"/>
                  <a:pt x="1119" y="1978"/>
                </a:cubicBezTo>
                <a:cubicBezTo>
                  <a:pt x="1103" y="1962"/>
                  <a:pt x="1095" y="1954"/>
                  <a:pt x="1095" y="1954"/>
                </a:cubicBezTo>
                <a:cubicBezTo>
                  <a:pt x="1095" y="1954"/>
                  <a:pt x="1095" y="1970"/>
                  <a:pt x="1079" y="1978"/>
                </a:cubicBezTo>
                <a:cubicBezTo>
                  <a:pt x="1062" y="1978"/>
                  <a:pt x="1038" y="1986"/>
                  <a:pt x="1038" y="1986"/>
                </a:cubicBezTo>
                <a:lnTo>
                  <a:pt x="949" y="1946"/>
                </a:lnTo>
                <a:cubicBezTo>
                  <a:pt x="949" y="1946"/>
                  <a:pt x="924" y="1938"/>
                  <a:pt x="916" y="1938"/>
                </a:cubicBezTo>
                <a:cubicBezTo>
                  <a:pt x="908" y="1946"/>
                  <a:pt x="876" y="1938"/>
                  <a:pt x="876" y="1938"/>
                </a:cubicBezTo>
                <a:lnTo>
                  <a:pt x="892" y="1970"/>
                </a:lnTo>
                <a:lnTo>
                  <a:pt x="908" y="2018"/>
                </a:lnTo>
                <a:lnTo>
                  <a:pt x="860" y="2034"/>
                </a:lnTo>
                <a:lnTo>
                  <a:pt x="851" y="2074"/>
                </a:lnTo>
                <a:cubicBezTo>
                  <a:pt x="851" y="2074"/>
                  <a:pt x="803" y="2106"/>
                  <a:pt x="803" y="2090"/>
                </a:cubicBezTo>
                <a:cubicBezTo>
                  <a:pt x="795" y="2082"/>
                  <a:pt x="787" y="2050"/>
                  <a:pt x="787" y="2050"/>
                </a:cubicBezTo>
                <a:cubicBezTo>
                  <a:pt x="787" y="2050"/>
                  <a:pt x="778" y="2034"/>
                  <a:pt x="770" y="2026"/>
                </a:cubicBezTo>
                <a:cubicBezTo>
                  <a:pt x="754" y="2018"/>
                  <a:pt x="746" y="2010"/>
                  <a:pt x="746" y="2010"/>
                </a:cubicBezTo>
                <a:lnTo>
                  <a:pt x="722" y="2002"/>
                </a:lnTo>
                <a:cubicBezTo>
                  <a:pt x="722" y="2002"/>
                  <a:pt x="713" y="1970"/>
                  <a:pt x="705" y="1970"/>
                </a:cubicBezTo>
                <a:lnTo>
                  <a:pt x="689" y="1970"/>
                </a:lnTo>
                <a:lnTo>
                  <a:pt x="689" y="1946"/>
                </a:lnTo>
                <a:lnTo>
                  <a:pt x="705" y="1922"/>
                </a:lnTo>
                <a:cubicBezTo>
                  <a:pt x="705" y="1922"/>
                  <a:pt x="713" y="1930"/>
                  <a:pt x="713" y="1898"/>
                </a:cubicBezTo>
                <a:cubicBezTo>
                  <a:pt x="722" y="1859"/>
                  <a:pt x="697" y="1859"/>
                  <a:pt x="697" y="1859"/>
                </a:cubicBezTo>
                <a:lnTo>
                  <a:pt x="673" y="1867"/>
                </a:lnTo>
                <a:lnTo>
                  <a:pt x="640" y="1883"/>
                </a:lnTo>
                <a:lnTo>
                  <a:pt x="624" y="1883"/>
                </a:lnTo>
                <a:cubicBezTo>
                  <a:pt x="616" y="1883"/>
                  <a:pt x="600" y="1859"/>
                  <a:pt x="600" y="1859"/>
                </a:cubicBezTo>
                <a:cubicBezTo>
                  <a:pt x="600" y="1859"/>
                  <a:pt x="616" y="1835"/>
                  <a:pt x="592" y="1859"/>
                </a:cubicBezTo>
                <a:cubicBezTo>
                  <a:pt x="567" y="1883"/>
                  <a:pt x="551" y="1851"/>
                  <a:pt x="551" y="1851"/>
                </a:cubicBezTo>
                <a:lnTo>
                  <a:pt x="543" y="1843"/>
                </a:lnTo>
                <a:lnTo>
                  <a:pt x="535" y="1843"/>
                </a:lnTo>
                <a:cubicBezTo>
                  <a:pt x="527" y="1851"/>
                  <a:pt x="502" y="1851"/>
                  <a:pt x="502" y="1843"/>
                </a:cubicBezTo>
                <a:cubicBezTo>
                  <a:pt x="494" y="1827"/>
                  <a:pt x="478" y="1819"/>
                  <a:pt x="478" y="1819"/>
                </a:cubicBezTo>
                <a:lnTo>
                  <a:pt x="455" y="1827"/>
                </a:lnTo>
                <a:lnTo>
                  <a:pt x="430" y="1827"/>
                </a:lnTo>
                <a:cubicBezTo>
                  <a:pt x="430" y="1819"/>
                  <a:pt x="430" y="1811"/>
                  <a:pt x="414" y="1803"/>
                </a:cubicBezTo>
                <a:cubicBezTo>
                  <a:pt x="398" y="1795"/>
                  <a:pt x="390" y="1771"/>
                  <a:pt x="390" y="1771"/>
                </a:cubicBezTo>
                <a:cubicBezTo>
                  <a:pt x="390" y="1771"/>
                  <a:pt x="398" y="1755"/>
                  <a:pt x="382" y="1755"/>
                </a:cubicBezTo>
                <a:cubicBezTo>
                  <a:pt x="374" y="1755"/>
                  <a:pt x="357" y="1747"/>
                  <a:pt x="357" y="1747"/>
                </a:cubicBezTo>
                <a:cubicBezTo>
                  <a:pt x="357" y="1747"/>
                  <a:pt x="333" y="1731"/>
                  <a:pt x="333" y="1739"/>
                </a:cubicBezTo>
                <a:cubicBezTo>
                  <a:pt x="325" y="1747"/>
                  <a:pt x="325" y="1763"/>
                  <a:pt x="325" y="1771"/>
                </a:cubicBezTo>
                <a:lnTo>
                  <a:pt x="333" y="1795"/>
                </a:lnTo>
                <a:cubicBezTo>
                  <a:pt x="333" y="1795"/>
                  <a:pt x="301" y="1811"/>
                  <a:pt x="292" y="1811"/>
                </a:cubicBezTo>
                <a:cubicBezTo>
                  <a:pt x="284" y="1811"/>
                  <a:pt x="276" y="1819"/>
                  <a:pt x="276" y="1803"/>
                </a:cubicBezTo>
                <a:cubicBezTo>
                  <a:pt x="276" y="1795"/>
                  <a:pt x="292" y="1755"/>
                  <a:pt x="292" y="1755"/>
                </a:cubicBezTo>
                <a:cubicBezTo>
                  <a:pt x="301" y="1747"/>
                  <a:pt x="309" y="1739"/>
                  <a:pt x="309" y="1739"/>
                </a:cubicBezTo>
                <a:cubicBezTo>
                  <a:pt x="309" y="1739"/>
                  <a:pt x="301" y="1723"/>
                  <a:pt x="301" y="1715"/>
                </a:cubicBezTo>
                <a:cubicBezTo>
                  <a:pt x="301" y="1707"/>
                  <a:pt x="292" y="1707"/>
                  <a:pt x="309" y="1683"/>
                </a:cubicBezTo>
                <a:cubicBezTo>
                  <a:pt x="333" y="1659"/>
                  <a:pt x="333" y="1643"/>
                  <a:pt x="333" y="1643"/>
                </a:cubicBezTo>
                <a:cubicBezTo>
                  <a:pt x="333" y="1643"/>
                  <a:pt x="317" y="1619"/>
                  <a:pt x="309" y="1611"/>
                </a:cubicBezTo>
                <a:lnTo>
                  <a:pt x="284" y="1579"/>
                </a:lnTo>
                <a:lnTo>
                  <a:pt x="284" y="1555"/>
                </a:lnTo>
                <a:cubicBezTo>
                  <a:pt x="284" y="1555"/>
                  <a:pt x="268" y="1539"/>
                  <a:pt x="260" y="1539"/>
                </a:cubicBezTo>
                <a:cubicBezTo>
                  <a:pt x="252" y="1539"/>
                  <a:pt x="228" y="1531"/>
                  <a:pt x="228" y="1531"/>
                </a:cubicBezTo>
                <a:lnTo>
                  <a:pt x="228" y="1467"/>
                </a:lnTo>
                <a:lnTo>
                  <a:pt x="195" y="1428"/>
                </a:lnTo>
                <a:lnTo>
                  <a:pt x="187" y="1404"/>
                </a:lnTo>
                <a:cubicBezTo>
                  <a:pt x="187" y="1404"/>
                  <a:pt x="195" y="1388"/>
                  <a:pt x="195" y="1372"/>
                </a:cubicBezTo>
                <a:cubicBezTo>
                  <a:pt x="203" y="1364"/>
                  <a:pt x="211" y="1340"/>
                  <a:pt x="211" y="1340"/>
                </a:cubicBezTo>
                <a:lnTo>
                  <a:pt x="195" y="1308"/>
                </a:lnTo>
                <a:cubicBezTo>
                  <a:pt x="195" y="1308"/>
                  <a:pt x="187" y="1300"/>
                  <a:pt x="195" y="1292"/>
                </a:cubicBezTo>
                <a:cubicBezTo>
                  <a:pt x="195" y="1284"/>
                  <a:pt x="187" y="1236"/>
                  <a:pt x="187" y="1236"/>
                </a:cubicBezTo>
                <a:cubicBezTo>
                  <a:pt x="187" y="1236"/>
                  <a:pt x="179" y="1188"/>
                  <a:pt x="171" y="1196"/>
                </a:cubicBezTo>
                <a:cubicBezTo>
                  <a:pt x="155" y="1196"/>
                  <a:pt x="146" y="1164"/>
                  <a:pt x="146" y="1164"/>
                </a:cubicBezTo>
                <a:lnTo>
                  <a:pt x="163" y="1108"/>
                </a:lnTo>
                <a:cubicBezTo>
                  <a:pt x="163" y="1108"/>
                  <a:pt x="171" y="1069"/>
                  <a:pt x="146" y="1053"/>
                </a:cubicBezTo>
                <a:cubicBezTo>
                  <a:pt x="122" y="1045"/>
                  <a:pt x="73" y="1021"/>
                  <a:pt x="65" y="1013"/>
                </a:cubicBezTo>
                <a:cubicBezTo>
                  <a:pt x="65" y="1013"/>
                  <a:pt x="41" y="989"/>
                  <a:pt x="33" y="981"/>
                </a:cubicBezTo>
                <a:cubicBezTo>
                  <a:pt x="25" y="981"/>
                  <a:pt x="17" y="973"/>
                  <a:pt x="17" y="973"/>
                </a:cubicBezTo>
                <a:lnTo>
                  <a:pt x="33" y="901"/>
                </a:lnTo>
                <a:lnTo>
                  <a:pt x="73" y="869"/>
                </a:lnTo>
                <a:lnTo>
                  <a:pt x="73" y="733"/>
                </a:lnTo>
                <a:cubicBezTo>
                  <a:pt x="73" y="733"/>
                  <a:pt x="81" y="725"/>
                  <a:pt x="57" y="693"/>
                </a:cubicBezTo>
                <a:cubicBezTo>
                  <a:pt x="41" y="669"/>
                  <a:pt x="33" y="638"/>
                  <a:pt x="33" y="638"/>
                </a:cubicBezTo>
                <a:cubicBezTo>
                  <a:pt x="33" y="630"/>
                  <a:pt x="25" y="598"/>
                  <a:pt x="17" y="590"/>
                </a:cubicBezTo>
                <a:lnTo>
                  <a:pt x="17" y="558"/>
                </a:lnTo>
                <a:cubicBezTo>
                  <a:pt x="25" y="550"/>
                  <a:pt x="0" y="526"/>
                  <a:pt x="0" y="526"/>
                </a:cubicBezTo>
                <a:cubicBezTo>
                  <a:pt x="0" y="526"/>
                  <a:pt x="8" y="510"/>
                  <a:pt x="17" y="510"/>
                </a:cubicBezTo>
                <a:cubicBezTo>
                  <a:pt x="25" y="510"/>
                  <a:pt x="33" y="502"/>
                  <a:pt x="49" y="502"/>
                </a:cubicBezTo>
                <a:cubicBezTo>
                  <a:pt x="65" y="502"/>
                  <a:pt x="73" y="486"/>
                  <a:pt x="90" y="486"/>
                </a:cubicBezTo>
                <a:cubicBezTo>
                  <a:pt x="98" y="478"/>
                  <a:pt x="98" y="462"/>
                  <a:pt x="106" y="462"/>
                </a:cubicBezTo>
                <a:cubicBezTo>
                  <a:pt x="122" y="454"/>
                  <a:pt x="138" y="462"/>
                  <a:pt x="163" y="446"/>
                </a:cubicBezTo>
                <a:cubicBezTo>
                  <a:pt x="187" y="438"/>
                  <a:pt x="187" y="430"/>
                  <a:pt x="203" y="414"/>
                </a:cubicBezTo>
                <a:cubicBezTo>
                  <a:pt x="211" y="406"/>
                  <a:pt x="366" y="359"/>
                  <a:pt x="366" y="359"/>
                </a:cubicBezTo>
                <a:cubicBezTo>
                  <a:pt x="366" y="359"/>
                  <a:pt x="406" y="335"/>
                  <a:pt x="422" y="335"/>
                </a:cubicBezTo>
                <a:cubicBezTo>
                  <a:pt x="430" y="327"/>
                  <a:pt x="430" y="319"/>
                  <a:pt x="447" y="319"/>
                </a:cubicBezTo>
                <a:cubicBezTo>
                  <a:pt x="455" y="327"/>
                  <a:pt x="486" y="327"/>
                  <a:pt x="486" y="327"/>
                </a:cubicBezTo>
                <a:cubicBezTo>
                  <a:pt x="486" y="327"/>
                  <a:pt x="494" y="303"/>
                  <a:pt x="502" y="295"/>
                </a:cubicBezTo>
                <a:cubicBezTo>
                  <a:pt x="511" y="279"/>
                  <a:pt x="519" y="263"/>
                  <a:pt x="519" y="255"/>
                </a:cubicBezTo>
                <a:cubicBezTo>
                  <a:pt x="527" y="239"/>
                  <a:pt x="535" y="232"/>
                  <a:pt x="543" y="224"/>
                </a:cubicBezTo>
                <a:cubicBezTo>
                  <a:pt x="551" y="208"/>
                  <a:pt x="559" y="200"/>
                  <a:pt x="559" y="200"/>
                </a:cubicBezTo>
                <a:cubicBezTo>
                  <a:pt x="567" y="200"/>
                  <a:pt x="616" y="176"/>
                  <a:pt x="624" y="176"/>
                </a:cubicBezTo>
                <a:cubicBezTo>
                  <a:pt x="632" y="168"/>
                  <a:pt x="697" y="144"/>
                  <a:pt x="697" y="136"/>
                </a:cubicBezTo>
                <a:cubicBezTo>
                  <a:pt x="697" y="136"/>
                  <a:pt x="722" y="104"/>
                  <a:pt x="722" y="96"/>
                </a:cubicBezTo>
                <a:cubicBezTo>
                  <a:pt x="722" y="88"/>
                  <a:pt x="754" y="80"/>
                  <a:pt x="754" y="80"/>
                </a:cubicBezTo>
                <a:cubicBezTo>
                  <a:pt x="762" y="80"/>
                  <a:pt x="762" y="80"/>
                  <a:pt x="770" y="72"/>
                </a:cubicBezTo>
                <a:cubicBezTo>
                  <a:pt x="787" y="72"/>
                  <a:pt x="860" y="40"/>
                  <a:pt x="860" y="40"/>
                </a:cubicBezTo>
                <a:lnTo>
                  <a:pt x="924" y="16"/>
                </a:lnTo>
                <a:cubicBezTo>
                  <a:pt x="933" y="24"/>
                  <a:pt x="973" y="16"/>
                  <a:pt x="981" y="16"/>
                </a:cubicBezTo>
                <a:cubicBezTo>
                  <a:pt x="981" y="24"/>
                  <a:pt x="1030" y="16"/>
                  <a:pt x="1030" y="16"/>
                </a:cubicBezTo>
                <a:cubicBezTo>
                  <a:pt x="1030" y="16"/>
                  <a:pt x="1046" y="24"/>
                  <a:pt x="1046" y="32"/>
                </a:cubicBezTo>
                <a:cubicBezTo>
                  <a:pt x="1046" y="40"/>
                  <a:pt x="1030" y="48"/>
                  <a:pt x="1038" y="56"/>
                </a:cubicBezTo>
                <a:cubicBezTo>
                  <a:pt x="1046" y="64"/>
                  <a:pt x="1079" y="88"/>
                  <a:pt x="1079" y="88"/>
                </a:cubicBezTo>
                <a:lnTo>
                  <a:pt x="1071" y="112"/>
                </a:lnTo>
                <a:cubicBezTo>
                  <a:pt x="1071" y="120"/>
                  <a:pt x="1079" y="128"/>
                  <a:pt x="1087" y="144"/>
                </a:cubicBezTo>
                <a:cubicBezTo>
                  <a:pt x="1095" y="152"/>
                  <a:pt x="1111" y="168"/>
                  <a:pt x="1111" y="168"/>
                </a:cubicBezTo>
                <a:cubicBezTo>
                  <a:pt x="1111" y="168"/>
                  <a:pt x="1103" y="176"/>
                  <a:pt x="1135" y="192"/>
                </a:cubicBezTo>
                <a:cubicBezTo>
                  <a:pt x="1168" y="208"/>
                  <a:pt x="1192" y="192"/>
                  <a:pt x="1192" y="192"/>
                </a:cubicBezTo>
                <a:lnTo>
                  <a:pt x="1225" y="192"/>
                </a:lnTo>
                <a:cubicBezTo>
                  <a:pt x="1233" y="192"/>
                  <a:pt x="1257" y="184"/>
                  <a:pt x="1257" y="184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24" name="Freeform 116">
            <a:extLst>
              <a:ext uri="{FF2B5EF4-FFF2-40B4-BE49-F238E27FC236}">
                <a16:creationId xmlns:a16="http://schemas.microsoft.com/office/drawing/2014/main" id="{8F67C061-C0EE-0676-0B8D-8ECC48557DC7}"/>
              </a:ext>
            </a:extLst>
          </p:cNvPr>
          <p:cNvSpPr>
            <a:spLocks noChangeArrowheads="1"/>
          </p:cNvSpPr>
          <p:nvPr>
            <p:custDataLst>
              <p:tags r:id="rId116"/>
            </p:custDataLst>
          </p:nvPr>
        </p:nvSpPr>
        <p:spPr bwMode="auto">
          <a:xfrm>
            <a:off x="4837786" y="2849044"/>
            <a:ext cx="554232" cy="604947"/>
          </a:xfrm>
          <a:custGeom>
            <a:avLst/>
            <a:gdLst>
              <a:gd name="T0" fmla="*/ 935 w 1351"/>
              <a:gd name="T1" fmla="*/ 1333 h 1475"/>
              <a:gd name="T2" fmla="*/ 748 w 1351"/>
              <a:gd name="T3" fmla="*/ 1380 h 1475"/>
              <a:gd name="T4" fmla="*/ 577 w 1351"/>
              <a:gd name="T5" fmla="*/ 1388 h 1475"/>
              <a:gd name="T6" fmla="*/ 407 w 1351"/>
              <a:gd name="T7" fmla="*/ 1474 h 1475"/>
              <a:gd name="T8" fmla="*/ 155 w 1351"/>
              <a:gd name="T9" fmla="*/ 1435 h 1475"/>
              <a:gd name="T10" fmla="*/ 146 w 1351"/>
              <a:gd name="T11" fmla="*/ 1412 h 1475"/>
              <a:gd name="T12" fmla="*/ 179 w 1351"/>
              <a:gd name="T13" fmla="*/ 1372 h 1475"/>
              <a:gd name="T14" fmla="*/ 73 w 1351"/>
              <a:gd name="T15" fmla="*/ 1341 h 1475"/>
              <a:gd name="T16" fmla="*/ 155 w 1351"/>
              <a:gd name="T17" fmla="*/ 1302 h 1475"/>
              <a:gd name="T18" fmla="*/ 49 w 1351"/>
              <a:gd name="T19" fmla="*/ 1263 h 1475"/>
              <a:gd name="T20" fmla="*/ 57 w 1351"/>
              <a:gd name="T21" fmla="*/ 1208 h 1475"/>
              <a:gd name="T22" fmla="*/ 187 w 1351"/>
              <a:gd name="T23" fmla="*/ 1161 h 1475"/>
              <a:gd name="T24" fmla="*/ 49 w 1351"/>
              <a:gd name="T25" fmla="*/ 1137 h 1475"/>
              <a:gd name="T26" fmla="*/ 106 w 1351"/>
              <a:gd name="T27" fmla="*/ 1090 h 1475"/>
              <a:gd name="T28" fmla="*/ 179 w 1351"/>
              <a:gd name="T29" fmla="*/ 1121 h 1475"/>
              <a:gd name="T30" fmla="*/ 195 w 1351"/>
              <a:gd name="T31" fmla="*/ 1051 h 1475"/>
              <a:gd name="T32" fmla="*/ 325 w 1351"/>
              <a:gd name="T33" fmla="*/ 1019 h 1475"/>
              <a:gd name="T34" fmla="*/ 480 w 1351"/>
              <a:gd name="T35" fmla="*/ 1019 h 1475"/>
              <a:gd name="T36" fmla="*/ 431 w 1351"/>
              <a:gd name="T37" fmla="*/ 1019 h 1475"/>
              <a:gd name="T38" fmla="*/ 285 w 1351"/>
              <a:gd name="T39" fmla="*/ 996 h 1475"/>
              <a:gd name="T40" fmla="*/ 325 w 1351"/>
              <a:gd name="T41" fmla="*/ 941 h 1475"/>
              <a:gd name="T42" fmla="*/ 415 w 1351"/>
              <a:gd name="T43" fmla="*/ 840 h 1475"/>
              <a:gd name="T44" fmla="*/ 529 w 1351"/>
              <a:gd name="T45" fmla="*/ 816 h 1475"/>
              <a:gd name="T46" fmla="*/ 415 w 1351"/>
              <a:gd name="T47" fmla="*/ 753 h 1475"/>
              <a:gd name="T48" fmla="*/ 382 w 1351"/>
              <a:gd name="T49" fmla="*/ 714 h 1475"/>
              <a:gd name="T50" fmla="*/ 325 w 1351"/>
              <a:gd name="T51" fmla="*/ 683 h 1475"/>
              <a:gd name="T52" fmla="*/ 277 w 1351"/>
              <a:gd name="T53" fmla="*/ 636 h 1475"/>
              <a:gd name="T54" fmla="*/ 277 w 1351"/>
              <a:gd name="T55" fmla="*/ 573 h 1475"/>
              <a:gd name="T56" fmla="*/ 358 w 1351"/>
              <a:gd name="T57" fmla="*/ 557 h 1475"/>
              <a:gd name="T58" fmla="*/ 439 w 1351"/>
              <a:gd name="T59" fmla="*/ 495 h 1475"/>
              <a:gd name="T60" fmla="*/ 358 w 1351"/>
              <a:gd name="T61" fmla="*/ 416 h 1475"/>
              <a:gd name="T62" fmla="*/ 390 w 1351"/>
              <a:gd name="T63" fmla="*/ 400 h 1475"/>
              <a:gd name="T64" fmla="*/ 407 w 1351"/>
              <a:gd name="T65" fmla="*/ 314 h 1475"/>
              <a:gd name="T66" fmla="*/ 382 w 1351"/>
              <a:gd name="T67" fmla="*/ 298 h 1475"/>
              <a:gd name="T68" fmla="*/ 496 w 1351"/>
              <a:gd name="T69" fmla="*/ 298 h 1475"/>
              <a:gd name="T70" fmla="*/ 610 w 1351"/>
              <a:gd name="T71" fmla="*/ 369 h 1475"/>
              <a:gd name="T72" fmla="*/ 732 w 1351"/>
              <a:gd name="T73" fmla="*/ 385 h 1475"/>
              <a:gd name="T74" fmla="*/ 781 w 1351"/>
              <a:gd name="T75" fmla="*/ 330 h 1475"/>
              <a:gd name="T76" fmla="*/ 862 w 1351"/>
              <a:gd name="T77" fmla="*/ 251 h 1475"/>
              <a:gd name="T78" fmla="*/ 781 w 1351"/>
              <a:gd name="T79" fmla="*/ 181 h 1475"/>
              <a:gd name="T80" fmla="*/ 862 w 1351"/>
              <a:gd name="T81" fmla="*/ 134 h 1475"/>
              <a:gd name="T82" fmla="*/ 951 w 1351"/>
              <a:gd name="T83" fmla="*/ 39 h 1475"/>
              <a:gd name="T84" fmla="*/ 1057 w 1351"/>
              <a:gd name="T85" fmla="*/ 47 h 1475"/>
              <a:gd name="T86" fmla="*/ 1106 w 1351"/>
              <a:gd name="T87" fmla="*/ 110 h 1475"/>
              <a:gd name="T88" fmla="*/ 1122 w 1351"/>
              <a:gd name="T89" fmla="*/ 87 h 1475"/>
              <a:gd name="T90" fmla="*/ 1195 w 1351"/>
              <a:gd name="T91" fmla="*/ 47 h 1475"/>
              <a:gd name="T92" fmla="*/ 1244 w 1351"/>
              <a:gd name="T93" fmla="*/ 63 h 1475"/>
              <a:gd name="T94" fmla="*/ 1171 w 1351"/>
              <a:gd name="T95" fmla="*/ 181 h 1475"/>
              <a:gd name="T96" fmla="*/ 1000 w 1351"/>
              <a:gd name="T97" fmla="*/ 322 h 1475"/>
              <a:gd name="T98" fmla="*/ 1000 w 1351"/>
              <a:gd name="T99" fmla="*/ 518 h 1475"/>
              <a:gd name="T100" fmla="*/ 1228 w 1351"/>
              <a:gd name="T101" fmla="*/ 589 h 1475"/>
              <a:gd name="T102" fmla="*/ 1285 w 1351"/>
              <a:gd name="T103" fmla="*/ 636 h 1475"/>
              <a:gd name="T104" fmla="*/ 1317 w 1351"/>
              <a:gd name="T105" fmla="*/ 824 h 1475"/>
              <a:gd name="T106" fmla="*/ 1277 w 1351"/>
              <a:gd name="T107" fmla="*/ 964 h 1475"/>
              <a:gd name="T108" fmla="*/ 1220 w 1351"/>
              <a:gd name="T109" fmla="*/ 1145 h 1475"/>
              <a:gd name="T110" fmla="*/ 1114 w 1351"/>
              <a:gd name="T111" fmla="*/ 1302 h 1475"/>
              <a:gd name="T112" fmla="*/ 1090 w 1351"/>
              <a:gd name="T113" fmla="*/ 1372 h 14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51" h="1475">
                <a:moveTo>
                  <a:pt x="1073" y="1365"/>
                </a:moveTo>
                <a:lnTo>
                  <a:pt x="1041" y="1365"/>
                </a:lnTo>
                <a:cubicBezTo>
                  <a:pt x="1041" y="1365"/>
                  <a:pt x="1025" y="1341"/>
                  <a:pt x="1016" y="1341"/>
                </a:cubicBezTo>
                <a:cubicBezTo>
                  <a:pt x="1008" y="1341"/>
                  <a:pt x="992" y="1333"/>
                  <a:pt x="992" y="1333"/>
                </a:cubicBezTo>
                <a:lnTo>
                  <a:pt x="984" y="1349"/>
                </a:lnTo>
                <a:cubicBezTo>
                  <a:pt x="984" y="1349"/>
                  <a:pt x="976" y="1357"/>
                  <a:pt x="968" y="1357"/>
                </a:cubicBezTo>
                <a:lnTo>
                  <a:pt x="960" y="1349"/>
                </a:lnTo>
                <a:lnTo>
                  <a:pt x="960" y="1333"/>
                </a:lnTo>
                <a:lnTo>
                  <a:pt x="935" y="1333"/>
                </a:lnTo>
                <a:cubicBezTo>
                  <a:pt x="935" y="1333"/>
                  <a:pt x="935" y="1357"/>
                  <a:pt x="927" y="1357"/>
                </a:cubicBezTo>
                <a:cubicBezTo>
                  <a:pt x="919" y="1349"/>
                  <a:pt x="911" y="1349"/>
                  <a:pt x="895" y="1349"/>
                </a:cubicBezTo>
                <a:cubicBezTo>
                  <a:pt x="878" y="1341"/>
                  <a:pt x="846" y="1349"/>
                  <a:pt x="846" y="1349"/>
                </a:cubicBezTo>
                <a:lnTo>
                  <a:pt x="829" y="1341"/>
                </a:lnTo>
                <a:lnTo>
                  <a:pt x="805" y="1341"/>
                </a:lnTo>
                <a:lnTo>
                  <a:pt x="773" y="1341"/>
                </a:lnTo>
                <a:lnTo>
                  <a:pt x="764" y="1357"/>
                </a:lnTo>
                <a:lnTo>
                  <a:pt x="773" y="1365"/>
                </a:lnTo>
                <a:lnTo>
                  <a:pt x="748" y="1380"/>
                </a:lnTo>
                <a:lnTo>
                  <a:pt x="716" y="1372"/>
                </a:lnTo>
                <a:lnTo>
                  <a:pt x="699" y="1388"/>
                </a:lnTo>
                <a:lnTo>
                  <a:pt x="691" y="1372"/>
                </a:lnTo>
                <a:lnTo>
                  <a:pt x="642" y="1404"/>
                </a:lnTo>
                <a:lnTo>
                  <a:pt x="651" y="1419"/>
                </a:lnTo>
                <a:lnTo>
                  <a:pt x="610" y="1427"/>
                </a:lnTo>
                <a:lnTo>
                  <a:pt x="586" y="1419"/>
                </a:lnTo>
                <a:cubicBezTo>
                  <a:pt x="586" y="1419"/>
                  <a:pt x="569" y="1412"/>
                  <a:pt x="569" y="1404"/>
                </a:cubicBezTo>
                <a:cubicBezTo>
                  <a:pt x="577" y="1396"/>
                  <a:pt x="577" y="1388"/>
                  <a:pt x="577" y="1388"/>
                </a:cubicBezTo>
                <a:cubicBezTo>
                  <a:pt x="577" y="1388"/>
                  <a:pt x="561" y="1380"/>
                  <a:pt x="561" y="1388"/>
                </a:cubicBezTo>
                <a:cubicBezTo>
                  <a:pt x="561" y="1404"/>
                  <a:pt x="553" y="1419"/>
                  <a:pt x="553" y="1419"/>
                </a:cubicBezTo>
                <a:lnTo>
                  <a:pt x="529" y="1435"/>
                </a:lnTo>
                <a:lnTo>
                  <a:pt x="496" y="1443"/>
                </a:lnTo>
                <a:lnTo>
                  <a:pt x="488" y="1435"/>
                </a:lnTo>
                <a:lnTo>
                  <a:pt x="488" y="1459"/>
                </a:lnTo>
                <a:lnTo>
                  <a:pt x="447" y="1459"/>
                </a:lnTo>
                <a:lnTo>
                  <a:pt x="423" y="1459"/>
                </a:lnTo>
                <a:lnTo>
                  <a:pt x="407" y="1474"/>
                </a:lnTo>
                <a:lnTo>
                  <a:pt x="382" y="1467"/>
                </a:lnTo>
                <a:lnTo>
                  <a:pt x="342" y="1474"/>
                </a:lnTo>
                <a:lnTo>
                  <a:pt x="333" y="1459"/>
                </a:lnTo>
                <a:lnTo>
                  <a:pt x="277" y="1459"/>
                </a:lnTo>
                <a:lnTo>
                  <a:pt x="252" y="1467"/>
                </a:lnTo>
                <a:lnTo>
                  <a:pt x="244" y="1451"/>
                </a:lnTo>
                <a:lnTo>
                  <a:pt x="236" y="1451"/>
                </a:lnTo>
                <a:lnTo>
                  <a:pt x="211" y="1451"/>
                </a:lnTo>
                <a:cubicBezTo>
                  <a:pt x="203" y="1451"/>
                  <a:pt x="155" y="1435"/>
                  <a:pt x="155" y="1435"/>
                </a:cubicBezTo>
                <a:lnTo>
                  <a:pt x="138" y="1451"/>
                </a:lnTo>
                <a:cubicBezTo>
                  <a:pt x="138" y="1451"/>
                  <a:pt x="114" y="1451"/>
                  <a:pt x="114" y="1443"/>
                </a:cubicBezTo>
                <a:cubicBezTo>
                  <a:pt x="114" y="1443"/>
                  <a:pt x="114" y="1435"/>
                  <a:pt x="122" y="1427"/>
                </a:cubicBezTo>
                <a:cubicBezTo>
                  <a:pt x="130" y="1427"/>
                  <a:pt x="138" y="1427"/>
                  <a:pt x="155" y="1419"/>
                </a:cubicBezTo>
                <a:lnTo>
                  <a:pt x="179" y="1419"/>
                </a:lnTo>
                <a:lnTo>
                  <a:pt x="187" y="1412"/>
                </a:lnTo>
                <a:cubicBezTo>
                  <a:pt x="187" y="1404"/>
                  <a:pt x="195" y="1396"/>
                  <a:pt x="179" y="1404"/>
                </a:cubicBezTo>
                <a:lnTo>
                  <a:pt x="171" y="1404"/>
                </a:lnTo>
                <a:cubicBezTo>
                  <a:pt x="163" y="1412"/>
                  <a:pt x="155" y="1412"/>
                  <a:pt x="146" y="1412"/>
                </a:cubicBezTo>
                <a:lnTo>
                  <a:pt x="130" y="1412"/>
                </a:lnTo>
                <a:cubicBezTo>
                  <a:pt x="130" y="1412"/>
                  <a:pt x="122" y="1404"/>
                  <a:pt x="130" y="1404"/>
                </a:cubicBezTo>
                <a:cubicBezTo>
                  <a:pt x="138" y="1396"/>
                  <a:pt x="138" y="1396"/>
                  <a:pt x="146" y="1396"/>
                </a:cubicBezTo>
                <a:cubicBezTo>
                  <a:pt x="163" y="1396"/>
                  <a:pt x="171" y="1388"/>
                  <a:pt x="187" y="1388"/>
                </a:cubicBezTo>
                <a:lnTo>
                  <a:pt x="211" y="1388"/>
                </a:lnTo>
                <a:cubicBezTo>
                  <a:pt x="220" y="1380"/>
                  <a:pt x="228" y="1380"/>
                  <a:pt x="228" y="1372"/>
                </a:cubicBezTo>
                <a:cubicBezTo>
                  <a:pt x="228" y="1365"/>
                  <a:pt x="220" y="1357"/>
                  <a:pt x="220" y="1357"/>
                </a:cubicBezTo>
                <a:cubicBezTo>
                  <a:pt x="220" y="1357"/>
                  <a:pt x="211" y="1357"/>
                  <a:pt x="203" y="1365"/>
                </a:cubicBezTo>
                <a:cubicBezTo>
                  <a:pt x="195" y="1365"/>
                  <a:pt x="187" y="1372"/>
                  <a:pt x="179" y="1372"/>
                </a:cubicBezTo>
                <a:lnTo>
                  <a:pt x="171" y="1372"/>
                </a:lnTo>
                <a:cubicBezTo>
                  <a:pt x="163" y="1372"/>
                  <a:pt x="146" y="1365"/>
                  <a:pt x="146" y="1365"/>
                </a:cubicBezTo>
                <a:lnTo>
                  <a:pt x="122" y="1365"/>
                </a:lnTo>
                <a:lnTo>
                  <a:pt x="106" y="1365"/>
                </a:lnTo>
                <a:cubicBezTo>
                  <a:pt x="90" y="1372"/>
                  <a:pt x="98" y="1372"/>
                  <a:pt x="73" y="1372"/>
                </a:cubicBezTo>
                <a:cubicBezTo>
                  <a:pt x="57" y="1372"/>
                  <a:pt x="33" y="1365"/>
                  <a:pt x="33" y="1365"/>
                </a:cubicBezTo>
                <a:cubicBezTo>
                  <a:pt x="33" y="1365"/>
                  <a:pt x="16" y="1372"/>
                  <a:pt x="24" y="1365"/>
                </a:cubicBezTo>
                <a:cubicBezTo>
                  <a:pt x="41" y="1357"/>
                  <a:pt x="57" y="1357"/>
                  <a:pt x="65" y="1349"/>
                </a:cubicBezTo>
                <a:cubicBezTo>
                  <a:pt x="73" y="1349"/>
                  <a:pt x="81" y="1349"/>
                  <a:pt x="73" y="1341"/>
                </a:cubicBezTo>
                <a:cubicBezTo>
                  <a:pt x="81" y="1341"/>
                  <a:pt x="98" y="1333"/>
                  <a:pt x="98" y="1333"/>
                </a:cubicBezTo>
                <a:lnTo>
                  <a:pt x="114" y="1325"/>
                </a:lnTo>
                <a:cubicBezTo>
                  <a:pt x="114" y="1325"/>
                  <a:pt x="114" y="1317"/>
                  <a:pt x="130" y="1317"/>
                </a:cubicBezTo>
                <a:cubicBezTo>
                  <a:pt x="146" y="1317"/>
                  <a:pt x="146" y="1317"/>
                  <a:pt x="146" y="1310"/>
                </a:cubicBezTo>
                <a:lnTo>
                  <a:pt x="155" y="1310"/>
                </a:lnTo>
                <a:cubicBezTo>
                  <a:pt x="171" y="1310"/>
                  <a:pt x="171" y="1302"/>
                  <a:pt x="179" y="1302"/>
                </a:cubicBezTo>
                <a:cubicBezTo>
                  <a:pt x="195" y="1302"/>
                  <a:pt x="203" y="1294"/>
                  <a:pt x="195" y="1294"/>
                </a:cubicBezTo>
                <a:lnTo>
                  <a:pt x="171" y="1294"/>
                </a:lnTo>
                <a:cubicBezTo>
                  <a:pt x="163" y="1302"/>
                  <a:pt x="155" y="1294"/>
                  <a:pt x="155" y="1302"/>
                </a:cubicBezTo>
                <a:lnTo>
                  <a:pt x="130" y="1302"/>
                </a:lnTo>
                <a:cubicBezTo>
                  <a:pt x="122" y="1294"/>
                  <a:pt x="122" y="1294"/>
                  <a:pt x="114" y="1302"/>
                </a:cubicBezTo>
                <a:cubicBezTo>
                  <a:pt x="106" y="1302"/>
                  <a:pt x="114" y="1310"/>
                  <a:pt x="98" y="1310"/>
                </a:cubicBezTo>
                <a:cubicBezTo>
                  <a:pt x="89" y="1310"/>
                  <a:pt x="81" y="1302"/>
                  <a:pt x="81" y="1302"/>
                </a:cubicBezTo>
                <a:cubicBezTo>
                  <a:pt x="81" y="1302"/>
                  <a:pt x="57" y="1302"/>
                  <a:pt x="57" y="1294"/>
                </a:cubicBezTo>
                <a:lnTo>
                  <a:pt x="57" y="1278"/>
                </a:lnTo>
                <a:cubicBezTo>
                  <a:pt x="57" y="1270"/>
                  <a:pt x="65" y="1270"/>
                  <a:pt x="65" y="1270"/>
                </a:cubicBezTo>
                <a:lnTo>
                  <a:pt x="57" y="1263"/>
                </a:lnTo>
                <a:lnTo>
                  <a:pt x="49" y="1263"/>
                </a:lnTo>
                <a:lnTo>
                  <a:pt x="33" y="1270"/>
                </a:lnTo>
                <a:lnTo>
                  <a:pt x="24" y="1270"/>
                </a:lnTo>
                <a:lnTo>
                  <a:pt x="16" y="1270"/>
                </a:lnTo>
                <a:lnTo>
                  <a:pt x="16" y="1247"/>
                </a:lnTo>
                <a:cubicBezTo>
                  <a:pt x="16" y="1239"/>
                  <a:pt x="0" y="1239"/>
                  <a:pt x="16" y="1231"/>
                </a:cubicBezTo>
                <a:lnTo>
                  <a:pt x="49" y="1231"/>
                </a:lnTo>
                <a:lnTo>
                  <a:pt x="57" y="1223"/>
                </a:lnTo>
                <a:lnTo>
                  <a:pt x="49" y="1215"/>
                </a:lnTo>
                <a:cubicBezTo>
                  <a:pt x="49" y="1208"/>
                  <a:pt x="49" y="1208"/>
                  <a:pt x="57" y="1208"/>
                </a:cubicBezTo>
                <a:cubicBezTo>
                  <a:pt x="65" y="1208"/>
                  <a:pt x="65" y="1200"/>
                  <a:pt x="73" y="1200"/>
                </a:cubicBezTo>
                <a:lnTo>
                  <a:pt x="89" y="1200"/>
                </a:lnTo>
                <a:cubicBezTo>
                  <a:pt x="89" y="1200"/>
                  <a:pt x="89" y="1192"/>
                  <a:pt x="106" y="1192"/>
                </a:cubicBezTo>
                <a:lnTo>
                  <a:pt x="146" y="1192"/>
                </a:lnTo>
                <a:lnTo>
                  <a:pt x="163" y="1184"/>
                </a:lnTo>
                <a:lnTo>
                  <a:pt x="171" y="1176"/>
                </a:lnTo>
                <a:lnTo>
                  <a:pt x="203" y="1176"/>
                </a:lnTo>
                <a:lnTo>
                  <a:pt x="203" y="1161"/>
                </a:lnTo>
                <a:lnTo>
                  <a:pt x="187" y="1161"/>
                </a:lnTo>
                <a:cubicBezTo>
                  <a:pt x="179" y="1168"/>
                  <a:pt x="171" y="1168"/>
                  <a:pt x="171" y="1161"/>
                </a:cubicBezTo>
                <a:lnTo>
                  <a:pt x="163" y="1161"/>
                </a:lnTo>
                <a:lnTo>
                  <a:pt x="146" y="1161"/>
                </a:lnTo>
                <a:lnTo>
                  <a:pt x="130" y="1161"/>
                </a:lnTo>
                <a:cubicBezTo>
                  <a:pt x="114" y="1153"/>
                  <a:pt x="114" y="1153"/>
                  <a:pt x="106" y="1153"/>
                </a:cubicBezTo>
                <a:lnTo>
                  <a:pt x="90" y="1153"/>
                </a:lnTo>
                <a:cubicBezTo>
                  <a:pt x="90" y="1153"/>
                  <a:pt x="106" y="1153"/>
                  <a:pt x="81" y="1145"/>
                </a:cubicBezTo>
                <a:lnTo>
                  <a:pt x="57" y="1137"/>
                </a:lnTo>
                <a:lnTo>
                  <a:pt x="49" y="1137"/>
                </a:lnTo>
                <a:cubicBezTo>
                  <a:pt x="41" y="1137"/>
                  <a:pt x="41" y="1145"/>
                  <a:pt x="33" y="1137"/>
                </a:cubicBezTo>
                <a:lnTo>
                  <a:pt x="24" y="1129"/>
                </a:lnTo>
                <a:cubicBezTo>
                  <a:pt x="24" y="1121"/>
                  <a:pt x="24" y="1121"/>
                  <a:pt x="33" y="1113"/>
                </a:cubicBezTo>
                <a:lnTo>
                  <a:pt x="49" y="1106"/>
                </a:lnTo>
                <a:lnTo>
                  <a:pt x="49" y="1113"/>
                </a:lnTo>
                <a:cubicBezTo>
                  <a:pt x="49" y="1113"/>
                  <a:pt x="49" y="1121"/>
                  <a:pt x="57" y="1113"/>
                </a:cubicBezTo>
                <a:lnTo>
                  <a:pt x="65" y="1098"/>
                </a:lnTo>
                <a:cubicBezTo>
                  <a:pt x="65" y="1098"/>
                  <a:pt x="57" y="1098"/>
                  <a:pt x="65" y="1090"/>
                </a:cubicBezTo>
                <a:lnTo>
                  <a:pt x="106" y="1090"/>
                </a:lnTo>
                <a:cubicBezTo>
                  <a:pt x="106" y="1082"/>
                  <a:pt x="122" y="1082"/>
                  <a:pt x="122" y="1082"/>
                </a:cubicBezTo>
                <a:cubicBezTo>
                  <a:pt x="122" y="1082"/>
                  <a:pt x="130" y="1090"/>
                  <a:pt x="122" y="1098"/>
                </a:cubicBezTo>
                <a:cubicBezTo>
                  <a:pt x="122" y="1098"/>
                  <a:pt x="114" y="1098"/>
                  <a:pt x="122" y="1106"/>
                </a:cubicBezTo>
                <a:lnTo>
                  <a:pt x="138" y="1106"/>
                </a:lnTo>
                <a:lnTo>
                  <a:pt x="146" y="1098"/>
                </a:lnTo>
                <a:cubicBezTo>
                  <a:pt x="155" y="1098"/>
                  <a:pt x="146" y="1090"/>
                  <a:pt x="155" y="1090"/>
                </a:cubicBezTo>
                <a:cubicBezTo>
                  <a:pt x="163" y="1098"/>
                  <a:pt x="163" y="1106"/>
                  <a:pt x="163" y="1106"/>
                </a:cubicBezTo>
                <a:lnTo>
                  <a:pt x="163" y="1113"/>
                </a:lnTo>
                <a:cubicBezTo>
                  <a:pt x="171" y="1113"/>
                  <a:pt x="179" y="1113"/>
                  <a:pt x="179" y="1121"/>
                </a:cubicBezTo>
                <a:cubicBezTo>
                  <a:pt x="179" y="1121"/>
                  <a:pt x="171" y="1121"/>
                  <a:pt x="187" y="1129"/>
                </a:cubicBezTo>
                <a:lnTo>
                  <a:pt x="203" y="1129"/>
                </a:lnTo>
                <a:cubicBezTo>
                  <a:pt x="203" y="1129"/>
                  <a:pt x="211" y="1129"/>
                  <a:pt x="211" y="1121"/>
                </a:cubicBezTo>
                <a:cubicBezTo>
                  <a:pt x="203" y="1113"/>
                  <a:pt x="203" y="1106"/>
                  <a:pt x="203" y="1106"/>
                </a:cubicBezTo>
                <a:lnTo>
                  <a:pt x="211" y="1098"/>
                </a:lnTo>
                <a:lnTo>
                  <a:pt x="211" y="1074"/>
                </a:lnTo>
                <a:cubicBezTo>
                  <a:pt x="211" y="1074"/>
                  <a:pt x="220" y="1066"/>
                  <a:pt x="211" y="1066"/>
                </a:cubicBezTo>
                <a:cubicBezTo>
                  <a:pt x="203" y="1066"/>
                  <a:pt x="203" y="1059"/>
                  <a:pt x="203" y="1059"/>
                </a:cubicBezTo>
                <a:cubicBezTo>
                  <a:pt x="195" y="1059"/>
                  <a:pt x="195" y="1051"/>
                  <a:pt x="195" y="1051"/>
                </a:cubicBezTo>
                <a:lnTo>
                  <a:pt x="236" y="1051"/>
                </a:lnTo>
                <a:lnTo>
                  <a:pt x="252" y="1043"/>
                </a:lnTo>
                <a:cubicBezTo>
                  <a:pt x="252" y="1043"/>
                  <a:pt x="260" y="1051"/>
                  <a:pt x="260" y="1043"/>
                </a:cubicBezTo>
                <a:lnTo>
                  <a:pt x="268" y="1035"/>
                </a:lnTo>
                <a:lnTo>
                  <a:pt x="285" y="1035"/>
                </a:lnTo>
                <a:lnTo>
                  <a:pt x="277" y="1027"/>
                </a:lnTo>
                <a:cubicBezTo>
                  <a:pt x="285" y="1027"/>
                  <a:pt x="285" y="1011"/>
                  <a:pt x="285" y="1011"/>
                </a:cubicBezTo>
                <a:cubicBezTo>
                  <a:pt x="285" y="1011"/>
                  <a:pt x="293" y="1004"/>
                  <a:pt x="301" y="1011"/>
                </a:cubicBezTo>
                <a:cubicBezTo>
                  <a:pt x="301" y="1011"/>
                  <a:pt x="317" y="1011"/>
                  <a:pt x="325" y="1019"/>
                </a:cubicBezTo>
                <a:lnTo>
                  <a:pt x="350" y="1019"/>
                </a:lnTo>
                <a:lnTo>
                  <a:pt x="366" y="1027"/>
                </a:lnTo>
                <a:cubicBezTo>
                  <a:pt x="366" y="1027"/>
                  <a:pt x="382" y="1035"/>
                  <a:pt x="390" y="1035"/>
                </a:cubicBezTo>
                <a:lnTo>
                  <a:pt x="398" y="1027"/>
                </a:lnTo>
                <a:cubicBezTo>
                  <a:pt x="398" y="1027"/>
                  <a:pt x="398" y="1019"/>
                  <a:pt x="407" y="1027"/>
                </a:cubicBezTo>
                <a:lnTo>
                  <a:pt x="431" y="1027"/>
                </a:lnTo>
                <a:cubicBezTo>
                  <a:pt x="431" y="1019"/>
                  <a:pt x="431" y="1019"/>
                  <a:pt x="439" y="1019"/>
                </a:cubicBezTo>
                <a:cubicBezTo>
                  <a:pt x="447" y="1027"/>
                  <a:pt x="455" y="1027"/>
                  <a:pt x="455" y="1027"/>
                </a:cubicBezTo>
                <a:cubicBezTo>
                  <a:pt x="464" y="1027"/>
                  <a:pt x="480" y="1019"/>
                  <a:pt x="480" y="1019"/>
                </a:cubicBezTo>
                <a:cubicBezTo>
                  <a:pt x="480" y="1019"/>
                  <a:pt x="472" y="1011"/>
                  <a:pt x="480" y="1019"/>
                </a:cubicBezTo>
                <a:cubicBezTo>
                  <a:pt x="488" y="1019"/>
                  <a:pt x="496" y="1011"/>
                  <a:pt x="496" y="1011"/>
                </a:cubicBezTo>
                <a:lnTo>
                  <a:pt x="480" y="1004"/>
                </a:lnTo>
                <a:lnTo>
                  <a:pt x="488" y="988"/>
                </a:lnTo>
                <a:lnTo>
                  <a:pt x="480" y="980"/>
                </a:lnTo>
                <a:cubicBezTo>
                  <a:pt x="480" y="980"/>
                  <a:pt x="472" y="980"/>
                  <a:pt x="472" y="988"/>
                </a:cubicBezTo>
                <a:cubicBezTo>
                  <a:pt x="472" y="996"/>
                  <a:pt x="464" y="1004"/>
                  <a:pt x="455" y="1004"/>
                </a:cubicBezTo>
                <a:cubicBezTo>
                  <a:pt x="455" y="1004"/>
                  <a:pt x="447" y="1011"/>
                  <a:pt x="439" y="1011"/>
                </a:cubicBezTo>
                <a:lnTo>
                  <a:pt x="431" y="1019"/>
                </a:lnTo>
                <a:cubicBezTo>
                  <a:pt x="431" y="1019"/>
                  <a:pt x="431" y="1027"/>
                  <a:pt x="415" y="1019"/>
                </a:cubicBezTo>
                <a:cubicBezTo>
                  <a:pt x="407" y="1011"/>
                  <a:pt x="398" y="1011"/>
                  <a:pt x="398" y="1011"/>
                </a:cubicBezTo>
                <a:cubicBezTo>
                  <a:pt x="398" y="1011"/>
                  <a:pt x="398" y="1004"/>
                  <a:pt x="390" y="1011"/>
                </a:cubicBezTo>
                <a:cubicBezTo>
                  <a:pt x="374" y="1011"/>
                  <a:pt x="382" y="1019"/>
                  <a:pt x="374" y="1011"/>
                </a:cubicBezTo>
                <a:cubicBezTo>
                  <a:pt x="366" y="1011"/>
                  <a:pt x="342" y="1011"/>
                  <a:pt x="342" y="1004"/>
                </a:cubicBezTo>
                <a:lnTo>
                  <a:pt x="333" y="996"/>
                </a:lnTo>
                <a:lnTo>
                  <a:pt x="333" y="980"/>
                </a:lnTo>
                <a:cubicBezTo>
                  <a:pt x="325" y="988"/>
                  <a:pt x="317" y="996"/>
                  <a:pt x="309" y="996"/>
                </a:cubicBezTo>
                <a:lnTo>
                  <a:pt x="285" y="996"/>
                </a:lnTo>
                <a:lnTo>
                  <a:pt x="277" y="996"/>
                </a:lnTo>
                <a:cubicBezTo>
                  <a:pt x="268" y="996"/>
                  <a:pt x="260" y="1004"/>
                  <a:pt x="252" y="1004"/>
                </a:cubicBezTo>
                <a:cubicBezTo>
                  <a:pt x="244" y="1004"/>
                  <a:pt x="244" y="996"/>
                  <a:pt x="236" y="996"/>
                </a:cubicBezTo>
                <a:lnTo>
                  <a:pt x="228" y="996"/>
                </a:lnTo>
                <a:cubicBezTo>
                  <a:pt x="228" y="996"/>
                  <a:pt x="228" y="980"/>
                  <a:pt x="244" y="980"/>
                </a:cubicBezTo>
                <a:cubicBezTo>
                  <a:pt x="252" y="972"/>
                  <a:pt x="243" y="972"/>
                  <a:pt x="260" y="972"/>
                </a:cubicBezTo>
                <a:cubicBezTo>
                  <a:pt x="276" y="972"/>
                  <a:pt x="285" y="972"/>
                  <a:pt x="293" y="964"/>
                </a:cubicBezTo>
                <a:cubicBezTo>
                  <a:pt x="301" y="957"/>
                  <a:pt x="301" y="949"/>
                  <a:pt x="309" y="949"/>
                </a:cubicBezTo>
                <a:cubicBezTo>
                  <a:pt x="317" y="941"/>
                  <a:pt x="317" y="934"/>
                  <a:pt x="325" y="941"/>
                </a:cubicBezTo>
                <a:lnTo>
                  <a:pt x="358" y="941"/>
                </a:lnTo>
                <a:lnTo>
                  <a:pt x="358" y="918"/>
                </a:lnTo>
                <a:cubicBezTo>
                  <a:pt x="366" y="918"/>
                  <a:pt x="366" y="910"/>
                  <a:pt x="366" y="910"/>
                </a:cubicBezTo>
                <a:cubicBezTo>
                  <a:pt x="374" y="910"/>
                  <a:pt x="374" y="903"/>
                  <a:pt x="382" y="903"/>
                </a:cubicBezTo>
                <a:cubicBezTo>
                  <a:pt x="382" y="895"/>
                  <a:pt x="390" y="895"/>
                  <a:pt x="390" y="887"/>
                </a:cubicBezTo>
                <a:cubicBezTo>
                  <a:pt x="398" y="887"/>
                  <a:pt x="398" y="879"/>
                  <a:pt x="398" y="879"/>
                </a:cubicBezTo>
                <a:lnTo>
                  <a:pt x="374" y="871"/>
                </a:lnTo>
                <a:lnTo>
                  <a:pt x="382" y="863"/>
                </a:lnTo>
                <a:lnTo>
                  <a:pt x="415" y="840"/>
                </a:lnTo>
                <a:lnTo>
                  <a:pt x="423" y="824"/>
                </a:lnTo>
                <a:cubicBezTo>
                  <a:pt x="431" y="824"/>
                  <a:pt x="439" y="816"/>
                  <a:pt x="439" y="816"/>
                </a:cubicBezTo>
                <a:lnTo>
                  <a:pt x="447" y="801"/>
                </a:lnTo>
                <a:cubicBezTo>
                  <a:pt x="447" y="801"/>
                  <a:pt x="447" y="793"/>
                  <a:pt x="455" y="801"/>
                </a:cubicBezTo>
                <a:cubicBezTo>
                  <a:pt x="464" y="801"/>
                  <a:pt x="464" y="808"/>
                  <a:pt x="472" y="808"/>
                </a:cubicBezTo>
                <a:cubicBezTo>
                  <a:pt x="480" y="816"/>
                  <a:pt x="504" y="816"/>
                  <a:pt x="504" y="816"/>
                </a:cubicBezTo>
                <a:lnTo>
                  <a:pt x="496" y="801"/>
                </a:lnTo>
                <a:lnTo>
                  <a:pt x="529" y="801"/>
                </a:lnTo>
                <a:lnTo>
                  <a:pt x="529" y="816"/>
                </a:lnTo>
                <a:lnTo>
                  <a:pt x="545" y="808"/>
                </a:lnTo>
                <a:lnTo>
                  <a:pt x="537" y="793"/>
                </a:lnTo>
                <a:lnTo>
                  <a:pt x="553" y="793"/>
                </a:lnTo>
                <a:cubicBezTo>
                  <a:pt x="545" y="793"/>
                  <a:pt x="529" y="777"/>
                  <a:pt x="529" y="777"/>
                </a:cubicBezTo>
                <a:lnTo>
                  <a:pt x="537" y="761"/>
                </a:lnTo>
                <a:lnTo>
                  <a:pt x="521" y="761"/>
                </a:lnTo>
                <a:lnTo>
                  <a:pt x="480" y="761"/>
                </a:lnTo>
                <a:cubicBezTo>
                  <a:pt x="472" y="753"/>
                  <a:pt x="472" y="753"/>
                  <a:pt x="464" y="753"/>
                </a:cubicBezTo>
                <a:lnTo>
                  <a:pt x="415" y="753"/>
                </a:lnTo>
                <a:lnTo>
                  <a:pt x="399" y="753"/>
                </a:lnTo>
                <a:cubicBezTo>
                  <a:pt x="399" y="746"/>
                  <a:pt x="407" y="738"/>
                  <a:pt x="399" y="738"/>
                </a:cubicBezTo>
                <a:cubicBezTo>
                  <a:pt x="390" y="738"/>
                  <a:pt x="382" y="722"/>
                  <a:pt x="374" y="730"/>
                </a:cubicBezTo>
                <a:lnTo>
                  <a:pt x="366" y="730"/>
                </a:lnTo>
                <a:cubicBezTo>
                  <a:pt x="366" y="738"/>
                  <a:pt x="358" y="738"/>
                  <a:pt x="358" y="738"/>
                </a:cubicBezTo>
                <a:cubicBezTo>
                  <a:pt x="350" y="730"/>
                  <a:pt x="350" y="738"/>
                  <a:pt x="358" y="730"/>
                </a:cubicBezTo>
                <a:cubicBezTo>
                  <a:pt x="358" y="722"/>
                  <a:pt x="350" y="706"/>
                  <a:pt x="358" y="706"/>
                </a:cubicBezTo>
                <a:cubicBezTo>
                  <a:pt x="366" y="714"/>
                  <a:pt x="366" y="714"/>
                  <a:pt x="374" y="714"/>
                </a:cubicBezTo>
                <a:lnTo>
                  <a:pt x="382" y="714"/>
                </a:lnTo>
                <a:cubicBezTo>
                  <a:pt x="382" y="706"/>
                  <a:pt x="390" y="691"/>
                  <a:pt x="390" y="691"/>
                </a:cubicBezTo>
                <a:cubicBezTo>
                  <a:pt x="390" y="691"/>
                  <a:pt x="415" y="699"/>
                  <a:pt x="407" y="691"/>
                </a:cubicBezTo>
                <a:cubicBezTo>
                  <a:pt x="399" y="683"/>
                  <a:pt x="382" y="675"/>
                  <a:pt x="382" y="675"/>
                </a:cubicBezTo>
                <a:cubicBezTo>
                  <a:pt x="382" y="675"/>
                  <a:pt x="374" y="675"/>
                  <a:pt x="374" y="683"/>
                </a:cubicBezTo>
                <a:cubicBezTo>
                  <a:pt x="366" y="691"/>
                  <a:pt x="374" y="691"/>
                  <a:pt x="366" y="699"/>
                </a:cubicBezTo>
                <a:lnTo>
                  <a:pt x="350" y="699"/>
                </a:lnTo>
                <a:lnTo>
                  <a:pt x="342" y="699"/>
                </a:lnTo>
                <a:cubicBezTo>
                  <a:pt x="342" y="699"/>
                  <a:pt x="325" y="699"/>
                  <a:pt x="325" y="691"/>
                </a:cubicBezTo>
                <a:lnTo>
                  <a:pt x="325" y="683"/>
                </a:lnTo>
                <a:cubicBezTo>
                  <a:pt x="325" y="675"/>
                  <a:pt x="325" y="667"/>
                  <a:pt x="342" y="667"/>
                </a:cubicBezTo>
                <a:cubicBezTo>
                  <a:pt x="350" y="667"/>
                  <a:pt x="350" y="675"/>
                  <a:pt x="350" y="667"/>
                </a:cubicBezTo>
                <a:cubicBezTo>
                  <a:pt x="350" y="667"/>
                  <a:pt x="350" y="659"/>
                  <a:pt x="342" y="659"/>
                </a:cubicBezTo>
                <a:cubicBezTo>
                  <a:pt x="342" y="651"/>
                  <a:pt x="341" y="651"/>
                  <a:pt x="333" y="651"/>
                </a:cubicBezTo>
                <a:cubicBezTo>
                  <a:pt x="324" y="651"/>
                  <a:pt x="309" y="659"/>
                  <a:pt x="309" y="659"/>
                </a:cubicBezTo>
                <a:cubicBezTo>
                  <a:pt x="309" y="659"/>
                  <a:pt x="317" y="659"/>
                  <a:pt x="301" y="659"/>
                </a:cubicBezTo>
                <a:cubicBezTo>
                  <a:pt x="293" y="651"/>
                  <a:pt x="301" y="651"/>
                  <a:pt x="293" y="644"/>
                </a:cubicBezTo>
                <a:cubicBezTo>
                  <a:pt x="293" y="636"/>
                  <a:pt x="293" y="636"/>
                  <a:pt x="285" y="636"/>
                </a:cubicBezTo>
                <a:lnTo>
                  <a:pt x="277" y="636"/>
                </a:lnTo>
                <a:cubicBezTo>
                  <a:pt x="268" y="628"/>
                  <a:pt x="260" y="628"/>
                  <a:pt x="260" y="620"/>
                </a:cubicBezTo>
                <a:cubicBezTo>
                  <a:pt x="260" y="612"/>
                  <a:pt x="260" y="604"/>
                  <a:pt x="268" y="612"/>
                </a:cubicBezTo>
                <a:cubicBezTo>
                  <a:pt x="277" y="612"/>
                  <a:pt x="268" y="604"/>
                  <a:pt x="277" y="612"/>
                </a:cubicBezTo>
                <a:lnTo>
                  <a:pt x="293" y="620"/>
                </a:lnTo>
                <a:cubicBezTo>
                  <a:pt x="293" y="620"/>
                  <a:pt x="301" y="620"/>
                  <a:pt x="293" y="612"/>
                </a:cubicBezTo>
                <a:cubicBezTo>
                  <a:pt x="293" y="604"/>
                  <a:pt x="285" y="597"/>
                  <a:pt x="285" y="597"/>
                </a:cubicBezTo>
                <a:cubicBezTo>
                  <a:pt x="285" y="597"/>
                  <a:pt x="277" y="597"/>
                  <a:pt x="277" y="589"/>
                </a:cubicBezTo>
                <a:cubicBezTo>
                  <a:pt x="277" y="581"/>
                  <a:pt x="277" y="581"/>
                  <a:pt x="268" y="573"/>
                </a:cubicBezTo>
                <a:lnTo>
                  <a:pt x="277" y="573"/>
                </a:lnTo>
                <a:lnTo>
                  <a:pt x="285" y="573"/>
                </a:lnTo>
                <a:lnTo>
                  <a:pt x="301" y="573"/>
                </a:lnTo>
                <a:lnTo>
                  <a:pt x="309" y="573"/>
                </a:lnTo>
                <a:cubicBezTo>
                  <a:pt x="309" y="581"/>
                  <a:pt x="317" y="565"/>
                  <a:pt x="317" y="565"/>
                </a:cubicBezTo>
                <a:cubicBezTo>
                  <a:pt x="317" y="565"/>
                  <a:pt x="309" y="557"/>
                  <a:pt x="317" y="557"/>
                </a:cubicBezTo>
                <a:cubicBezTo>
                  <a:pt x="325" y="557"/>
                  <a:pt x="325" y="565"/>
                  <a:pt x="333" y="565"/>
                </a:cubicBezTo>
                <a:cubicBezTo>
                  <a:pt x="350" y="565"/>
                  <a:pt x="350" y="573"/>
                  <a:pt x="358" y="573"/>
                </a:cubicBezTo>
                <a:cubicBezTo>
                  <a:pt x="358" y="565"/>
                  <a:pt x="366" y="573"/>
                  <a:pt x="366" y="565"/>
                </a:cubicBezTo>
                <a:cubicBezTo>
                  <a:pt x="358" y="557"/>
                  <a:pt x="358" y="565"/>
                  <a:pt x="358" y="557"/>
                </a:cubicBezTo>
                <a:cubicBezTo>
                  <a:pt x="350" y="549"/>
                  <a:pt x="350" y="557"/>
                  <a:pt x="350" y="542"/>
                </a:cubicBezTo>
                <a:cubicBezTo>
                  <a:pt x="358" y="534"/>
                  <a:pt x="358" y="526"/>
                  <a:pt x="358" y="526"/>
                </a:cubicBezTo>
                <a:lnTo>
                  <a:pt x="358" y="518"/>
                </a:lnTo>
                <a:lnTo>
                  <a:pt x="374" y="502"/>
                </a:lnTo>
                <a:lnTo>
                  <a:pt x="390" y="502"/>
                </a:lnTo>
                <a:cubicBezTo>
                  <a:pt x="407" y="502"/>
                  <a:pt x="415" y="510"/>
                  <a:pt x="423" y="510"/>
                </a:cubicBezTo>
                <a:lnTo>
                  <a:pt x="447" y="510"/>
                </a:lnTo>
                <a:lnTo>
                  <a:pt x="439" y="502"/>
                </a:lnTo>
                <a:lnTo>
                  <a:pt x="439" y="495"/>
                </a:lnTo>
                <a:lnTo>
                  <a:pt x="455" y="495"/>
                </a:lnTo>
                <a:lnTo>
                  <a:pt x="464" y="479"/>
                </a:lnTo>
                <a:cubicBezTo>
                  <a:pt x="455" y="471"/>
                  <a:pt x="455" y="471"/>
                  <a:pt x="447" y="463"/>
                </a:cubicBezTo>
                <a:lnTo>
                  <a:pt x="407" y="463"/>
                </a:lnTo>
                <a:lnTo>
                  <a:pt x="390" y="463"/>
                </a:lnTo>
                <a:cubicBezTo>
                  <a:pt x="382" y="463"/>
                  <a:pt x="366" y="463"/>
                  <a:pt x="366" y="455"/>
                </a:cubicBezTo>
                <a:cubicBezTo>
                  <a:pt x="358" y="455"/>
                  <a:pt x="358" y="455"/>
                  <a:pt x="358" y="440"/>
                </a:cubicBezTo>
                <a:cubicBezTo>
                  <a:pt x="358" y="432"/>
                  <a:pt x="350" y="432"/>
                  <a:pt x="350" y="432"/>
                </a:cubicBezTo>
                <a:lnTo>
                  <a:pt x="358" y="416"/>
                </a:lnTo>
                <a:lnTo>
                  <a:pt x="350" y="408"/>
                </a:lnTo>
                <a:lnTo>
                  <a:pt x="342" y="408"/>
                </a:lnTo>
                <a:cubicBezTo>
                  <a:pt x="333" y="408"/>
                  <a:pt x="342" y="408"/>
                  <a:pt x="325" y="400"/>
                </a:cubicBezTo>
                <a:cubicBezTo>
                  <a:pt x="309" y="400"/>
                  <a:pt x="301" y="393"/>
                  <a:pt x="301" y="393"/>
                </a:cubicBezTo>
                <a:cubicBezTo>
                  <a:pt x="301" y="385"/>
                  <a:pt x="301" y="385"/>
                  <a:pt x="317" y="385"/>
                </a:cubicBezTo>
                <a:lnTo>
                  <a:pt x="342" y="385"/>
                </a:lnTo>
                <a:cubicBezTo>
                  <a:pt x="350" y="393"/>
                  <a:pt x="366" y="385"/>
                  <a:pt x="366" y="385"/>
                </a:cubicBezTo>
                <a:cubicBezTo>
                  <a:pt x="366" y="385"/>
                  <a:pt x="358" y="385"/>
                  <a:pt x="374" y="393"/>
                </a:cubicBezTo>
                <a:cubicBezTo>
                  <a:pt x="390" y="400"/>
                  <a:pt x="382" y="400"/>
                  <a:pt x="390" y="400"/>
                </a:cubicBezTo>
                <a:cubicBezTo>
                  <a:pt x="399" y="400"/>
                  <a:pt x="407" y="393"/>
                  <a:pt x="399" y="393"/>
                </a:cubicBezTo>
                <a:cubicBezTo>
                  <a:pt x="399" y="385"/>
                  <a:pt x="407" y="385"/>
                  <a:pt x="399" y="385"/>
                </a:cubicBezTo>
                <a:lnTo>
                  <a:pt x="390" y="377"/>
                </a:lnTo>
                <a:lnTo>
                  <a:pt x="390" y="369"/>
                </a:lnTo>
                <a:cubicBezTo>
                  <a:pt x="390" y="361"/>
                  <a:pt x="399" y="353"/>
                  <a:pt x="399" y="353"/>
                </a:cubicBezTo>
                <a:cubicBezTo>
                  <a:pt x="407" y="353"/>
                  <a:pt x="407" y="353"/>
                  <a:pt x="407" y="345"/>
                </a:cubicBezTo>
                <a:lnTo>
                  <a:pt x="407" y="338"/>
                </a:lnTo>
                <a:cubicBezTo>
                  <a:pt x="407" y="330"/>
                  <a:pt x="415" y="322"/>
                  <a:pt x="415" y="322"/>
                </a:cubicBezTo>
                <a:lnTo>
                  <a:pt x="407" y="314"/>
                </a:lnTo>
                <a:cubicBezTo>
                  <a:pt x="407" y="314"/>
                  <a:pt x="390" y="314"/>
                  <a:pt x="390" y="322"/>
                </a:cubicBezTo>
                <a:lnTo>
                  <a:pt x="390" y="330"/>
                </a:lnTo>
                <a:lnTo>
                  <a:pt x="374" y="330"/>
                </a:lnTo>
                <a:lnTo>
                  <a:pt x="374" y="338"/>
                </a:lnTo>
                <a:cubicBezTo>
                  <a:pt x="374" y="345"/>
                  <a:pt x="366" y="353"/>
                  <a:pt x="366" y="353"/>
                </a:cubicBezTo>
                <a:cubicBezTo>
                  <a:pt x="366" y="353"/>
                  <a:pt x="358" y="338"/>
                  <a:pt x="358" y="330"/>
                </a:cubicBezTo>
                <a:cubicBezTo>
                  <a:pt x="358" y="330"/>
                  <a:pt x="366" y="322"/>
                  <a:pt x="374" y="322"/>
                </a:cubicBezTo>
                <a:cubicBezTo>
                  <a:pt x="382" y="322"/>
                  <a:pt x="382" y="322"/>
                  <a:pt x="382" y="314"/>
                </a:cubicBezTo>
                <a:lnTo>
                  <a:pt x="382" y="298"/>
                </a:lnTo>
                <a:cubicBezTo>
                  <a:pt x="390" y="291"/>
                  <a:pt x="399" y="283"/>
                  <a:pt x="407" y="283"/>
                </a:cubicBezTo>
                <a:cubicBezTo>
                  <a:pt x="407" y="283"/>
                  <a:pt x="399" y="267"/>
                  <a:pt x="415" y="283"/>
                </a:cubicBezTo>
                <a:cubicBezTo>
                  <a:pt x="423" y="291"/>
                  <a:pt x="423" y="291"/>
                  <a:pt x="431" y="298"/>
                </a:cubicBezTo>
                <a:cubicBezTo>
                  <a:pt x="439" y="298"/>
                  <a:pt x="455" y="306"/>
                  <a:pt x="455" y="298"/>
                </a:cubicBezTo>
                <a:lnTo>
                  <a:pt x="455" y="283"/>
                </a:lnTo>
                <a:cubicBezTo>
                  <a:pt x="455" y="283"/>
                  <a:pt x="447" y="283"/>
                  <a:pt x="455" y="275"/>
                </a:cubicBezTo>
                <a:lnTo>
                  <a:pt x="464" y="275"/>
                </a:lnTo>
                <a:cubicBezTo>
                  <a:pt x="480" y="283"/>
                  <a:pt x="472" y="283"/>
                  <a:pt x="480" y="291"/>
                </a:cubicBezTo>
                <a:lnTo>
                  <a:pt x="496" y="298"/>
                </a:lnTo>
                <a:lnTo>
                  <a:pt x="512" y="298"/>
                </a:lnTo>
                <a:cubicBezTo>
                  <a:pt x="521" y="298"/>
                  <a:pt x="512" y="291"/>
                  <a:pt x="529" y="306"/>
                </a:cubicBezTo>
                <a:cubicBezTo>
                  <a:pt x="537" y="314"/>
                  <a:pt x="537" y="314"/>
                  <a:pt x="545" y="314"/>
                </a:cubicBezTo>
                <a:cubicBezTo>
                  <a:pt x="553" y="322"/>
                  <a:pt x="569" y="314"/>
                  <a:pt x="569" y="314"/>
                </a:cubicBezTo>
                <a:cubicBezTo>
                  <a:pt x="569" y="314"/>
                  <a:pt x="569" y="306"/>
                  <a:pt x="577" y="322"/>
                </a:cubicBezTo>
                <a:cubicBezTo>
                  <a:pt x="586" y="338"/>
                  <a:pt x="594" y="338"/>
                  <a:pt x="594" y="338"/>
                </a:cubicBezTo>
                <a:cubicBezTo>
                  <a:pt x="594" y="345"/>
                  <a:pt x="602" y="353"/>
                  <a:pt x="602" y="353"/>
                </a:cubicBezTo>
                <a:lnTo>
                  <a:pt x="602" y="361"/>
                </a:lnTo>
                <a:cubicBezTo>
                  <a:pt x="602" y="361"/>
                  <a:pt x="602" y="369"/>
                  <a:pt x="610" y="369"/>
                </a:cubicBezTo>
                <a:lnTo>
                  <a:pt x="618" y="369"/>
                </a:lnTo>
                <a:lnTo>
                  <a:pt x="626" y="361"/>
                </a:lnTo>
                <a:lnTo>
                  <a:pt x="642" y="353"/>
                </a:lnTo>
                <a:cubicBezTo>
                  <a:pt x="642" y="353"/>
                  <a:pt x="642" y="345"/>
                  <a:pt x="659" y="353"/>
                </a:cubicBezTo>
                <a:cubicBezTo>
                  <a:pt x="667" y="353"/>
                  <a:pt x="683" y="361"/>
                  <a:pt x="683" y="361"/>
                </a:cubicBezTo>
                <a:lnTo>
                  <a:pt x="683" y="369"/>
                </a:lnTo>
                <a:lnTo>
                  <a:pt x="716" y="369"/>
                </a:lnTo>
                <a:lnTo>
                  <a:pt x="724" y="377"/>
                </a:lnTo>
                <a:lnTo>
                  <a:pt x="732" y="385"/>
                </a:lnTo>
                <a:cubicBezTo>
                  <a:pt x="732" y="393"/>
                  <a:pt x="740" y="408"/>
                  <a:pt x="740" y="408"/>
                </a:cubicBezTo>
                <a:lnTo>
                  <a:pt x="764" y="416"/>
                </a:lnTo>
                <a:lnTo>
                  <a:pt x="748" y="393"/>
                </a:lnTo>
                <a:cubicBezTo>
                  <a:pt x="748" y="393"/>
                  <a:pt x="732" y="377"/>
                  <a:pt x="748" y="377"/>
                </a:cubicBezTo>
                <a:cubicBezTo>
                  <a:pt x="764" y="377"/>
                  <a:pt x="773" y="369"/>
                  <a:pt x="773" y="369"/>
                </a:cubicBezTo>
                <a:lnTo>
                  <a:pt x="773" y="361"/>
                </a:lnTo>
                <a:lnTo>
                  <a:pt x="748" y="361"/>
                </a:lnTo>
                <a:lnTo>
                  <a:pt x="748" y="345"/>
                </a:lnTo>
                <a:cubicBezTo>
                  <a:pt x="756" y="345"/>
                  <a:pt x="764" y="330"/>
                  <a:pt x="781" y="330"/>
                </a:cubicBezTo>
                <a:cubicBezTo>
                  <a:pt x="797" y="330"/>
                  <a:pt x="813" y="322"/>
                  <a:pt x="813" y="322"/>
                </a:cubicBezTo>
                <a:cubicBezTo>
                  <a:pt x="813" y="322"/>
                  <a:pt x="813" y="314"/>
                  <a:pt x="829" y="314"/>
                </a:cubicBezTo>
                <a:lnTo>
                  <a:pt x="862" y="314"/>
                </a:lnTo>
                <a:cubicBezTo>
                  <a:pt x="870" y="314"/>
                  <a:pt x="870" y="314"/>
                  <a:pt x="870" y="306"/>
                </a:cubicBezTo>
                <a:cubicBezTo>
                  <a:pt x="870" y="298"/>
                  <a:pt x="862" y="298"/>
                  <a:pt x="878" y="291"/>
                </a:cubicBezTo>
                <a:cubicBezTo>
                  <a:pt x="886" y="291"/>
                  <a:pt x="894" y="283"/>
                  <a:pt x="894" y="283"/>
                </a:cubicBezTo>
                <a:lnTo>
                  <a:pt x="903" y="251"/>
                </a:lnTo>
                <a:lnTo>
                  <a:pt x="870" y="267"/>
                </a:lnTo>
                <a:cubicBezTo>
                  <a:pt x="870" y="267"/>
                  <a:pt x="870" y="251"/>
                  <a:pt x="862" y="251"/>
                </a:cubicBezTo>
                <a:cubicBezTo>
                  <a:pt x="854" y="251"/>
                  <a:pt x="829" y="267"/>
                  <a:pt x="829" y="267"/>
                </a:cubicBezTo>
                <a:cubicBezTo>
                  <a:pt x="829" y="267"/>
                  <a:pt x="829" y="259"/>
                  <a:pt x="821" y="259"/>
                </a:cubicBezTo>
                <a:cubicBezTo>
                  <a:pt x="821" y="251"/>
                  <a:pt x="821" y="251"/>
                  <a:pt x="813" y="251"/>
                </a:cubicBezTo>
                <a:cubicBezTo>
                  <a:pt x="805" y="251"/>
                  <a:pt x="813" y="251"/>
                  <a:pt x="797" y="243"/>
                </a:cubicBezTo>
                <a:cubicBezTo>
                  <a:pt x="781" y="236"/>
                  <a:pt x="772" y="220"/>
                  <a:pt x="772" y="220"/>
                </a:cubicBezTo>
                <a:cubicBezTo>
                  <a:pt x="772" y="220"/>
                  <a:pt x="781" y="220"/>
                  <a:pt x="764" y="220"/>
                </a:cubicBezTo>
                <a:lnTo>
                  <a:pt x="756" y="212"/>
                </a:lnTo>
                <a:cubicBezTo>
                  <a:pt x="748" y="204"/>
                  <a:pt x="748" y="204"/>
                  <a:pt x="764" y="196"/>
                </a:cubicBezTo>
                <a:cubicBezTo>
                  <a:pt x="772" y="189"/>
                  <a:pt x="764" y="189"/>
                  <a:pt x="781" y="181"/>
                </a:cubicBezTo>
                <a:cubicBezTo>
                  <a:pt x="789" y="173"/>
                  <a:pt x="781" y="165"/>
                  <a:pt x="797" y="173"/>
                </a:cubicBezTo>
                <a:cubicBezTo>
                  <a:pt x="821" y="181"/>
                  <a:pt x="821" y="181"/>
                  <a:pt x="829" y="189"/>
                </a:cubicBezTo>
                <a:cubicBezTo>
                  <a:pt x="838" y="189"/>
                  <a:pt x="870" y="189"/>
                  <a:pt x="854" y="181"/>
                </a:cubicBezTo>
                <a:cubicBezTo>
                  <a:pt x="846" y="173"/>
                  <a:pt x="829" y="165"/>
                  <a:pt x="829" y="157"/>
                </a:cubicBezTo>
                <a:cubicBezTo>
                  <a:pt x="829" y="157"/>
                  <a:pt x="813" y="157"/>
                  <a:pt x="829" y="157"/>
                </a:cubicBezTo>
                <a:cubicBezTo>
                  <a:pt x="838" y="157"/>
                  <a:pt x="846" y="149"/>
                  <a:pt x="854" y="157"/>
                </a:cubicBezTo>
                <a:cubicBezTo>
                  <a:pt x="854" y="157"/>
                  <a:pt x="838" y="157"/>
                  <a:pt x="862" y="157"/>
                </a:cubicBezTo>
                <a:cubicBezTo>
                  <a:pt x="886" y="157"/>
                  <a:pt x="894" y="157"/>
                  <a:pt x="878" y="149"/>
                </a:cubicBezTo>
                <a:cubicBezTo>
                  <a:pt x="870" y="141"/>
                  <a:pt x="870" y="141"/>
                  <a:pt x="862" y="134"/>
                </a:cubicBezTo>
                <a:cubicBezTo>
                  <a:pt x="862" y="126"/>
                  <a:pt x="854" y="126"/>
                  <a:pt x="862" y="126"/>
                </a:cubicBezTo>
                <a:cubicBezTo>
                  <a:pt x="862" y="118"/>
                  <a:pt x="862" y="126"/>
                  <a:pt x="870" y="118"/>
                </a:cubicBezTo>
                <a:lnTo>
                  <a:pt x="870" y="102"/>
                </a:lnTo>
                <a:cubicBezTo>
                  <a:pt x="870" y="102"/>
                  <a:pt x="862" y="102"/>
                  <a:pt x="870" y="94"/>
                </a:cubicBezTo>
                <a:cubicBezTo>
                  <a:pt x="886" y="79"/>
                  <a:pt x="886" y="79"/>
                  <a:pt x="894" y="79"/>
                </a:cubicBezTo>
                <a:cubicBezTo>
                  <a:pt x="894" y="79"/>
                  <a:pt x="903" y="71"/>
                  <a:pt x="911" y="71"/>
                </a:cubicBezTo>
                <a:cubicBezTo>
                  <a:pt x="911" y="63"/>
                  <a:pt x="919" y="47"/>
                  <a:pt x="919" y="47"/>
                </a:cubicBezTo>
                <a:lnTo>
                  <a:pt x="951" y="47"/>
                </a:lnTo>
                <a:cubicBezTo>
                  <a:pt x="951" y="55"/>
                  <a:pt x="951" y="39"/>
                  <a:pt x="951" y="39"/>
                </a:cubicBezTo>
                <a:lnTo>
                  <a:pt x="960" y="39"/>
                </a:lnTo>
                <a:lnTo>
                  <a:pt x="968" y="47"/>
                </a:lnTo>
                <a:cubicBezTo>
                  <a:pt x="976" y="55"/>
                  <a:pt x="984" y="47"/>
                  <a:pt x="984" y="47"/>
                </a:cubicBezTo>
                <a:cubicBezTo>
                  <a:pt x="984" y="47"/>
                  <a:pt x="992" y="39"/>
                  <a:pt x="1000" y="39"/>
                </a:cubicBezTo>
                <a:lnTo>
                  <a:pt x="1016" y="39"/>
                </a:lnTo>
                <a:lnTo>
                  <a:pt x="1016" y="55"/>
                </a:lnTo>
                <a:cubicBezTo>
                  <a:pt x="1025" y="55"/>
                  <a:pt x="1033" y="63"/>
                  <a:pt x="1033" y="63"/>
                </a:cubicBezTo>
                <a:cubicBezTo>
                  <a:pt x="1033" y="63"/>
                  <a:pt x="1049" y="63"/>
                  <a:pt x="1049" y="55"/>
                </a:cubicBezTo>
                <a:cubicBezTo>
                  <a:pt x="1049" y="55"/>
                  <a:pt x="1041" y="55"/>
                  <a:pt x="1057" y="47"/>
                </a:cubicBezTo>
                <a:cubicBezTo>
                  <a:pt x="1073" y="32"/>
                  <a:pt x="1082" y="32"/>
                  <a:pt x="1082" y="32"/>
                </a:cubicBezTo>
                <a:cubicBezTo>
                  <a:pt x="1082" y="32"/>
                  <a:pt x="1082" y="24"/>
                  <a:pt x="1090" y="24"/>
                </a:cubicBezTo>
                <a:cubicBezTo>
                  <a:pt x="1098" y="32"/>
                  <a:pt x="1098" y="24"/>
                  <a:pt x="1098" y="32"/>
                </a:cubicBezTo>
                <a:lnTo>
                  <a:pt x="1106" y="39"/>
                </a:lnTo>
                <a:lnTo>
                  <a:pt x="1106" y="63"/>
                </a:lnTo>
                <a:lnTo>
                  <a:pt x="1106" y="71"/>
                </a:lnTo>
                <a:lnTo>
                  <a:pt x="1106" y="79"/>
                </a:lnTo>
                <a:cubicBezTo>
                  <a:pt x="1106" y="87"/>
                  <a:pt x="1114" y="102"/>
                  <a:pt x="1114" y="102"/>
                </a:cubicBezTo>
                <a:cubicBezTo>
                  <a:pt x="1106" y="110"/>
                  <a:pt x="1106" y="102"/>
                  <a:pt x="1106" y="110"/>
                </a:cubicBezTo>
                <a:cubicBezTo>
                  <a:pt x="1098" y="118"/>
                  <a:pt x="1106" y="118"/>
                  <a:pt x="1098" y="126"/>
                </a:cubicBezTo>
                <a:lnTo>
                  <a:pt x="1090" y="126"/>
                </a:lnTo>
                <a:lnTo>
                  <a:pt x="1098" y="134"/>
                </a:lnTo>
                <a:lnTo>
                  <a:pt x="1106" y="134"/>
                </a:lnTo>
                <a:cubicBezTo>
                  <a:pt x="1106" y="134"/>
                  <a:pt x="1106" y="126"/>
                  <a:pt x="1114" y="126"/>
                </a:cubicBezTo>
                <a:cubicBezTo>
                  <a:pt x="1114" y="134"/>
                  <a:pt x="1114" y="118"/>
                  <a:pt x="1114" y="118"/>
                </a:cubicBezTo>
                <a:lnTo>
                  <a:pt x="1122" y="110"/>
                </a:lnTo>
                <a:cubicBezTo>
                  <a:pt x="1122" y="110"/>
                  <a:pt x="1130" y="102"/>
                  <a:pt x="1130" y="94"/>
                </a:cubicBezTo>
                <a:lnTo>
                  <a:pt x="1122" y="87"/>
                </a:lnTo>
                <a:cubicBezTo>
                  <a:pt x="1122" y="87"/>
                  <a:pt x="1114" y="71"/>
                  <a:pt x="1114" y="63"/>
                </a:cubicBezTo>
                <a:lnTo>
                  <a:pt x="1114" y="55"/>
                </a:lnTo>
                <a:cubicBezTo>
                  <a:pt x="1122" y="55"/>
                  <a:pt x="1122" y="47"/>
                  <a:pt x="1122" y="47"/>
                </a:cubicBezTo>
                <a:cubicBezTo>
                  <a:pt x="1130" y="39"/>
                  <a:pt x="1138" y="32"/>
                  <a:pt x="1138" y="32"/>
                </a:cubicBezTo>
                <a:lnTo>
                  <a:pt x="1163" y="32"/>
                </a:lnTo>
                <a:cubicBezTo>
                  <a:pt x="1163" y="32"/>
                  <a:pt x="1155" y="24"/>
                  <a:pt x="1171" y="32"/>
                </a:cubicBezTo>
                <a:lnTo>
                  <a:pt x="1179" y="39"/>
                </a:lnTo>
                <a:cubicBezTo>
                  <a:pt x="1179" y="47"/>
                  <a:pt x="1171" y="47"/>
                  <a:pt x="1187" y="47"/>
                </a:cubicBezTo>
                <a:cubicBezTo>
                  <a:pt x="1195" y="47"/>
                  <a:pt x="1204" y="47"/>
                  <a:pt x="1195" y="47"/>
                </a:cubicBezTo>
                <a:cubicBezTo>
                  <a:pt x="1187" y="39"/>
                  <a:pt x="1187" y="32"/>
                  <a:pt x="1179" y="32"/>
                </a:cubicBezTo>
                <a:lnTo>
                  <a:pt x="1171" y="24"/>
                </a:lnTo>
                <a:cubicBezTo>
                  <a:pt x="1171" y="16"/>
                  <a:pt x="1171" y="0"/>
                  <a:pt x="1179" y="8"/>
                </a:cubicBezTo>
                <a:cubicBezTo>
                  <a:pt x="1187" y="8"/>
                  <a:pt x="1179" y="0"/>
                  <a:pt x="1187" y="8"/>
                </a:cubicBezTo>
                <a:cubicBezTo>
                  <a:pt x="1204" y="24"/>
                  <a:pt x="1212" y="32"/>
                  <a:pt x="1212" y="32"/>
                </a:cubicBezTo>
                <a:cubicBezTo>
                  <a:pt x="1212" y="39"/>
                  <a:pt x="1220" y="39"/>
                  <a:pt x="1220" y="39"/>
                </a:cubicBezTo>
                <a:lnTo>
                  <a:pt x="1220" y="47"/>
                </a:lnTo>
                <a:cubicBezTo>
                  <a:pt x="1228" y="55"/>
                  <a:pt x="1236" y="63"/>
                  <a:pt x="1236" y="63"/>
                </a:cubicBezTo>
                <a:lnTo>
                  <a:pt x="1244" y="63"/>
                </a:lnTo>
                <a:cubicBezTo>
                  <a:pt x="1244" y="71"/>
                  <a:pt x="1260" y="79"/>
                  <a:pt x="1260" y="79"/>
                </a:cubicBezTo>
                <a:lnTo>
                  <a:pt x="1269" y="87"/>
                </a:lnTo>
                <a:cubicBezTo>
                  <a:pt x="1260" y="94"/>
                  <a:pt x="1260" y="102"/>
                  <a:pt x="1260" y="102"/>
                </a:cubicBezTo>
                <a:lnTo>
                  <a:pt x="1244" y="126"/>
                </a:lnTo>
                <a:lnTo>
                  <a:pt x="1236" y="141"/>
                </a:lnTo>
                <a:lnTo>
                  <a:pt x="1236" y="149"/>
                </a:lnTo>
                <a:cubicBezTo>
                  <a:pt x="1228" y="157"/>
                  <a:pt x="1228" y="165"/>
                  <a:pt x="1228" y="165"/>
                </a:cubicBezTo>
                <a:cubicBezTo>
                  <a:pt x="1228" y="165"/>
                  <a:pt x="1220" y="173"/>
                  <a:pt x="1204" y="173"/>
                </a:cubicBezTo>
                <a:cubicBezTo>
                  <a:pt x="1187" y="165"/>
                  <a:pt x="1171" y="181"/>
                  <a:pt x="1171" y="181"/>
                </a:cubicBezTo>
                <a:cubicBezTo>
                  <a:pt x="1171" y="181"/>
                  <a:pt x="1130" y="173"/>
                  <a:pt x="1122" y="173"/>
                </a:cubicBezTo>
                <a:cubicBezTo>
                  <a:pt x="1114" y="173"/>
                  <a:pt x="1114" y="204"/>
                  <a:pt x="1114" y="212"/>
                </a:cubicBezTo>
                <a:cubicBezTo>
                  <a:pt x="1114" y="220"/>
                  <a:pt x="1098" y="228"/>
                  <a:pt x="1073" y="228"/>
                </a:cubicBezTo>
                <a:cubicBezTo>
                  <a:pt x="1049" y="236"/>
                  <a:pt x="1065" y="236"/>
                  <a:pt x="1057" y="259"/>
                </a:cubicBezTo>
                <a:cubicBezTo>
                  <a:pt x="1049" y="291"/>
                  <a:pt x="1041" y="267"/>
                  <a:pt x="1025" y="259"/>
                </a:cubicBezTo>
                <a:lnTo>
                  <a:pt x="984" y="259"/>
                </a:lnTo>
                <a:cubicBezTo>
                  <a:pt x="960" y="267"/>
                  <a:pt x="976" y="283"/>
                  <a:pt x="976" y="283"/>
                </a:cubicBezTo>
                <a:cubicBezTo>
                  <a:pt x="976" y="283"/>
                  <a:pt x="992" y="298"/>
                  <a:pt x="1000" y="298"/>
                </a:cubicBezTo>
                <a:cubicBezTo>
                  <a:pt x="1017" y="306"/>
                  <a:pt x="1000" y="322"/>
                  <a:pt x="1000" y="322"/>
                </a:cubicBezTo>
                <a:cubicBezTo>
                  <a:pt x="1000" y="322"/>
                  <a:pt x="992" y="338"/>
                  <a:pt x="984" y="338"/>
                </a:cubicBezTo>
                <a:cubicBezTo>
                  <a:pt x="976" y="330"/>
                  <a:pt x="935" y="330"/>
                  <a:pt x="935" y="330"/>
                </a:cubicBezTo>
                <a:lnTo>
                  <a:pt x="895" y="353"/>
                </a:lnTo>
                <a:cubicBezTo>
                  <a:pt x="895" y="353"/>
                  <a:pt x="903" y="385"/>
                  <a:pt x="927" y="416"/>
                </a:cubicBezTo>
                <a:cubicBezTo>
                  <a:pt x="951" y="447"/>
                  <a:pt x="927" y="424"/>
                  <a:pt x="927" y="424"/>
                </a:cubicBezTo>
                <a:cubicBezTo>
                  <a:pt x="927" y="424"/>
                  <a:pt x="935" y="447"/>
                  <a:pt x="935" y="463"/>
                </a:cubicBezTo>
                <a:cubicBezTo>
                  <a:pt x="935" y="479"/>
                  <a:pt x="935" y="471"/>
                  <a:pt x="943" y="471"/>
                </a:cubicBezTo>
                <a:lnTo>
                  <a:pt x="968" y="471"/>
                </a:lnTo>
                <a:lnTo>
                  <a:pt x="1000" y="518"/>
                </a:lnTo>
                <a:cubicBezTo>
                  <a:pt x="1008" y="518"/>
                  <a:pt x="1049" y="510"/>
                  <a:pt x="1049" y="510"/>
                </a:cubicBezTo>
                <a:cubicBezTo>
                  <a:pt x="1049" y="510"/>
                  <a:pt x="1082" y="502"/>
                  <a:pt x="1098" y="502"/>
                </a:cubicBezTo>
                <a:cubicBezTo>
                  <a:pt x="1114" y="495"/>
                  <a:pt x="1098" y="479"/>
                  <a:pt x="1098" y="479"/>
                </a:cubicBezTo>
                <a:lnTo>
                  <a:pt x="1114" y="440"/>
                </a:lnTo>
                <a:lnTo>
                  <a:pt x="1163" y="432"/>
                </a:lnTo>
                <a:lnTo>
                  <a:pt x="1187" y="479"/>
                </a:lnTo>
                <a:lnTo>
                  <a:pt x="1179" y="510"/>
                </a:lnTo>
                <a:lnTo>
                  <a:pt x="1220" y="550"/>
                </a:lnTo>
                <a:lnTo>
                  <a:pt x="1228" y="589"/>
                </a:lnTo>
                <a:cubicBezTo>
                  <a:pt x="1228" y="589"/>
                  <a:pt x="1269" y="597"/>
                  <a:pt x="1277" y="604"/>
                </a:cubicBezTo>
                <a:cubicBezTo>
                  <a:pt x="1285" y="604"/>
                  <a:pt x="1309" y="597"/>
                  <a:pt x="1309" y="597"/>
                </a:cubicBezTo>
                <a:lnTo>
                  <a:pt x="1342" y="636"/>
                </a:lnTo>
                <a:lnTo>
                  <a:pt x="1350" y="628"/>
                </a:lnTo>
                <a:lnTo>
                  <a:pt x="1350" y="636"/>
                </a:lnTo>
                <a:cubicBezTo>
                  <a:pt x="1350" y="636"/>
                  <a:pt x="1350" y="652"/>
                  <a:pt x="1342" y="652"/>
                </a:cubicBezTo>
                <a:cubicBezTo>
                  <a:pt x="1325" y="644"/>
                  <a:pt x="1317" y="644"/>
                  <a:pt x="1317" y="644"/>
                </a:cubicBezTo>
                <a:lnTo>
                  <a:pt x="1293" y="628"/>
                </a:lnTo>
                <a:lnTo>
                  <a:pt x="1285" y="636"/>
                </a:lnTo>
                <a:lnTo>
                  <a:pt x="1260" y="667"/>
                </a:lnTo>
                <a:lnTo>
                  <a:pt x="1277" y="675"/>
                </a:lnTo>
                <a:lnTo>
                  <a:pt x="1293" y="691"/>
                </a:lnTo>
                <a:lnTo>
                  <a:pt x="1293" y="714"/>
                </a:lnTo>
                <a:lnTo>
                  <a:pt x="1293" y="746"/>
                </a:lnTo>
                <a:lnTo>
                  <a:pt x="1277" y="769"/>
                </a:lnTo>
                <a:cubicBezTo>
                  <a:pt x="1277" y="769"/>
                  <a:pt x="1285" y="785"/>
                  <a:pt x="1285" y="793"/>
                </a:cubicBezTo>
                <a:lnTo>
                  <a:pt x="1301" y="808"/>
                </a:lnTo>
                <a:lnTo>
                  <a:pt x="1317" y="824"/>
                </a:lnTo>
                <a:lnTo>
                  <a:pt x="1301" y="863"/>
                </a:lnTo>
                <a:lnTo>
                  <a:pt x="1285" y="879"/>
                </a:lnTo>
                <a:lnTo>
                  <a:pt x="1285" y="895"/>
                </a:lnTo>
                <a:cubicBezTo>
                  <a:pt x="1285" y="895"/>
                  <a:pt x="1301" y="903"/>
                  <a:pt x="1293" y="903"/>
                </a:cubicBezTo>
                <a:lnTo>
                  <a:pt x="1269" y="903"/>
                </a:lnTo>
                <a:lnTo>
                  <a:pt x="1269" y="918"/>
                </a:lnTo>
                <a:lnTo>
                  <a:pt x="1277" y="934"/>
                </a:lnTo>
                <a:cubicBezTo>
                  <a:pt x="1277" y="934"/>
                  <a:pt x="1285" y="934"/>
                  <a:pt x="1285" y="941"/>
                </a:cubicBezTo>
                <a:cubicBezTo>
                  <a:pt x="1285" y="949"/>
                  <a:pt x="1277" y="964"/>
                  <a:pt x="1277" y="964"/>
                </a:cubicBezTo>
                <a:lnTo>
                  <a:pt x="1269" y="996"/>
                </a:lnTo>
                <a:cubicBezTo>
                  <a:pt x="1277" y="996"/>
                  <a:pt x="1277" y="1011"/>
                  <a:pt x="1277" y="1011"/>
                </a:cubicBezTo>
                <a:lnTo>
                  <a:pt x="1277" y="1043"/>
                </a:lnTo>
                <a:lnTo>
                  <a:pt x="1269" y="1066"/>
                </a:lnTo>
                <a:lnTo>
                  <a:pt x="1277" y="1082"/>
                </a:lnTo>
                <a:lnTo>
                  <a:pt x="1252" y="1098"/>
                </a:lnTo>
                <a:lnTo>
                  <a:pt x="1244" y="1113"/>
                </a:lnTo>
                <a:cubicBezTo>
                  <a:pt x="1244" y="1113"/>
                  <a:pt x="1228" y="1121"/>
                  <a:pt x="1228" y="1129"/>
                </a:cubicBezTo>
                <a:cubicBezTo>
                  <a:pt x="1228" y="1129"/>
                  <a:pt x="1220" y="1137"/>
                  <a:pt x="1220" y="1145"/>
                </a:cubicBezTo>
                <a:cubicBezTo>
                  <a:pt x="1220" y="1153"/>
                  <a:pt x="1212" y="1161"/>
                  <a:pt x="1212" y="1161"/>
                </a:cubicBezTo>
                <a:cubicBezTo>
                  <a:pt x="1204" y="1168"/>
                  <a:pt x="1187" y="1184"/>
                  <a:pt x="1187" y="1184"/>
                </a:cubicBezTo>
                <a:lnTo>
                  <a:pt x="1179" y="1200"/>
                </a:lnTo>
                <a:lnTo>
                  <a:pt x="1187" y="1215"/>
                </a:lnTo>
                <a:lnTo>
                  <a:pt x="1187" y="1223"/>
                </a:lnTo>
                <a:lnTo>
                  <a:pt x="1171" y="1239"/>
                </a:lnTo>
                <a:lnTo>
                  <a:pt x="1130" y="1270"/>
                </a:lnTo>
                <a:cubicBezTo>
                  <a:pt x="1130" y="1270"/>
                  <a:pt x="1130" y="1278"/>
                  <a:pt x="1122" y="1286"/>
                </a:cubicBezTo>
                <a:cubicBezTo>
                  <a:pt x="1122" y="1302"/>
                  <a:pt x="1114" y="1302"/>
                  <a:pt x="1114" y="1302"/>
                </a:cubicBezTo>
                <a:lnTo>
                  <a:pt x="1098" y="1302"/>
                </a:lnTo>
                <a:lnTo>
                  <a:pt x="1090" y="1294"/>
                </a:lnTo>
                <a:lnTo>
                  <a:pt x="1090" y="1310"/>
                </a:lnTo>
                <a:cubicBezTo>
                  <a:pt x="1090" y="1310"/>
                  <a:pt x="1090" y="1317"/>
                  <a:pt x="1098" y="1317"/>
                </a:cubicBezTo>
                <a:cubicBezTo>
                  <a:pt x="1106" y="1325"/>
                  <a:pt x="1106" y="1333"/>
                  <a:pt x="1114" y="1333"/>
                </a:cubicBezTo>
                <a:cubicBezTo>
                  <a:pt x="1114" y="1341"/>
                  <a:pt x="1122" y="1349"/>
                  <a:pt x="1122" y="1349"/>
                </a:cubicBezTo>
                <a:lnTo>
                  <a:pt x="1106" y="1365"/>
                </a:lnTo>
                <a:lnTo>
                  <a:pt x="1106" y="1372"/>
                </a:lnTo>
                <a:lnTo>
                  <a:pt x="1090" y="1372"/>
                </a:lnTo>
                <a:lnTo>
                  <a:pt x="1082" y="1365"/>
                </a:lnTo>
                <a:lnTo>
                  <a:pt x="1073" y="1365"/>
                </a:ln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25" name="Freeform 117">
            <a:extLst>
              <a:ext uri="{FF2B5EF4-FFF2-40B4-BE49-F238E27FC236}">
                <a16:creationId xmlns:a16="http://schemas.microsoft.com/office/drawing/2014/main" id="{23841BA7-8A0F-0435-62B4-224A797A719F}"/>
              </a:ext>
            </a:extLst>
          </p:cNvPr>
          <p:cNvSpPr>
            <a:spLocks noChangeArrowheads="1"/>
          </p:cNvSpPr>
          <p:nvPr>
            <p:custDataLst>
              <p:tags r:id="rId117"/>
            </p:custDataLst>
          </p:nvPr>
        </p:nvSpPr>
        <p:spPr bwMode="auto">
          <a:xfrm>
            <a:off x="4837786" y="2849044"/>
            <a:ext cx="554232" cy="604947"/>
          </a:xfrm>
          <a:custGeom>
            <a:avLst/>
            <a:gdLst>
              <a:gd name="T0" fmla="*/ 935 w 1351"/>
              <a:gd name="T1" fmla="*/ 1333 h 1475"/>
              <a:gd name="T2" fmla="*/ 748 w 1351"/>
              <a:gd name="T3" fmla="*/ 1380 h 1475"/>
              <a:gd name="T4" fmla="*/ 577 w 1351"/>
              <a:gd name="T5" fmla="*/ 1388 h 1475"/>
              <a:gd name="T6" fmla="*/ 407 w 1351"/>
              <a:gd name="T7" fmla="*/ 1474 h 1475"/>
              <a:gd name="T8" fmla="*/ 155 w 1351"/>
              <a:gd name="T9" fmla="*/ 1435 h 1475"/>
              <a:gd name="T10" fmla="*/ 146 w 1351"/>
              <a:gd name="T11" fmla="*/ 1412 h 1475"/>
              <a:gd name="T12" fmla="*/ 179 w 1351"/>
              <a:gd name="T13" fmla="*/ 1372 h 1475"/>
              <a:gd name="T14" fmla="*/ 73 w 1351"/>
              <a:gd name="T15" fmla="*/ 1341 h 1475"/>
              <a:gd name="T16" fmla="*/ 155 w 1351"/>
              <a:gd name="T17" fmla="*/ 1302 h 1475"/>
              <a:gd name="T18" fmla="*/ 49 w 1351"/>
              <a:gd name="T19" fmla="*/ 1263 h 1475"/>
              <a:gd name="T20" fmla="*/ 57 w 1351"/>
              <a:gd name="T21" fmla="*/ 1208 h 1475"/>
              <a:gd name="T22" fmla="*/ 187 w 1351"/>
              <a:gd name="T23" fmla="*/ 1161 h 1475"/>
              <a:gd name="T24" fmla="*/ 49 w 1351"/>
              <a:gd name="T25" fmla="*/ 1137 h 1475"/>
              <a:gd name="T26" fmla="*/ 106 w 1351"/>
              <a:gd name="T27" fmla="*/ 1090 h 1475"/>
              <a:gd name="T28" fmla="*/ 179 w 1351"/>
              <a:gd name="T29" fmla="*/ 1121 h 1475"/>
              <a:gd name="T30" fmla="*/ 195 w 1351"/>
              <a:gd name="T31" fmla="*/ 1051 h 1475"/>
              <a:gd name="T32" fmla="*/ 325 w 1351"/>
              <a:gd name="T33" fmla="*/ 1019 h 1475"/>
              <a:gd name="T34" fmla="*/ 480 w 1351"/>
              <a:gd name="T35" fmla="*/ 1019 h 1475"/>
              <a:gd name="T36" fmla="*/ 431 w 1351"/>
              <a:gd name="T37" fmla="*/ 1019 h 1475"/>
              <a:gd name="T38" fmla="*/ 285 w 1351"/>
              <a:gd name="T39" fmla="*/ 996 h 1475"/>
              <a:gd name="T40" fmla="*/ 325 w 1351"/>
              <a:gd name="T41" fmla="*/ 941 h 1475"/>
              <a:gd name="T42" fmla="*/ 415 w 1351"/>
              <a:gd name="T43" fmla="*/ 840 h 1475"/>
              <a:gd name="T44" fmla="*/ 529 w 1351"/>
              <a:gd name="T45" fmla="*/ 816 h 1475"/>
              <a:gd name="T46" fmla="*/ 415 w 1351"/>
              <a:gd name="T47" fmla="*/ 753 h 1475"/>
              <a:gd name="T48" fmla="*/ 382 w 1351"/>
              <a:gd name="T49" fmla="*/ 714 h 1475"/>
              <a:gd name="T50" fmla="*/ 325 w 1351"/>
              <a:gd name="T51" fmla="*/ 683 h 1475"/>
              <a:gd name="T52" fmla="*/ 277 w 1351"/>
              <a:gd name="T53" fmla="*/ 636 h 1475"/>
              <a:gd name="T54" fmla="*/ 277 w 1351"/>
              <a:gd name="T55" fmla="*/ 573 h 1475"/>
              <a:gd name="T56" fmla="*/ 358 w 1351"/>
              <a:gd name="T57" fmla="*/ 557 h 1475"/>
              <a:gd name="T58" fmla="*/ 439 w 1351"/>
              <a:gd name="T59" fmla="*/ 495 h 1475"/>
              <a:gd name="T60" fmla="*/ 358 w 1351"/>
              <a:gd name="T61" fmla="*/ 416 h 1475"/>
              <a:gd name="T62" fmla="*/ 390 w 1351"/>
              <a:gd name="T63" fmla="*/ 400 h 1475"/>
              <a:gd name="T64" fmla="*/ 407 w 1351"/>
              <a:gd name="T65" fmla="*/ 314 h 1475"/>
              <a:gd name="T66" fmla="*/ 382 w 1351"/>
              <a:gd name="T67" fmla="*/ 298 h 1475"/>
              <a:gd name="T68" fmla="*/ 496 w 1351"/>
              <a:gd name="T69" fmla="*/ 298 h 1475"/>
              <a:gd name="T70" fmla="*/ 610 w 1351"/>
              <a:gd name="T71" fmla="*/ 369 h 1475"/>
              <a:gd name="T72" fmla="*/ 732 w 1351"/>
              <a:gd name="T73" fmla="*/ 385 h 1475"/>
              <a:gd name="T74" fmla="*/ 781 w 1351"/>
              <a:gd name="T75" fmla="*/ 330 h 1475"/>
              <a:gd name="T76" fmla="*/ 862 w 1351"/>
              <a:gd name="T77" fmla="*/ 251 h 1475"/>
              <a:gd name="T78" fmla="*/ 781 w 1351"/>
              <a:gd name="T79" fmla="*/ 181 h 1475"/>
              <a:gd name="T80" fmla="*/ 862 w 1351"/>
              <a:gd name="T81" fmla="*/ 134 h 1475"/>
              <a:gd name="T82" fmla="*/ 951 w 1351"/>
              <a:gd name="T83" fmla="*/ 39 h 1475"/>
              <a:gd name="T84" fmla="*/ 1057 w 1351"/>
              <a:gd name="T85" fmla="*/ 47 h 1475"/>
              <a:gd name="T86" fmla="*/ 1106 w 1351"/>
              <a:gd name="T87" fmla="*/ 110 h 1475"/>
              <a:gd name="T88" fmla="*/ 1122 w 1351"/>
              <a:gd name="T89" fmla="*/ 87 h 1475"/>
              <a:gd name="T90" fmla="*/ 1195 w 1351"/>
              <a:gd name="T91" fmla="*/ 47 h 1475"/>
              <a:gd name="T92" fmla="*/ 1244 w 1351"/>
              <a:gd name="T93" fmla="*/ 63 h 1475"/>
              <a:gd name="T94" fmla="*/ 1171 w 1351"/>
              <a:gd name="T95" fmla="*/ 181 h 1475"/>
              <a:gd name="T96" fmla="*/ 1000 w 1351"/>
              <a:gd name="T97" fmla="*/ 322 h 1475"/>
              <a:gd name="T98" fmla="*/ 1000 w 1351"/>
              <a:gd name="T99" fmla="*/ 518 h 1475"/>
              <a:gd name="T100" fmla="*/ 1228 w 1351"/>
              <a:gd name="T101" fmla="*/ 589 h 1475"/>
              <a:gd name="T102" fmla="*/ 1285 w 1351"/>
              <a:gd name="T103" fmla="*/ 636 h 1475"/>
              <a:gd name="T104" fmla="*/ 1317 w 1351"/>
              <a:gd name="T105" fmla="*/ 824 h 1475"/>
              <a:gd name="T106" fmla="*/ 1277 w 1351"/>
              <a:gd name="T107" fmla="*/ 964 h 1475"/>
              <a:gd name="T108" fmla="*/ 1220 w 1351"/>
              <a:gd name="T109" fmla="*/ 1145 h 1475"/>
              <a:gd name="T110" fmla="*/ 1114 w 1351"/>
              <a:gd name="T111" fmla="*/ 1302 h 1475"/>
              <a:gd name="T112" fmla="*/ 1090 w 1351"/>
              <a:gd name="T113" fmla="*/ 1372 h 14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51" h="1475">
                <a:moveTo>
                  <a:pt x="1073" y="1365"/>
                </a:moveTo>
                <a:lnTo>
                  <a:pt x="1041" y="1365"/>
                </a:lnTo>
                <a:cubicBezTo>
                  <a:pt x="1041" y="1365"/>
                  <a:pt x="1025" y="1341"/>
                  <a:pt x="1016" y="1341"/>
                </a:cubicBezTo>
                <a:cubicBezTo>
                  <a:pt x="1008" y="1341"/>
                  <a:pt x="992" y="1333"/>
                  <a:pt x="992" y="1333"/>
                </a:cubicBezTo>
                <a:lnTo>
                  <a:pt x="984" y="1349"/>
                </a:lnTo>
                <a:cubicBezTo>
                  <a:pt x="984" y="1349"/>
                  <a:pt x="976" y="1357"/>
                  <a:pt x="968" y="1357"/>
                </a:cubicBezTo>
                <a:lnTo>
                  <a:pt x="960" y="1349"/>
                </a:lnTo>
                <a:lnTo>
                  <a:pt x="960" y="1333"/>
                </a:lnTo>
                <a:lnTo>
                  <a:pt x="935" y="1333"/>
                </a:lnTo>
                <a:cubicBezTo>
                  <a:pt x="935" y="1333"/>
                  <a:pt x="935" y="1357"/>
                  <a:pt x="927" y="1357"/>
                </a:cubicBezTo>
                <a:cubicBezTo>
                  <a:pt x="919" y="1349"/>
                  <a:pt x="911" y="1349"/>
                  <a:pt x="895" y="1349"/>
                </a:cubicBezTo>
                <a:cubicBezTo>
                  <a:pt x="878" y="1341"/>
                  <a:pt x="846" y="1349"/>
                  <a:pt x="846" y="1349"/>
                </a:cubicBezTo>
                <a:lnTo>
                  <a:pt x="829" y="1341"/>
                </a:lnTo>
                <a:lnTo>
                  <a:pt x="805" y="1341"/>
                </a:lnTo>
                <a:lnTo>
                  <a:pt x="773" y="1341"/>
                </a:lnTo>
                <a:lnTo>
                  <a:pt x="764" y="1357"/>
                </a:lnTo>
                <a:lnTo>
                  <a:pt x="773" y="1365"/>
                </a:lnTo>
                <a:lnTo>
                  <a:pt x="748" y="1380"/>
                </a:lnTo>
                <a:lnTo>
                  <a:pt x="716" y="1372"/>
                </a:lnTo>
                <a:lnTo>
                  <a:pt x="699" y="1388"/>
                </a:lnTo>
                <a:lnTo>
                  <a:pt x="691" y="1372"/>
                </a:lnTo>
                <a:lnTo>
                  <a:pt x="642" y="1404"/>
                </a:lnTo>
                <a:lnTo>
                  <a:pt x="651" y="1419"/>
                </a:lnTo>
                <a:lnTo>
                  <a:pt x="610" y="1427"/>
                </a:lnTo>
                <a:lnTo>
                  <a:pt x="586" y="1419"/>
                </a:lnTo>
                <a:cubicBezTo>
                  <a:pt x="586" y="1419"/>
                  <a:pt x="569" y="1412"/>
                  <a:pt x="569" y="1404"/>
                </a:cubicBezTo>
                <a:cubicBezTo>
                  <a:pt x="577" y="1396"/>
                  <a:pt x="577" y="1388"/>
                  <a:pt x="577" y="1388"/>
                </a:cubicBezTo>
                <a:cubicBezTo>
                  <a:pt x="577" y="1388"/>
                  <a:pt x="561" y="1380"/>
                  <a:pt x="561" y="1388"/>
                </a:cubicBezTo>
                <a:cubicBezTo>
                  <a:pt x="561" y="1404"/>
                  <a:pt x="553" y="1419"/>
                  <a:pt x="553" y="1419"/>
                </a:cubicBezTo>
                <a:lnTo>
                  <a:pt x="529" y="1435"/>
                </a:lnTo>
                <a:lnTo>
                  <a:pt x="496" y="1443"/>
                </a:lnTo>
                <a:lnTo>
                  <a:pt x="488" y="1435"/>
                </a:lnTo>
                <a:lnTo>
                  <a:pt x="488" y="1459"/>
                </a:lnTo>
                <a:lnTo>
                  <a:pt x="447" y="1459"/>
                </a:lnTo>
                <a:lnTo>
                  <a:pt x="423" y="1459"/>
                </a:lnTo>
                <a:lnTo>
                  <a:pt x="407" y="1474"/>
                </a:lnTo>
                <a:lnTo>
                  <a:pt x="382" y="1467"/>
                </a:lnTo>
                <a:lnTo>
                  <a:pt x="342" y="1474"/>
                </a:lnTo>
                <a:lnTo>
                  <a:pt x="333" y="1459"/>
                </a:lnTo>
                <a:lnTo>
                  <a:pt x="277" y="1459"/>
                </a:lnTo>
                <a:lnTo>
                  <a:pt x="252" y="1467"/>
                </a:lnTo>
                <a:lnTo>
                  <a:pt x="244" y="1451"/>
                </a:lnTo>
                <a:lnTo>
                  <a:pt x="236" y="1451"/>
                </a:lnTo>
                <a:lnTo>
                  <a:pt x="211" y="1451"/>
                </a:lnTo>
                <a:cubicBezTo>
                  <a:pt x="203" y="1451"/>
                  <a:pt x="155" y="1435"/>
                  <a:pt x="155" y="1435"/>
                </a:cubicBezTo>
                <a:lnTo>
                  <a:pt x="138" y="1451"/>
                </a:lnTo>
                <a:cubicBezTo>
                  <a:pt x="138" y="1451"/>
                  <a:pt x="114" y="1451"/>
                  <a:pt x="114" y="1443"/>
                </a:cubicBezTo>
                <a:cubicBezTo>
                  <a:pt x="114" y="1443"/>
                  <a:pt x="114" y="1435"/>
                  <a:pt x="122" y="1427"/>
                </a:cubicBezTo>
                <a:cubicBezTo>
                  <a:pt x="130" y="1427"/>
                  <a:pt x="138" y="1427"/>
                  <a:pt x="155" y="1419"/>
                </a:cubicBezTo>
                <a:lnTo>
                  <a:pt x="179" y="1419"/>
                </a:lnTo>
                <a:lnTo>
                  <a:pt x="187" y="1412"/>
                </a:lnTo>
                <a:cubicBezTo>
                  <a:pt x="187" y="1404"/>
                  <a:pt x="195" y="1396"/>
                  <a:pt x="179" y="1404"/>
                </a:cubicBezTo>
                <a:lnTo>
                  <a:pt x="171" y="1404"/>
                </a:lnTo>
                <a:cubicBezTo>
                  <a:pt x="163" y="1412"/>
                  <a:pt x="155" y="1412"/>
                  <a:pt x="146" y="1412"/>
                </a:cubicBezTo>
                <a:lnTo>
                  <a:pt x="130" y="1412"/>
                </a:lnTo>
                <a:cubicBezTo>
                  <a:pt x="130" y="1412"/>
                  <a:pt x="122" y="1404"/>
                  <a:pt x="130" y="1404"/>
                </a:cubicBezTo>
                <a:cubicBezTo>
                  <a:pt x="138" y="1396"/>
                  <a:pt x="138" y="1396"/>
                  <a:pt x="146" y="1396"/>
                </a:cubicBezTo>
                <a:cubicBezTo>
                  <a:pt x="163" y="1396"/>
                  <a:pt x="171" y="1388"/>
                  <a:pt x="187" y="1388"/>
                </a:cubicBezTo>
                <a:lnTo>
                  <a:pt x="211" y="1388"/>
                </a:lnTo>
                <a:cubicBezTo>
                  <a:pt x="220" y="1380"/>
                  <a:pt x="228" y="1380"/>
                  <a:pt x="228" y="1372"/>
                </a:cubicBezTo>
                <a:cubicBezTo>
                  <a:pt x="228" y="1365"/>
                  <a:pt x="220" y="1357"/>
                  <a:pt x="220" y="1357"/>
                </a:cubicBezTo>
                <a:cubicBezTo>
                  <a:pt x="220" y="1357"/>
                  <a:pt x="211" y="1357"/>
                  <a:pt x="203" y="1365"/>
                </a:cubicBezTo>
                <a:cubicBezTo>
                  <a:pt x="195" y="1365"/>
                  <a:pt x="187" y="1372"/>
                  <a:pt x="179" y="1372"/>
                </a:cubicBezTo>
                <a:lnTo>
                  <a:pt x="171" y="1372"/>
                </a:lnTo>
                <a:cubicBezTo>
                  <a:pt x="163" y="1372"/>
                  <a:pt x="146" y="1365"/>
                  <a:pt x="146" y="1365"/>
                </a:cubicBezTo>
                <a:lnTo>
                  <a:pt x="122" y="1365"/>
                </a:lnTo>
                <a:lnTo>
                  <a:pt x="106" y="1365"/>
                </a:lnTo>
                <a:cubicBezTo>
                  <a:pt x="90" y="1372"/>
                  <a:pt x="98" y="1372"/>
                  <a:pt x="73" y="1372"/>
                </a:cubicBezTo>
                <a:cubicBezTo>
                  <a:pt x="57" y="1372"/>
                  <a:pt x="33" y="1365"/>
                  <a:pt x="33" y="1365"/>
                </a:cubicBezTo>
                <a:cubicBezTo>
                  <a:pt x="33" y="1365"/>
                  <a:pt x="16" y="1372"/>
                  <a:pt x="24" y="1365"/>
                </a:cubicBezTo>
                <a:cubicBezTo>
                  <a:pt x="41" y="1357"/>
                  <a:pt x="57" y="1357"/>
                  <a:pt x="65" y="1349"/>
                </a:cubicBezTo>
                <a:cubicBezTo>
                  <a:pt x="73" y="1349"/>
                  <a:pt x="81" y="1349"/>
                  <a:pt x="73" y="1341"/>
                </a:cubicBezTo>
                <a:cubicBezTo>
                  <a:pt x="81" y="1341"/>
                  <a:pt x="98" y="1333"/>
                  <a:pt x="98" y="1333"/>
                </a:cubicBezTo>
                <a:lnTo>
                  <a:pt x="114" y="1325"/>
                </a:lnTo>
                <a:cubicBezTo>
                  <a:pt x="114" y="1325"/>
                  <a:pt x="114" y="1317"/>
                  <a:pt x="130" y="1317"/>
                </a:cubicBezTo>
                <a:cubicBezTo>
                  <a:pt x="146" y="1317"/>
                  <a:pt x="146" y="1317"/>
                  <a:pt x="146" y="1310"/>
                </a:cubicBezTo>
                <a:lnTo>
                  <a:pt x="155" y="1310"/>
                </a:lnTo>
                <a:cubicBezTo>
                  <a:pt x="171" y="1310"/>
                  <a:pt x="171" y="1302"/>
                  <a:pt x="179" y="1302"/>
                </a:cubicBezTo>
                <a:cubicBezTo>
                  <a:pt x="195" y="1302"/>
                  <a:pt x="203" y="1294"/>
                  <a:pt x="195" y="1294"/>
                </a:cubicBezTo>
                <a:lnTo>
                  <a:pt x="171" y="1294"/>
                </a:lnTo>
                <a:cubicBezTo>
                  <a:pt x="163" y="1302"/>
                  <a:pt x="155" y="1294"/>
                  <a:pt x="155" y="1302"/>
                </a:cubicBezTo>
                <a:lnTo>
                  <a:pt x="130" y="1302"/>
                </a:lnTo>
                <a:cubicBezTo>
                  <a:pt x="122" y="1294"/>
                  <a:pt x="122" y="1294"/>
                  <a:pt x="114" y="1302"/>
                </a:cubicBezTo>
                <a:cubicBezTo>
                  <a:pt x="106" y="1302"/>
                  <a:pt x="114" y="1310"/>
                  <a:pt x="98" y="1310"/>
                </a:cubicBezTo>
                <a:cubicBezTo>
                  <a:pt x="89" y="1310"/>
                  <a:pt x="81" y="1302"/>
                  <a:pt x="81" y="1302"/>
                </a:cubicBezTo>
                <a:cubicBezTo>
                  <a:pt x="81" y="1302"/>
                  <a:pt x="57" y="1302"/>
                  <a:pt x="57" y="1294"/>
                </a:cubicBezTo>
                <a:lnTo>
                  <a:pt x="57" y="1278"/>
                </a:lnTo>
                <a:cubicBezTo>
                  <a:pt x="57" y="1270"/>
                  <a:pt x="65" y="1270"/>
                  <a:pt x="65" y="1270"/>
                </a:cubicBezTo>
                <a:lnTo>
                  <a:pt x="57" y="1263"/>
                </a:lnTo>
                <a:lnTo>
                  <a:pt x="49" y="1263"/>
                </a:lnTo>
                <a:lnTo>
                  <a:pt x="33" y="1270"/>
                </a:lnTo>
                <a:lnTo>
                  <a:pt x="24" y="1270"/>
                </a:lnTo>
                <a:lnTo>
                  <a:pt x="16" y="1270"/>
                </a:lnTo>
                <a:lnTo>
                  <a:pt x="16" y="1247"/>
                </a:lnTo>
                <a:cubicBezTo>
                  <a:pt x="16" y="1239"/>
                  <a:pt x="0" y="1239"/>
                  <a:pt x="16" y="1231"/>
                </a:cubicBezTo>
                <a:lnTo>
                  <a:pt x="49" y="1231"/>
                </a:lnTo>
                <a:lnTo>
                  <a:pt x="57" y="1223"/>
                </a:lnTo>
                <a:lnTo>
                  <a:pt x="49" y="1215"/>
                </a:lnTo>
                <a:cubicBezTo>
                  <a:pt x="49" y="1208"/>
                  <a:pt x="49" y="1208"/>
                  <a:pt x="57" y="1208"/>
                </a:cubicBezTo>
                <a:cubicBezTo>
                  <a:pt x="65" y="1208"/>
                  <a:pt x="65" y="1200"/>
                  <a:pt x="73" y="1200"/>
                </a:cubicBezTo>
                <a:lnTo>
                  <a:pt x="89" y="1200"/>
                </a:lnTo>
                <a:cubicBezTo>
                  <a:pt x="89" y="1200"/>
                  <a:pt x="89" y="1192"/>
                  <a:pt x="106" y="1192"/>
                </a:cubicBezTo>
                <a:lnTo>
                  <a:pt x="146" y="1192"/>
                </a:lnTo>
                <a:lnTo>
                  <a:pt x="163" y="1184"/>
                </a:lnTo>
                <a:lnTo>
                  <a:pt x="171" y="1176"/>
                </a:lnTo>
                <a:lnTo>
                  <a:pt x="203" y="1176"/>
                </a:lnTo>
                <a:lnTo>
                  <a:pt x="203" y="1161"/>
                </a:lnTo>
                <a:lnTo>
                  <a:pt x="187" y="1161"/>
                </a:lnTo>
                <a:cubicBezTo>
                  <a:pt x="179" y="1168"/>
                  <a:pt x="171" y="1168"/>
                  <a:pt x="171" y="1161"/>
                </a:cubicBezTo>
                <a:lnTo>
                  <a:pt x="163" y="1161"/>
                </a:lnTo>
                <a:lnTo>
                  <a:pt x="146" y="1161"/>
                </a:lnTo>
                <a:lnTo>
                  <a:pt x="130" y="1161"/>
                </a:lnTo>
                <a:cubicBezTo>
                  <a:pt x="114" y="1153"/>
                  <a:pt x="114" y="1153"/>
                  <a:pt x="106" y="1153"/>
                </a:cubicBezTo>
                <a:lnTo>
                  <a:pt x="90" y="1153"/>
                </a:lnTo>
                <a:cubicBezTo>
                  <a:pt x="90" y="1153"/>
                  <a:pt x="106" y="1153"/>
                  <a:pt x="81" y="1145"/>
                </a:cubicBezTo>
                <a:lnTo>
                  <a:pt x="57" y="1137"/>
                </a:lnTo>
                <a:lnTo>
                  <a:pt x="49" y="1137"/>
                </a:lnTo>
                <a:cubicBezTo>
                  <a:pt x="41" y="1137"/>
                  <a:pt x="41" y="1145"/>
                  <a:pt x="33" y="1137"/>
                </a:cubicBezTo>
                <a:lnTo>
                  <a:pt x="24" y="1129"/>
                </a:lnTo>
                <a:cubicBezTo>
                  <a:pt x="24" y="1121"/>
                  <a:pt x="24" y="1121"/>
                  <a:pt x="33" y="1113"/>
                </a:cubicBezTo>
                <a:lnTo>
                  <a:pt x="49" y="1106"/>
                </a:lnTo>
                <a:lnTo>
                  <a:pt x="49" y="1113"/>
                </a:lnTo>
                <a:cubicBezTo>
                  <a:pt x="49" y="1113"/>
                  <a:pt x="49" y="1121"/>
                  <a:pt x="57" y="1113"/>
                </a:cubicBezTo>
                <a:lnTo>
                  <a:pt x="65" y="1098"/>
                </a:lnTo>
                <a:cubicBezTo>
                  <a:pt x="65" y="1098"/>
                  <a:pt x="57" y="1098"/>
                  <a:pt x="65" y="1090"/>
                </a:cubicBezTo>
                <a:lnTo>
                  <a:pt x="106" y="1090"/>
                </a:lnTo>
                <a:cubicBezTo>
                  <a:pt x="106" y="1082"/>
                  <a:pt x="122" y="1082"/>
                  <a:pt x="122" y="1082"/>
                </a:cubicBezTo>
                <a:cubicBezTo>
                  <a:pt x="122" y="1082"/>
                  <a:pt x="130" y="1090"/>
                  <a:pt x="122" y="1098"/>
                </a:cubicBezTo>
                <a:cubicBezTo>
                  <a:pt x="122" y="1098"/>
                  <a:pt x="114" y="1098"/>
                  <a:pt x="122" y="1106"/>
                </a:cubicBezTo>
                <a:lnTo>
                  <a:pt x="138" y="1106"/>
                </a:lnTo>
                <a:lnTo>
                  <a:pt x="146" y="1098"/>
                </a:lnTo>
                <a:cubicBezTo>
                  <a:pt x="155" y="1098"/>
                  <a:pt x="146" y="1090"/>
                  <a:pt x="155" y="1090"/>
                </a:cubicBezTo>
                <a:cubicBezTo>
                  <a:pt x="163" y="1098"/>
                  <a:pt x="163" y="1106"/>
                  <a:pt x="163" y="1106"/>
                </a:cubicBezTo>
                <a:lnTo>
                  <a:pt x="163" y="1113"/>
                </a:lnTo>
                <a:cubicBezTo>
                  <a:pt x="171" y="1113"/>
                  <a:pt x="179" y="1113"/>
                  <a:pt x="179" y="1121"/>
                </a:cubicBezTo>
                <a:cubicBezTo>
                  <a:pt x="179" y="1121"/>
                  <a:pt x="171" y="1121"/>
                  <a:pt x="187" y="1129"/>
                </a:cubicBezTo>
                <a:lnTo>
                  <a:pt x="203" y="1129"/>
                </a:lnTo>
                <a:cubicBezTo>
                  <a:pt x="203" y="1129"/>
                  <a:pt x="211" y="1129"/>
                  <a:pt x="211" y="1121"/>
                </a:cubicBezTo>
                <a:cubicBezTo>
                  <a:pt x="203" y="1113"/>
                  <a:pt x="203" y="1106"/>
                  <a:pt x="203" y="1106"/>
                </a:cubicBezTo>
                <a:lnTo>
                  <a:pt x="211" y="1098"/>
                </a:lnTo>
                <a:lnTo>
                  <a:pt x="211" y="1074"/>
                </a:lnTo>
                <a:cubicBezTo>
                  <a:pt x="211" y="1074"/>
                  <a:pt x="220" y="1066"/>
                  <a:pt x="211" y="1066"/>
                </a:cubicBezTo>
                <a:cubicBezTo>
                  <a:pt x="203" y="1066"/>
                  <a:pt x="203" y="1059"/>
                  <a:pt x="203" y="1059"/>
                </a:cubicBezTo>
                <a:cubicBezTo>
                  <a:pt x="195" y="1059"/>
                  <a:pt x="195" y="1051"/>
                  <a:pt x="195" y="1051"/>
                </a:cubicBezTo>
                <a:lnTo>
                  <a:pt x="236" y="1051"/>
                </a:lnTo>
                <a:lnTo>
                  <a:pt x="252" y="1043"/>
                </a:lnTo>
                <a:cubicBezTo>
                  <a:pt x="252" y="1043"/>
                  <a:pt x="260" y="1051"/>
                  <a:pt x="260" y="1043"/>
                </a:cubicBezTo>
                <a:lnTo>
                  <a:pt x="268" y="1035"/>
                </a:lnTo>
                <a:lnTo>
                  <a:pt x="285" y="1035"/>
                </a:lnTo>
                <a:lnTo>
                  <a:pt x="277" y="1027"/>
                </a:lnTo>
                <a:cubicBezTo>
                  <a:pt x="285" y="1027"/>
                  <a:pt x="285" y="1011"/>
                  <a:pt x="285" y="1011"/>
                </a:cubicBezTo>
                <a:cubicBezTo>
                  <a:pt x="285" y="1011"/>
                  <a:pt x="293" y="1004"/>
                  <a:pt x="301" y="1011"/>
                </a:cubicBezTo>
                <a:cubicBezTo>
                  <a:pt x="301" y="1011"/>
                  <a:pt x="317" y="1011"/>
                  <a:pt x="325" y="1019"/>
                </a:cubicBezTo>
                <a:lnTo>
                  <a:pt x="350" y="1019"/>
                </a:lnTo>
                <a:lnTo>
                  <a:pt x="366" y="1027"/>
                </a:lnTo>
                <a:cubicBezTo>
                  <a:pt x="366" y="1027"/>
                  <a:pt x="382" y="1035"/>
                  <a:pt x="390" y="1035"/>
                </a:cubicBezTo>
                <a:lnTo>
                  <a:pt x="398" y="1027"/>
                </a:lnTo>
                <a:cubicBezTo>
                  <a:pt x="398" y="1027"/>
                  <a:pt x="398" y="1019"/>
                  <a:pt x="407" y="1027"/>
                </a:cubicBezTo>
                <a:lnTo>
                  <a:pt x="431" y="1027"/>
                </a:lnTo>
                <a:cubicBezTo>
                  <a:pt x="431" y="1019"/>
                  <a:pt x="431" y="1019"/>
                  <a:pt x="439" y="1019"/>
                </a:cubicBezTo>
                <a:cubicBezTo>
                  <a:pt x="447" y="1027"/>
                  <a:pt x="455" y="1027"/>
                  <a:pt x="455" y="1027"/>
                </a:cubicBezTo>
                <a:cubicBezTo>
                  <a:pt x="464" y="1027"/>
                  <a:pt x="480" y="1019"/>
                  <a:pt x="480" y="1019"/>
                </a:cubicBezTo>
                <a:cubicBezTo>
                  <a:pt x="480" y="1019"/>
                  <a:pt x="472" y="1011"/>
                  <a:pt x="480" y="1019"/>
                </a:cubicBezTo>
                <a:cubicBezTo>
                  <a:pt x="488" y="1019"/>
                  <a:pt x="496" y="1011"/>
                  <a:pt x="496" y="1011"/>
                </a:cubicBezTo>
                <a:lnTo>
                  <a:pt x="480" y="1004"/>
                </a:lnTo>
                <a:lnTo>
                  <a:pt x="488" y="988"/>
                </a:lnTo>
                <a:lnTo>
                  <a:pt x="480" y="980"/>
                </a:lnTo>
                <a:cubicBezTo>
                  <a:pt x="480" y="980"/>
                  <a:pt x="472" y="980"/>
                  <a:pt x="472" y="988"/>
                </a:cubicBezTo>
                <a:cubicBezTo>
                  <a:pt x="472" y="996"/>
                  <a:pt x="464" y="1004"/>
                  <a:pt x="455" y="1004"/>
                </a:cubicBezTo>
                <a:cubicBezTo>
                  <a:pt x="455" y="1004"/>
                  <a:pt x="447" y="1011"/>
                  <a:pt x="439" y="1011"/>
                </a:cubicBezTo>
                <a:lnTo>
                  <a:pt x="431" y="1019"/>
                </a:lnTo>
                <a:cubicBezTo>
                  <a:pt x="431" y="1019"/>
                  <a:pt x="431" y="1027"/>
                  <a:pt x="415" y="1019"/>
                </a:cubicBezTo>
                <a:cubicBezTo>
                  <a:pt x="407" y="1011"/>
                  <a:pt x="398" y="1011"/>
                  <a:pt x="398" y="1011"/>
                </a:cubicBezTo>
                <a:cubicBezTo>
                  <a:pt x="398" y="1011"/>
                  <a:pt x="398" y="1004"/>
                  <a:pt x="390" y="1011"/>
                </a:cubicBezTo>
                <a:cubicBezTo>
                  <a:pt x="374" y="1011"/>
                  <a:pt x="382" y="1019"/>
                  <a:pt x="374" y="1011"/>
                </a:cubicBezTo>
                <a:cubicBezTo>
                  <a:pt x="366" y="1011"/>
                  <a:pt x="342" y="1011"/>
                  <a:pt x="342" y="1004"/>
                </a:cubicBezTo>
                <a:lnTo>
                  <a:pt x="333" y="996"/>
                </a:lnTo>
                <a:lnTo>
                  <a:pt x="333" y="980"/>
                </a:lnTo>
                <a:cubicBezTo>
                  <a:pt x="325" y="988"/>
                  <a:pt x="317" y="996"/>
                  <a:pt x="309" y="996"/>
                </a:cubicBezTo>
                <a:lnTo>
                  <a:pt x="285" y="996"/>
                </a:lnTo>
                <a:lnTo>
                  <a:pt x="277" y="996"/>
                </a:lnTo>
                <a:cubicBezTo>
                  <a:pt x="268" y="996"/>
                  <a:pt x="260" y="1004"/>
                  <a:pt x="252" y="1004"/>
                </a:cubicBezTo>
                <a:cubicBezTo>
                  <a:pt x="244" y="1004"/>
                  <a:pt x="244" y="996"/>
                  <a:pt x="236" y="996"/>
                </a:cubicBezTo>
                <a:lnTo>
                  <a:pt x="228" y="996"/>
                </a:lnTo>
                <a:cubicBezTo>
                  <a:pt x="228" y="996"/>
                  <a:pt x="228" y="980"/>
                  <a:pt x="244" y="980"/>
                </a:cubicBezTo>
                <a:cubicBezTo>
                  <a:pt x="252" y="972"/>
                  <a:pt x="243" y="972"/>
                  <a:pt x="260" y="972"/>
                </a:cubicBezTo>
                <a:cubicBezTo>
                  <a:pt x="276" y="972"/>
                  <a:pt x="285" y="972"/>
                  <a:pt x="293" y="964"/>
                </a:cubicBezTo>
                <a:cubicBezTo>
                  <a:pt x="301" y="957"/>
                  <a:pt x="301" y="949"/>
                  <a:pt x="309" y="949"/>
                </a:cubicBezTo>
                <a:cubicBezTo>
                  <a:pt x="317" y="941"/>
                  <a:pt x="317" y="934"/>
                  <a:pt x="325" y="941"/>
                </a:cubicBezTo>
                <a:lnTo>
                  <a:pt x="358" y="941"/>
                </a:lnTo>
                <a:lnTo>
                  <a:pt x="358" y="918"/>
                </a:lnTo>
                <a:cubicBezTo>
                  <a:pt x="366" y="918"/>
                  <a:pt x="366" y="910"/>
                  <a:pt x="366" y="910"/>
                </a:cubicBezTo>
                <a:cubicBezTo>
                  <a:pt x="374" y="910"/>
                  <a:pt x="374" y="903"/>
                  <a:pt x="382" y="903"/>
                </a:cubicBezTo>
                <a:cubicBezTo>
                  <a:pt x="382" y="895"/>
                  <a:pt x="390" y="895"/>
                  <a:pt x="390" y="887"/>
                </a:cubicBezTo>
                <a:cubicBezTo>
                  <a:pt x="398" y="887"/>
                  <a:pt x="398" y="879"/>
                  <a:pt x="398" y="879"/>
                </a:cubicBezTo>
                <a:lnTo>
                  <a:pt x="374" y="871"/>
                </a:lnTo>
                <a:lnTo>
                  <a:pt x="382" y="863"/>
                </a:lnTo>
                <a:lnTo>
                  <a:pt x="415" y="840"/>
                </a:lnTo>
                <a:lnTo>
                  <a:pt x="423" y="824"/>
                </a:lnTo>
                <a:cubicBezTo>
                  <a:pt x="431" y="824"/>
                  <a:pt x="439" y="816"/>
                  <a:pt x="439" y="816"/>
                </a:cubicBezTo>
                <a:lnTo>
                  <a:pt x="447" y="801"/>
                </a:lnTo>
                <a:cubicBezTo>
                  <a:pt x="447" y="801"/>
                  <a:pt x="447" y="793"/>
                  <a:pt x="455" y="801"/>
                </a:cubicBezTo>
                <a:cubicBezTo>
                  <a:pt x="464" y="801"/>
                  <a:pt x="464" y="808"/>
                  <a:pt x="472" y="808"/>
                </a:cubicBezTo>
                <a:cubicBezTo>
                  <a:pt x="480" y="816"/>
                  <a:pt x="504" y="816"/>
                  <a:pt x="504" y="816"/>
                </a:cubicBezTo>
                <a:lnTo>
                  <a:pt x="496" y="801"/>
                </a:lnTo>
                <a:lnTo>
                  <a:pt x="529" y="801"/>
                </a:lnTo>
                <a:lnTo>
                  <a:pt x="529" y="816"/>
                </a:lnTo>
                <a:lnTo>
                  <a:pt x="545" y="808"/>
                </a:lnTo>
                <a:lnTo>
                  <a:pt x="537" y="793"/>
                </a:lnTo>
                <a:lnTo>
                  <a:pt x="553" y="793"/>
                </a:lnTo>
                <a:cubicBezTo>
                  <a:pt x="545" y="793"/>
                  <a:pt x="529" y="777"/>
                  <a:pt x="529" y="777"/>
                </a:cubicBezTo>
                <a:lnTo>
                  <a:pt x="537" y="761"/>
                </a:lnTo>
                <a:lnTo>
                  <a:pt x="521" y="761"/>
                </a:lnTo>
                <a:lnTo>
                  <a:pt x="480" y="761"/>
                </a:lnTo>
                <a:cubicBezTo>
                  <a:pt x="472" y="753"/>
                  <a:pt x="472" y="753"/>
                  <a:pt x="464" y="753"/>
                </a:cubicBezTo>
                <a:lnTo>
                  <a:pt x="415" y="753"/>
                </a:lnTo>
                <a:lnTo>
                  <a:pt x="399" y="753"/>
                </a:lnTo>
                <a:cubicBezTo>
                  <a:pt x="399" y="746"/>
                  <a:pt x="407" y="738"/>
                  <a:pt x="399" y="738"/>
                </a:cubicBezTo>
                <a:cubicBezTo>
                  <a:pt x="390" y="738"/>
                  <a:pt x="382" y="722"/>
                  <a:pt x="374" y="730"/>
                </a:cubicBezTo>
                <a:lnTo>
                  <a:pt x="366" y="730"/>
                </a:lnTo>
                <a:cubicBezTo>
                  <a:pt x="366" y="738"/>
                  <a:pt x="358" y="738"/>
                  <a:pt x="358" y="738"/>
                </a:cubicBezTo>
                <a:cubicBezTo>
                  <a:pt x="350" y="730"/>
                  <a:pt x="350" y="738"/>
                  <a:pt x="358" y="730"/>
                </a:cubicBezTo>
                <a:cubicBezTo>
                  <a:pt x="358" y="722"/>
                  <a:pt x="350" y="706"/>
                  <a:pt x="358" y="706"/>
                </a:cubicBezTo>
                <a:cubicBezTo>
                  <a:pt x="366" y="714"/>
                  <a:pt x="366" y="714"/>
                  <a:pt x="374" y="714"/>
                </a:cubicBezTo>
                <a:lnTo>
                  <a:pt x="382" y="714"/>
                </a:lnTo>
                <a:cubicBezTo>
                  <a:pt x="382" y="706"/>
                  <a:pt x="390" y="691"/>
                  <a:pt x="390" y="691"/>
                </a:cubicBezTo>
                <a:cubicBezTo>
                  <a:pt x="390" y="691"/>
                  <a:pt x="415" y="699"/>
                  <a:pt x="407" y="691"/>
                </a:cubicBezTo>
                <a:cubicBezTo>
                  <a:pt x="399" y="683"/>
                  <a:pt x="382" y="675"/>
                  <a:pt x="382" y="675"/>
                </a:cubicBezTo>
                <a:cubicBezTo>
                  <a:pt x="382" y="675"/>
                  <a:pt x="374" y="675"/>
                  <a:pt x="374" y="683"/>
                </a:cubicBezTo>
                <a:cubicBezTo>
                  <a:pt x="366" y="691"/>
                  <a:pt x="374" y="691"/>
                  <a:pt x="366" y="699"/>
                </a:cubicBezTo>
                <a:lnTo>
                  <a:pt x="350" y="699"/>
                </a:lnTo>
                <a:lnTo>
                  <a:pt x="342" y="699"/>
                </a:lnTo>
                <a:cubicBezTo>
                  <a:pt x="342" y="699"/>
                  <a:pt x="325" y="699"/>
                  <a:pt x="325" y="691"/>
                </a:cubicBezTo>
                <a:lnTo>
                  <a:pt x="325" y="683"/>
                </a:lnTo>
                <a:cubicBezTo>
                  <a:pt x="325" y="675"/>
                  <a:pt x="325" y="667"/>
                  <a:pt x="342" y="667"/>
                </a:cubicBezTo>
                <a:cubicBezTo>
                  <a:pt x="350" y="667"/>
                  <a:pt x="350" y="675"/>
                  <a:pt x="350" y="667"/>
                </a:cubicBezTo>
                <a:cubicBezTo>
                  <a:pt x="350" y="667"/>
                  <a:pt x="350" y="659"/>
                  <a:pt x="342" y="659"/>
                </a:cubicBezTo>
                <a:cubicBezTo>
                  <a:pt x="342" y="651"/>
                  <a:pt x="341" y="651"/>
                  <a:pt x="333" y="651"/>
                </a:cubicBezTo>
                <a:cubicBezTo>
                  <a:pt x="324" y="651"/>
                  <a:pt x="309" y="659"/>
                  <a:pt x="309" y="659"/>
                </a:cubicBezTo>
                <a:cubicBezTo>
                  <a:pt x="309" y="659"/>
                  <a:pt x="317" y="659"/>
                  <a:pt x="301" y="659"/>
                </a:cubicBezTo>
                <a:cubicBezTo>
                  <a:pt x="293" y="651"/>
                  <a:pt x="301" y="651"/>
                  <a:pt x="293" y="644"/>
                </a:cubicBezTo>
                <a:cubicBezTo>
                  <a:pt x="293" y="636"/>
                  <a:pt x="293" y="636"/>
                  <a:pt x="285" y="636"/>
                </a:cubicBezTo>
                <a:lnTo>
                  <a:pt x="277" y="636"/>
                </a:lnTo>
                <a:cubicBezTo>
                  <a:pt x="268" y="628"/>
                  <a:pt x="260" y="628"/>
                  <a:pt x="260" y="620"/>
                </a:cubicBezTo>
                <a:cubicBezTo>
                  <a:pt x="260" y="612"/>
                  <a:pt x="260" y="604"/>
                  <a:pt x="268" y="612"/>
                </a:cubicBezTo>
                <a:cubicBezTo>
                  <a:pt x="277" y="612"/>
                  <a:pt x="268" y="604"/>
                  <a:pt x="277" y="612"/>
                </a:cubicBezTo>
                <a:lnTo>
                  <a:pt x="293" y="620"/>
                </a:lnTo>
                <a:cubicBezTo>
                  <a:pt x="293" y="620"/>
                  <a:pt x="301" y="620"/>
                  <a:pt x="293" y="612"/>
                </a:cubicBezTo>
                <a:cubicBezTo>
                  <a:pt x="293" y="604"/>
                  <a:pt x="285" y="597"/>
                  <a:pt x="285" y="597"/>
                </a:cubicBezTo>
                <a:cubicBezTo>
                  <a:pt x="285" y="597"/>
                  <a:pt x="277" y="597"/>
                  <a:pt x="277" y="589"/>
                </a:cubicBezTo>
                <a:cubicBezTo>
                  <a:pt x="277" y="581"/>
                  <a:pt x="277" y="581"/>
                  <a:pt x="268" y="573"/>
                </a:cubicBezTo>
                <a:lnTo>
                  <a:pt x="277" y="573"/>
                </a:lnTo>
                <a:lnTo>
                  <a:pt x="285" y="573"/>
                </a:lnTo>
                <a:lnTo>
                  <a:pt x="301" y="573"/>
                </a:lnTo>
                <a:lnTo>
                  <a:pt x="309" y="573"/>
                </a:lnTo>
                <a:cubicBezTo>
                  <a:pt x="309" y="581"/>
                  <a:pt x="317" y="565"/>
                  <a:pt x="317" y="565"/>
                </a:cubicBezTo>
                <a:cubicBezTo>
                  <a:pt x="317" y="565"/>
                  <a:pt x="309" y="557"/>
                  <a:pt x="317" y="557"/>
                </a:cubicBezTo>
                <a:cubicBezTo>
                  <a:pt x="325" y="557"/>
                  <a:pt x="325" y="565"/>
                  <a:pt x="333" y="565"/>
                </a:cubicBezTo>
                <a:cubicBezTo>
                  <a:pt x="350" y="565"/>
                  <a:pt x="350" y="573"/>
                  <a:pt x="358" y="573"/>
                </a:cubicBezTo>
                <a:cubicBezTo>
                  <a:pt x="358" y="565"/>
                  <a:pt x="366" y="573"/>
                  <a:pt x="366" y="565"/>
                </a:cubicBezTo>
                <a:cubicBezTo>
                  <a:pt x="358" y="557"/>
                  <a:pt x="358" y="565"/>
                  <a:pt x="358" y="557"/>
                </a:cubicBezTo>
                <a:cubicBezTo>
                  <a:pt x="350" y="549"/>
                  <a:pt x="350" y="557"/>
                  <a:pt x="350" y="542"/>
                </a:cubicBezTo>
                <a:cubicBezTo>
                  <a:pt x="358" y="534"/>
                  <a:pt x="358" y="526"/>
                  <a:pt x="358" y="526"/>
                </a:cubicBezTo>
                <a:lnTo>
                  <a:pt x="358" y="518"/>
                </a:lnTo>
                <a:lnTo>
                  <a:pt x="374" y="502"/>
                </a:lnTo>
                <a:lnTo>
                  <a:pt x="390" y="502"/>
                </a:lnTo>
                <a:cubicBezTo>
                  <a:pt x="407" y="502"/>
                  <a:pt x="415" y="510"/>
                  <a:pt x="423" y="510"/>
                </a:cubicBezTo>
                <a:lnTo>
                  <a:pt x="447" y="510"/>
                </a:lnTo>
                <a:lnTo>
                  <a:pt x="439" y="502"/>
                </a:lnTo>
                <a:lnTo>
                  <a:pt x="439" y="495"/>
                </a:lnTo>
                <a:lnTo>
                  <a:pt x="455" y="495"/>
                </a:lnTo>
                <a:lnTo>
                  <a:pt x="464" y="479"/>
                </a:lnTo>
                <a:cubicBezTo>
                  <a:pt x="455" y="471"/>
                  <a:pt x="455" y="471"/>
                  <a:pt x="447" y="463"/>
                </a:cubicBezTo>
                <a:lnTo>
                  <a:pt x="407" y="463"/>
                </a:lnTo>
                <a:lnTo>
                  <a:pt x="390" y="463"/>
                </a:lnTo>
                <a:cubicBezTo>
                  <a:pt x="382" y="463"/>
                  <a:pt x="366" y="463"/>
                  <a:pt x="366" y="455"/>
                </a:cubicBezTo>
                <a:cubicBezTo>
                  <a:pt x="358" y="455"/>
                  <a:pt x="358" y="455"/>
                  <a:pt x="358" y="440"/>
                </a:cubicBezTo>
                <a:cubicBezTo>
                  <a:pt x="358" y="432"/>
                  <a:pt x="350" y="432"/>
                  <a:pt x="350" y="432"/>
                </a:cubicBezTo>
                <a:lnTo>
                  <a:pt x="358" y="416"/>
                </a:lnTo>
                <a:lnTo>
                  <a:pt x="350" y="408"/>
                </a:lnTo>
                <a:lnTo>
                  <a:pt x="342" y="408"/>
                </a:lnTo>
                <a:cubicBezTo>
                  <a:pt x="333" y="408"/>
                  <a:pt x="342" y="408"/>
                  <a:pt x="325" y="400"/>
                </a:cubicBezTo>
                <a:cubicBezTo>
                  <a:pt x="309" y="400"/>
                  <a:pt x="301" y="393"/>
                  <a:pt x="301" y="393"/>
                </a:cubicBezTo>
                <a:cubicBezTo>
                  <a:pt x="301" y="385"/>
                  <a:pt x="301" y="385"/>
                  <a:pt x="317" y="385"/>
                </a:cubicBezTo>
                <a:lnTo>
                  <a:pt x="342" y="385"/>
                </a:lnTo>
                <a:cubicBezTo>
                  <a:pt x="350" y="393"/>
                  <a:pt x="366" y="385"/>
                  <a:pt x="366" y="385"/>
                </a:cubicBezTo>
                <a:cubicBezTo>
                  <a:pt x="366" y="385"/>
                  <a:pt x="358" y="385"/>
                  <a:pt x="374" y="393"/>
                </a:cubicBezTo>
                <a:cubicBezTo>
                  <a:pt x="390" y="400"/>
                  <a:pt x="382" y="400"/>
                  <a:pt x="390" y="400"/>
                </a:cubicBezTo>
                <a:cubicBezTo>
                  <a:pt x="399" y="400"/>
                  <a:pt x="407" y="393"/>
                  <a:pt x="399" y="393"/>
                </a:cubicBezTo>
                <a:cubicBezTo>
                  <a:pt x="399" y="385"/>
                  <a:pt x="407" y="385"/>
                  <a:pt x="399" y="385"/>
                </a:cubicBezTo>
                <a:lnTo>
                  <a:pt x="390" y="377"/>
                </a:lnTo>
                <a:lnTo>
                  <a:pt x="390" y="369"/>
                </a:lnTo>
                <a:cubicBezTo>
                  <a:pt x="390" y="361"/>
                  <a:pt x="399" y="353"/>
                  <a:pt x="399" y="353"/>
                </a:cubicBezTo>
                <a:cubicBezTo>
                  <a:pt x="407" y="353"/>
                  <a:pt x="407" y="353"/>
                  <a:pt x="407" y="345"/>
                </a:cubicBezTo>
                <a:lnTo>
                  <a:pt x="407" y="338"/>
                </a:lnTo>
                <a:cubicBezTo>
                  <a:pt x="407" y="330"/>
                  <a:pt x="415" y="322"/>
                  <a:pt x="415" y="322"/>
                </a:cubicBezTo>
                <a:lnTo>
                  <a:pt x="407" y="314"/>
                </a:lnTo>
                <a:cubicBezTo>
                  <a:pt x="407" y="314"/>
                  <a:pt x="390" y="314"/>
                  <a:pt x="390" y="322"/>
                </a:cubicBezTo>
                <a:lnTo>
                  <a:pt x="390" y="330"/>
                </a:lnTo>
                <a:lnTo>
                  <a:pt x="374" y="330"/>
                </a:lnTo>
                <a:lnTo>
                  <a:pt x="374" y="338"/>
                </a:lnTo>
                <a:cubicBezTo>
                  <a:pt x="374" y="345"/>
                  <a:pt x="366" y="353"/>
                  <a:pt x="366" y="353"/>
                </a:cubicBezTo>
                <a:cubicBezTo>
                  <a:pt x="366" y="353"/>
                  <a:pt x="358" y="338"/>
                  <a:pt x="358" y="330"/>
                </a:cubicBezTo>
                <a:cubicBezTo>
                  <a:pt x="358" y="330"/>
                  <a:pt x="366" y="322"/>
                  <a:pt x="374" y="322"/>
                </a:cubicBezTo>
                <a:cubicBezTo>
                  <a:pt x="382" y="322"/>
                  <a:pt x="382" y="322"/>
                  <a:pt x="382" y="314"/>
                </a:cubicBezTo>
                <a:lnTo>
                  <a:pt x="382" y="298"/>
                </a:lnTo>
                <a:cubicBezTo>
                  <a:pt x="390" y="291"/>
                  <a:pt x="399" y="283"/>
                  <a:pt x="407" y="283"/>
                </a:cubicBezTo>
                <a:cubicBezTo>
                  <a:pt x="407" y="283"/>
                  <a:pt x="399" y="267"/>
                  <a:pt x="415" y="283"/>
                </a:cubicBezTo>
                <a:cubicBezTo>
                  <a:pt x="423" y="291"/>
                  <a:pt x="423" y="291"/>
                  <a:pt x="431" y="298"/>
                </a:cubicBezTo>
                <a:cubicBezTo>
                  <a:pt x="439" y="298"/>
                  <a:pt x="455" y="306"/>
                  <a:pt x="455" y="298"/>
                </a:cubicBezTo>
                <a:lnTo>
                  <a:pt x="455" y="283"/>
                </a:lnTo>
                <a:cubicBezTo>
                  <a:pt x="455" y="283"/>
                  <a:pt x="447" y="283"/>
                  <a:pt x="455" y="275"/>
                </a:cubicBezTo>
                <a:lnTo>
                  <a:pt x="464" y="275"/>
                </a:lnTo>
                <a:cubicBezTo>
                  <a:pt x="480" y="283"/>
                  <a:pt x="472" y="283"/>
                  <a:pt x="480" y="291"/>
                </a:cubicBezTo>
                <a:lnTo>
                  <a:pt x="496" y="298"/>
                </a:lnTo>
                <a:lnTo>
                  <a:pt x="512" y="298"/>
                </a:lnTo>
                <a:cubicBezTo>
                  <a:pt x="521" y="298"/>
                  <a:pt x="512" y="291"/>
                  <a:pt x="529" y="306"/>
                </a:cubicBezTo>
                <a:cubicBezTo>
                  <a:pt x="537" y="314"/>
                  <a:pt x="537" y="314"/>
                  <a:pt x="545" y="314"/>
                </a:cubicBezTo>
                <a:cubicBezTo>
                  <a:pt x="553" y="322"/>
                  <a:pt x="569" y="314"/>
                  <a:pt x="569" y="314"/>
                </a:cubicBezTo>
                <a:cubicBezTo>
                  <a:pt x="569" y="314"/>
                  <a:pt x="569" y="306"/>
                  <a:pt x="577" y="322"/>
                </a:cubicBezTo>
                <a:cubicBezTo>
                  <a:pt x="586" y="338"/>
                  <a:pt x="594" y="338"/>
                  <a:pt x="594" y="338"/>
                </a:cubicBezTo>
                <a:cubicBezTo>
                  <a:pt x="594" y="345"/>
                  <a:pt x="602" y="353"/>
                  <a:pt x="602" y="353"/>
                </a:cubicBezTo>
                <a:lnTo>
                  <a:pt x="602" y="361"/>
                </a:lnTo>
                <a:cubicBezTo>
                  <a:pt x="602" y="361"/>
                  <a:pt x="602" y="369"/>
                  <a:pt x="610" y="369"/>
                </a:cubicBezTo>
                <a:lnTo>
                  <a:pt x="618" y="369"/>
                </a:lnTo>
                <a:lnTo>
                  <a:pt x="626" y="361"/>
                </a:lnTo>
                <a:lnTo>
                  <a:pt x="642" y="353"/>
                </a:lnTo>
                <a:cubicBezTo>
                  <a:pt x="642" y="353"/>
                  <a:pt x="642" y="345"/>
                  <a:pt x="659" y="353"/>
                </a:cubicBezTo>
                <a:cubicBezTo>
                  <a:pt x="667" y="353"/>
                  <a:pt x="683" y="361"/>
                  <a:pt x="683" y="361"/>
                </a:cubicBezTo>
                <a:lnTo>
                  <a:pt x="683" y="369"/>
                </a:lnTo>
                <a:lnTo>
                  <a:pt x="716" y="369"/>
                </a:lnTo>
                <a:lnTo>
                  <a:pt x="724" y="377"/>
                </a:lnTo>
                <a:lnTo>
                  <a:pt x="732" y="385"/>
                </a:lnTo>
                <a:cubicBezTo>
                  <a:pt x="732" y="393"/>
                  <a:pt x="740" y="408"/>
                  <a:pt x="740" y="408"/>
                </a:cubicBezTo>
                <a:lnTo>
                  <a:pt x="764" y="416"/>
                </a:lnTo>
                <a:lnTo>
                  <a:pt x="748" y="393"/>
                </a:lnTo>
                <a:cubicBezTo>
                  <a:pt x="748" y="393"/>
                  <a:pt x="732" y="377"/>
                  <a:pt x="748" y="377"/>
                </a:cubicBezTo>
                <a:cubicBezTo>
                  <a:pt x="764" y="377"/>
                  <a:pt x="773" y="369"/>
                  <a:pt x="773" y="369"/>
                </a:cubicBezTo>
                <a:lnTo>
                  <a:pt x="773" y="361"/>
                </a:lnTo>
                <a:lnTo>
                  <a:pt x="748" y="361"/>
                </a:lnTo>
                <a:lnTo>
                  <a:pt x="748" y="345"/>
                </a:lnTo>
                <a:cubicBezTo>
                  <a:pt x="756" y="345"/>
                  <a:pt x="764" y="330"/>
                  <a:pt x="781" y="330"/>
                </a:cubicBezTo>
                <a:cubicBezTo>
                  <a:pt x="797" y="330"/>
                  <a:pt x="813" y="322"/>
                  <a:pt x="813" y="322"/>
                </a:cubicBezTo>
                <a:cubicBezTo>
                  <a:pt x="813" y="322"/>
                  <a:pt x="813" y="314"/>
                  <a:pt x="829" y="314"/>
                </a:cubicBezTo>
                <a:lnTo>
                  <a:pt x="862" y="314"/>
                </a:lnTo>
                <a:cubicBezTo>
                  <a:pt x="870" y="314"/>
                  <a:pt x="870" y="314"/>
                  <a:pt x="870" y="306"/>
                </a:cubicBezTo>
                <a:cubicBezTo>
                  <a:pt x="870" y="298"/>
                  <a:pt x="862" y="298"/>
                  <a:pt x="878" y="291"/>
                </a:cubicBezTo>
                <a:cubicBezTo>
                  <a:pt x="886" y="291"/>
                  <a:pt x="894" y="283"/>
                  <a:pt x="894" y="283"/>
                </a:cubicBezTo>
                <a:lnTo>
                  <a:pt x="903" y="251"/>
                </a:lnTo>
                <a:lnTo>
                  <a:pt x="870" y="267"/>
                </a:lnTo>
                <a:cubicBezTo>
                  <a:pt x="870" y="267"/>
                  <a:pt x="870" y="251"/>
                  <a:pt x="862" y="251"/>
                </a:cubicBezTo>
                <a:cubicBezTo>
                  <a:pt x="854" y="251"/>
                  <a:pt x="829" y="267"/>
                  <a:pt x="829" y="267"/>
                </a:cubicBezTo>
                <a:cubicBezTo>
                  <a:pt x="829" y="267"/>
                  <a:pt x="829" y="259"/>
                  <a:pt x="821" y="259"/>
                </a:cubicBezTo>
                <a:cubicBezTo>
                  <a:pt x="821" y="251"/>
                  <a:pt x="821" y="251"/>
                  <a:pt x="813" y="251"/>
                </a:cubicBezTo>
                <a:cubicBezTo>
                  <a:pt x="805" y="251"/>
                  <a:pt x="813" y="251"/>
                  <a:pt x="797" y="243"/>
                </a:cubicBezTo>
                <a:cubicBezTo>
                  <a:pt x="781" y="236"/>
                  <a:pt x="772" y="220"/>
                  <a:pt x="772" y="220"/>
                </a:cubicBezTo>
                <a:cubicBezTo>
                  <a:pt x="772" y="220"/>
                  <a:pt x="781" y="220"/>
                  <a:pt x="764" y="220"/>
                </a:cubicBezTo>
                <a:lnTo>
                  <a:pt x="756" y="212"/>
                </a:lnTo>
                <a:cubicBezTo>
                  <a:pt x="748" y="204"/>
                  <a:pt x="748" y="204"/>
                  <a:pt x="764" y="196"/>
                </a:cubicBezTo>
                <a:cubicBezTo>
                  <a:pt x="772" y="189"/>
                  <a:pt x="764" y="189"/>
                  <a:pt x="781" y="181"/>
                </a:cubicBezTo>
                <a:cubicBezTo>
                  <a:pt x="789" y="173"/>
                  <a:pt x="781" y="165"/>
                  <a:pt x="797" y="173"/>
                </a:cubicBezTo>
                <a:cubicBezTo>
                  <a:pt x="821" y="181"/>
                  <a:pt x="821" y="181"/>
                  <a:pt x="829" y="189"/>
                </a:cubicBezTo>
                <a:cubicBezTo>
                  <a:pt x="838" y="189"/>
                  <a:pt x="870" y="189"/>
                  <a:pt x="854" y="181"/>
                </a:cubicBezTo>
                <a:cubicBezTo>
                  <a:pt x="846" y="173"/>
                  <a:pt x="829" y="165"/>
                  <a:pt x="829" y="157"/>
                </a:cubicBezTo>
                <a:cubicBezTo>
                  <a:pt x="829" y="157"/>
                  <a:pt x="813" y="157"/>
                  <a:pt x="829" y="157"/>
                </a:cubicBezTo>
                <a:cubicBezTo>
                  <a:pt x="838" y="157"/>
                  <a:pt x="846" y="149"/>
                  <a:pt x="854" y="157"/>
                </a:cubicBezTo>
                <a:cubicBezTo>
                  <a:pt x="854" y="157"/>
                  <a:pt x="838" y="157"/>
                  <a:pt x="862" y="157"/>
                </a:cubicBezTo>
                <a:cubicBezTo>
                  <a:pt x="886" y="157"/>
                  <a:pt x="894" y="157"/>
                  <a:pt x="878" y="149"/>
                </a:cubicBezTo>
                <a:cubicBezTo>
                  <a:pt x="870" y="141"/>
                  <a:pt x="870" y="141"/>
                  <a:pt x="862" y="134"/>
                </a:cubicBezTo>
                <a:cubicBezTo>
                  <a:pt x="862" y="126"/>
                  <a:pt x="854" y="126"/>
                  <a:pt x="862" y="126"/>
                </a:cubicBezTo>
                <a:cubicBezTo>
                  <a:pt x="862" y="118"/>
                  <a:pt x="862" y="126"/>
                  <a:pt x="870" y="118"/>
                </a:cubicBezTo>
                <a:lnTo>
                  <a:pt x="870" y="102"/>
                </a:lnTo>
                <a:cubicBezTo>
                  <a:pt x="870" y="102"/>
                  <a:pt x="862" y="102"/>
                  <a:pt x="870" y="94"/>
                </a:cubicBezTo>
                <a:cubicBezTo>
                  <a:pt x="886" y="79"/>
                  <a:pt x="886" y="79"/>
                  <a:pt x="894" y="79"/>
                </a:cubicBezTo>
                <a:cubicBezTo>
                  <a:pt x="894" y="79"/>
                  <a:pt x="903" y="71"/>
                  <a:pt x="911" y="71"/>
                </a:cubicBezTo>
                <a:cubicBezTo>
                  <a:pt x="911" y="63"/>
                  <a:pt x="919" y="47"/>
                  <a:pt x="919" y="47"/>
                </a:cubicBezTo>
                <a:lnTo>
                  <a:pt x="951" y="47"/>
                </a:lnTo>
                <a:cubicBezTo>
                  <a:pt x="951" y="55"/>
                  <a:pt x="951" y="39"/>
                  <a:pt x="951" y="39"/>
                </a:cubicBezTo>
                <a:lnTo>
                  <a:pt x="960" y="39"/>
                </a:lnTo>
                <a:lnTo>
                  <a:pt x="968" y="47"/>
                </a:lnTo>
                <a:cubicBezTo>
                  <a:pt x="976" y="55"/>
                  <a:pt x="984" y="47"/>
                  <a:pt x="984" y="47"/>
                </a:cubicBezTo>
                <a:cubicBezTo>
                  <a:pt x="984" y="47"/>
                  <a:pt x="992" y="39"/>
                  <a:pt x="1000" y="39"/>
                </a:cubicBezTo>
                <a:lnTo>
                  <a:pt x="1016" y="39"/>
                </a:lnTo>
                <a:lnTo>
                  <a:pt x="1016" y="55"/>
                </a:lnTo>
                <a:cubicBezTo>
                  <a:pt x="1025" y="55"/>
                  <a:pt x="1033" y="63"/>
                  <a:pt x="1033" y="63"/>
                </a:cubicBezTo>
                <a:cubicBezTo>
                  <a:pt x="1033" y="63"/>
                  <a:pt x="1049" y="63"/>
                  <a:pt x="1049" y="55"/>
                </a:cubicBezTo>
                <a:cubicBezTo>
                  <a:pt x="1049" y="55"/>
                  <a:pt x="1041" y="55"/>
                  <a:pt x="1057" y="47"/>
                </a:cubicBezTo>
                <a:cubicBezTo>
                  <a:pt x="1073" y="32"/>
                  <a:pt x="1082" y="32"/>
                  <a:pt x="1082" y="32"/>
                </a:cubicBezTo>
                <a:cubicBezTo>
                  <a:pt x="1082" y="32"/>
                  <a:pt x="1082" y="24"/>
                  <a:pt x="1090" y="24"/>
                </a:cubicBezTo>
                <a:cubicBezTo>
                  <a:pt x="1098" y="32"/>
                  <a:pt x="1098" y="24"/>
                  <a:pt x="1098" y="32"/>
                </a:cubicBezTo>
                <a:lnTo>
                  <a:pt x="1106" y="39"/>
                </a:lnTo>
                <a:lnTo>
                  <a:pt x="1106" y="63"/>
                </a:lnTo>
                <a:lnTo>
                  <a:pt x="1106" y="71"/>
                </a:lnTo>
                <a:lnTo>
                  <a:pt x="1106" y="79"/>
                </a:lnTo>
                <a:cubicBezTo>
                  <a:pt x="1106" y="87"/>
                  <a:pt x="1114" y="102"/>
                  <a:pt x="1114" y="102"/>
                </a:cubicBezTo>
                <a:cubicBezTo>
                  <a:pt x="1106" y="110"/>
                  <a:pt x="1106" y="102"/>
                  <a:pt x="1106" y="110"/>
                </a:cubicBezTo>
                <a:cubicBezTo>
                  <a:pt x="1098" y="118"/>
                  <a:pt x="1106" y="118"/>
                  <a:pt x="1098" y="126"/>
                </a:cubicBezTo>
                <a:lnTo>
                  <a:pt x="1090" y="126"/>
                </a:lnTo>
                <a:lnTo>
                  <a:pt x="1098" y="134"/>
                </a:lnTo>
                <a:lnTo>
                  <a:pt x="1106" y="134"/>
                </a:lnTo>
                <a:cubicBezTo>
                  <a:pt x="1106" y="134"/>
                  <a:pt x="1106" y="126"/>
                  <a:pt x="1114" y="126"/>
                </a:cubicBezTo>
                <a:cubicBezTo>
                  <a:pt x="1114" y="134"/>
                  <a:pt x="1114" y="118"/>
                  <a:pt x="1114" y="118"/>
                </a:cubicBezTo>
                <a:lnTo>
                  <a:pt x="1122" y="110"/>
                </a:lnTo>
                <a:cubicBezTo>
                  <a:pt x="1122" y="110"/>
                  <a:pt x="1130" y="102"/>
                  <a:pt x="1130" y="94"/>
                </a:cubicBezTo>
                <a:lnTo>
                  <a:pt x="1122" y="87"/>
                </a:lnTo>
                <a:cubicBezTo>
                  <a:pt x="1122" y="87"/>
                  <a:pt x="1114" y="71"/>
                  <a:pt x="1114" y="63"/>
                </a:cubicBezTo>
                <a:lnTo>
                  <a:pt x="1114" y="55"/>
                </a:lnTo>
                <a:cubicBezTo>
                  <a:pt x="1122" y="55"/>
                  <a:pt x="1122" y="47"/>
                  <a:pt x="1122" y="47"/>
                </a:cubicBezTo>
                <a:cubicBezTo>
                  <a:pt x="1130" y="39"/>
                  <a:pt x="1138" y="32"/>
                  <a:pt x="1138" y="32"/>
                </a:cubicBezTo>
                <a:lnTo>
                  <a:pt x="1163" y="32"/>
                </a:lnTo>
                <a:cubicBezTo>
                  <a:pt x="1163" y="32"/>
                  <a:pt x="1155" y="24"/>
                  <a:pt x="1171" y="32"/>
                </a:cubicBezTo>
                <a:lnTo>
                  <a:pt x="1179" y="39"/>
                </a:lnTo>
                <a:cubicBezTo>
                  <a:pt x="1179" y="47"/>
                  <a:pt x="1171" y="47"/>
                  <a:pt x="1187" y="47"/>
                </a:cubicBezTo>
                <a:cubicBezTo>
                  <a:pt x="1195" y="47"/>
                  <a:pt x="1204" y="47"/>
                  <a:pt x="1195" y="47"/>
                </a:cubicBezTo>
                <a:cubicBezTo>
                  <a:pt x="1187" y="39"/>
                  <a:pt x="1187" y="32"/>
                  <a:pt x="1179" y="32"/>
                </a:cubicBezTo>
                <a:lnTo>
                  <a:pt x="1171" y="24"/>
                </a:lnTo>
                <a:cubicBezTo>
                  <a:pt x="1171" y="16"/>
                  <a:pt x="1171" y="0"/>
                  <a:pt x="1179" y="8"/>
                </a:cubicBezTo>
                <a:cubicBezTo>
                  <a:pt x="1187" y="8"/>
                  <a:pt x="1179" y="0"/>
                  <a:pt x="1187" y="8"/>
                </a:cubicBezTo>
                <a:cubicBezTo>
                  <a:pt x="1204" y="24"/>
                  <a:pt x="1212" y="32"/>
                  <a:pt x="1212" y="32"/>
                </a:cubicBezTo>
                <a:cubicBezTo>
                  <a:pt x="1212" y="39"/>
                  <a:pt x="1220" y="39"/>
                  <a:pt x="1220" y="39"/>
                </a:cubicBezTo>
                <a:lnTo>
                  <a:pt x="1220" y="47"/>
                </a:lnTo>
                <a:cubicBezTo>
                  <a:pt x="1228" y="55"/>
                  <a:pt x="1236" y="63"/>
                  <a:pt x="1236" y="63"/>
                </a:cubicBezTo>
                <a:lnTo>
                  <a:pt x="1244" y="63"/>
                </a:lnTo>
                <a:cubicBezTo>
                  <a:pt x="1244" y="71"/>
                  <a:pt x="1260" y="79"/>
                  <a:pt x="1260" y="79"/>
                </a:cubicBezTo>
                <a:lnTo>
                  <a:pt x="1269" y="87"/>
                </a:lnTo>
                <a:cubicBezTo>
                  <a:pt x="1260" y="94"/>
                  <a:pt x="1260" y="102"/>
                  <a:pt x="1260" y="102"/>
                </a:cubicBezTo>
                <a:lnTo>
                  <a:pt x="1244" y="126"/>
                </a:lnTo>
                <a:lnTo>
                  <a:pt x="1236" y="141"/>
                </a:lnTo>
                <a:lnTo>
                  <a:pt x="1236" y="149"/>
                </a:lnTo>
                <a:cubicBezTo>
                  <a:pt x="1228" y="157"/>
                  <a:pt x="1228" y="165"/>
                  <a:pt x="1228" y="165"/>
                </a:cubicBezTo>
                <a:cubicBezTo>
                  <a:pt x="1228" y="165"/>
                  <a:pt x="1220" y="173"/>
                  <a:pt x="1204" y="173"/>
                </a:cubicBezTo>
                <a:cubicBezTo>
                  <a:pt x="1187" y="165"/>
                  <a:pt x="1171" y="181"/>
                  <a:pt x="1171" y="181"/>
                </a:cubicBezTo>
                <a:cubicBezTo>
                  <a:pt x="1171" y="181"/>
                  <a:pt x="1130" y="173"/>
                  <a:pt x="1122" y="173"/>
                </a:cubicBezTo>
                <a:cubicBezTo>
                  <a:pt x="1114" y="173"/>
                  <a:pt x="1114" y="204"/>
                  <a:pt x="1114" y="212"/>
                </a:cubicBezTo>
                <a:cubicBezTo>
                  <a:pt x="1114" y="220"/>
                  <a:pt x="1098" y="228"/>
                  <a:pt x="1073" y="228"/>
                </a:cubicBezTo>
                <a:cubicBezTo>
                  <a:pt x="1049" y="236"/>
                  <a:pt x="1065" y="236"/>
                  <a:pt x="1057" y="259"/>
                </a:cubicBezTo>
                <a:cubicBezTo>
                  <a:pt x="1049" y="291"/>
                  <a:pt x="1041" y="267"/>
                  <a:pt x="1025" y="259"/>
                </a:cubicBezTo>
                <a:lnTo>
                  <a:pt x="984" y="259"/>
                </a:lnTo>
                <a:cubicBezTo>
                  <a:pt x="960" y="267"/>
                  <a:pt x="976" y="283"/>
                  <a:pt x="976" y="283"/>
                </a:cubicBezTo>
                <a:cubicBezTo>
                  <a:pt x="976" y="283"/>
                  <a:pt x="992" y="298"/>
                  <a:pt x="1000" y="298"/>
                </a:cubicBezTo>
                <a:cubicBezTo>
                  <a:pt x="1017" y="306"/>
                  <a:pt x="1000" y="322"/>
                  <a:pt x="1000" y="322"/>
                </a:cubicBezTo>
                <a:cubicBezTo>
                  <a:pt x="1000" y="322"/>
                  <a:pt x="992" y="338"/>
                  <a:pt x="984" y="338"/>
                </a:cubicBezTo>
                <a:cubicBezTo>
                  <a:pt x="976" y="330"/>
                  <a:pt x="935" y="330"/>
                  <a:pt x="935" y="330"/>
                </a:cubicBezTo>
                <a:lnTo>
                  <a:pt x="895" y="353"/>
                </a:lnTo>
                <a:cubicBezTo>
                  <a:pt x="895" y="353"/>
                  <a:pt x="903" y="385"/>
                  <a:pt x="927" y="416"/>
                </a:cubicBezTo>
                <a:cubicBezTo>
                  <a:pt x="951" y="447"/>
                  <a:pt x="927" y="424"/>
                  <a:pt x="927" y="424"/>
                </a:cubicBezTo>
                <a:cubicBezTo>
                  <a:pt x="927" y="424"/>
                  <a:pt x="935" y="447"/>
                  <a:pt x="935" y="463"/>
                </a:cubicBezTo>
                <a:cubicBezTo>
                  <a:pt x="935" y="479"/>
                  <a:pt x="935" y="471"/>
                  <a:pt x="943" y="471"/>
                </a:cubicBezTo>
                <a:lnTo>
                  <a:pt x="968" y="471"/>
                </a:lnTo>
                <a:lnTo>
                  <a:pt x="1000" y="518"/>
                </a:lnTo>
                <a:cubicBezTo>
                  <a:pt x="1008" y="518"/>
                  <a:pt x="1049" y="510"/>
                  <a:pt x="1049" y="510"/>
                </a:cubicBezTo>
                <a:cubicBezTo>
                  <a:pt x="1049" y="510"/>
                  <a:pt x="1082" y="502"/>
                  <a:pt x="1098" y="502"/>
                </a:cubicBezTo>
                <a:cubicBezTo>
                  <a:pt x="1114" y="495"/>
                  <a:pt x="1098" y="479"/>
                  <a:pt x="1098" y="479"/>
                </a:cubicBezTo>
                <a:lnTo>
                  <a:pt x="1114" y="440"/>
                </a:lnTo>
                <a:lnTo>
                  <a:pt x="1163" y="432"/>
                </a:lnTo>
                <a:lnTo>
                  <a:pt x="1187" y="479"/>
                </a:lnTo>
                <a:lnTo>
                  <a:pt x="1179" y="510"/>
                </a:lnTo>
                <a:lnTo>
                  <a:pt x="1220" y="550"/>
                </a:lnTo>
                <a:lnTo>
                  <a:pt x="1228" y="589"/>
                </a:lnTo>
                <a:cubicBezTo>
                  <a:pt x="1228" y="589"/>
                  <a:pt x="1269" y="597"/>
                  <a:pt x="1277" y="604"/>
                </a:cubicBezTo>
                <a:cubicBezTo>
                  <a:pt x="1285" y="604"/>
                  <a:pt x="1309" y="597"/>
                  <a:pt x="1309" y="597"/>
                </a:cubicBezTo>
                <a:lnTo>
                  <a:pt x="1342" y="636"/>
                </a:lnTo>
                <a:lnTo>
                  <a:pt x="1350" y="628"/>
                </a:lnTo>
                <a:lnTo>
                  <a:pt x="1350" y="636"/>
                </a:lnTo>
                <a:cubicBezTo>
                  <a:pt x="1350" y="636"/>
                  <a:pt x="1350" y="652"/>
                  <a:pt x="1342" y="652"/>
                </a:cubicBezTo>
                <a:cubicBezTo>
                  <a:pt x="1325" y="644"/>
                  <a:pt x="1317" y="644"/>
                  <a:pt x="1317" y="644"/>
                </a:cubicBezTo>
                <a:lnTo>
                  <a:pt x="1293" y="628"/>
                </a:lnTo>
                <a:lnTo>
                  <a:pt x="1285" y="636"/>
                </a:lnTo>
                <a:lnTo>
                  <a:pt x="1260" y="667"/>
                </a:lnTo>
                <a:lnTo>
                  <a:pt x="1277" y="675"/>
                </a:lnTo>
                <a:lnTo>
                  <a:pt x="1293" y="691"/>
                </a:lnTo>
                <a:lnTo>
                  <a:pt x="1293" y="714"/>
                </a:lnTo>
                <a:lnTo>
                  <a:pt x="1293" y="746"/>
                </a:lnTo>
                <a:lnTo>
                  <a:pt x="1277" y="769"/>
                </a:lnTo>
                <a:cubicBezTo>
                  <a:pt x="1277" y="769"/>
                  <a:pt x="1285" y="785"/>
                  <a:pt x="1285" y="793"/>
                </a:cubicBezTo>
                <a:lnTo>
                  <a:pt x="1301" y="808"/>
                </a:lnTo>
                <a:lnTo>
                  <a:pt x="1317" y="824"/>
                </a:lnTo>
                <a:lnTo>
                  <a:pt x="1301" y="863"/>
                </a:lnTo>
                <a:lnTo>
                  <a:pt x="1285" y="879"/>
                </a:lnTo>
                <a:lnTo>
                  <a:pt x="1285" y="895"/>
                </a:lnTo>
                <a:cubicBezTo>
                  <a:pt x="1285" y="895"/>
                  <a:pt x="1301" y="903"/>
                  <a:pt x="1293" y="903"/>
                </a:cubicBezTo>
                <a:lnTo>
                  <a:pt x="1269" y="903"/>
                </a:lnTo>
                <a:lnTo>
                  <a:pt x="1269" y="918"/>
                </a:lnTo>
                <a:lnTo>
                  <a:pt x="1277" y="934"/>
                </a:lnTo>
                <a:cubicBezTo>
                  <a:pt x="1277" y="934"/>
                  <a:pt x="1285" y="934"/>
                  <a:pt x="1285" y="941"/>
                </a:cubicBezTo>
                <a:cubicBezTo>
                  <a:pt x="1285" y="949"/>
                  <a:pt x="1277" y="964"/>
                  <a:pt x="1277" y="964"/>
                </a:cubicBezTo>
                <a:lnTo>
                  <a:pt x="1269" y="996"/>
                </a:lnTo>
                <a:cubicBezTo>
                  <a:pt x="1277" y="996"/>
                  <a:pt x="1277" y="1011"/>
                  <a:pt x="1277" y="1011"/>
                </a:cubicBezTo>
                <a:lnTo>
                  <a:pt x="1277" y="1043"/>
                </a:lnTo>
                <a:lnTo>
                  <a:pt x="1269" y="1066"/>
                </a:lnTo>
                <a:lnTo>
                  <a:pt x="1277" y="1082"/>
                </a:lnTo>
                <a:lnTo>
                  <a:pt x="1252" y="1098"/>
                </a:lnTo>
                <a:lnTo>
                  <a:pt x="1244" y="1113"/>
                </a:lnTo>
                <a:cubicBezTo>
                  <a:pt x="1244" y="1113"/>
                  <a:pt x="1228" y="1121"/>
                  <a:pt x="1228" y="1129"/>
                </a:cubicBezTo>
                <a:cubicBezTo>
                  <a:pt x="1228" y="1129"/>
                  <a:pt x="1220" y="1137"/>
                  <a:pt x="1220" y="1145"/>
                </a:cubicBezTo>
                <a:cubicBezTo>
                  <a:pt x="1220" y="1153"/>
                  <a:pt x="1212" y="1161"/>
                  <a:pt x="1212" y="1161"/>
                </a:cubicBezTo>
                <a:cubicBezTo>
                  <a:pt x="1204" y="1168"/>
                  <a:pt x="1187" y="1184"/>
                  <a:pt x="1187" y="1184"/>
                </a:cubicBezTo>
                <a:lnTo>
                  <a:pt x="1179" y="1200"/>
                </a:lnTo>
                <a:lnTo>
                  <a:pt x="1187" y="1215"/>
                </a:lnTo>
                <a:lnTo>
                  <a:pt x="1187" y="1223"/>
                </a:lnTo>
                <a:lnTo>
                  <a:pt x="1171" y="1239"/>
                </a:lnTo>
                <a:lnTo>
                  <a:pt x="1130" y="1270"/>
                </a:lnTo>
                <a:cubicBezTo>
                  <a:pt x="1130" y="1270"/>
                  <a:pt x="1130" y="1278"/>
                  <a:pt x="1122" y="1286"/>
                </a:cubicBezTo>
                <a:cubicBezTo>
                  <a:pt x="1122" y="1302"/>
                  <a:pt x="1114" y="1302"/>
                  <a:pt x="1114" y="1302"/>
                </a:cubicBezTo>
                <a:lnTo>
                  <a:pt x="1098" y="1302"/>
                </a:lnTo>
                <a:lnTo>
                  <a:pt x="1090" y="1294"/>
                </a:lnTo>
                <a:lnTo>
                  <a:pt x="1090" y="1310"/>
                </a:lnTo>
                <a:cubicBezTo>
                  <a:pt x="1090" y="1310"/>
                  <a:pt x="1090" y="1317"/>
                  <a:pt x="1098" y="1317"/>
                </a:cubicBezTo>
                <a:cubicBezTo>
                  <a:pt x="1106" y="1325"/>
                  <a:pt x="1106" y="1333"/>
                  <a:pt x="1114" y="1333"/>
                </a:cubicBezTo>
                <a:cubicBezTo>
                  <a:pt x="1114" y="1341"/>
                  <a:pt x="1122" y="1349"/>
                  <a:pt x="1122" y="1349"/>
                </a:cubicBezTo>
                <a:lnTo>
                  <a:pt x="1106" y="1365"/>
                </a:lnTo>
                <a:lnTo>
                  <a:pt x="1106" y="1372"/>
                </a:lnTo>
                <a:lnTo>
                  <a:pt x="1090" y="1372"/>
                </a:lnTo>
                <a:lnTo>
                  <a:pt x="1082" y="1365"/>
                </a:lnTo>
                <a:lnTo>
                  <a:pt x="1073" y="1365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26" name="Freeform 118">
            <a:extLst>
              <a:ext uri="{FF2B5EF4-FFF2-40B4-BE49-F238E27FC236}">
                <a16:creationId xmlns:a16="http://schemas.microsoft.com/office/drawing/2014/main" id="{B876767E-245E-287B-B9A1-24AB9338B6A3}"/>
              </a:ext>
            </a:extLst>
          </p:cNvPr>
          <p:cNvSpPr>
            <a:spLocks noChangeArrowheads="1"/>
          </p:cNvSpPr>
          <p:nvPr>
            <p:custDataLst>
              <p:tags r:id="rId118"/>
            </p:custDataLst>
          </p:nvPr>
        </p:nvSpPr>
        <p:spPr bwMode="auto">
          <a:xfrm>
            <a:off x="4310723" y="5080463"/>
            <a:ext cx="594079" cy="901986"/>
          </a:xfrm>
          <a:custGeom>
            <a:avLst/>
            <a:gdLst>
              <a:gd name="T0" fmla="*/ 681 w 1445"/>
              <a:gd name="T1" fmla="*/ 24 h 2198"/>
              <a:gd name="T2" fmla="*/ 811 w 1445"/>
              <a:gd name="T3" fmla="*/ 8 h 2198"/>
              <a:gd name="T4" fmla="*/ 868 w 1445"/>
              <a:gd name="T5" fmla="*/ 71 h 2198"/>
              <a:gd name="T6" fmla="*/ 827 w 1445"/>
              <a:gd name="T7" fmla="*/ 142 h 2198"/>
              <a:gd name="T8" fmla="*/ 925 w 1445"/>
              <a:gd name="T9" fmla="*/ 118 h 2198"/>
              <a:gd name="T10" fmla="*/ 998 w 1445"/>
              <a:gd name="T11" fmla="*/ 150 h 2198"/>
              <a:gd name="T12" fmla="*/ 1038 w 1445"/>
              <a:gd name="T13" fmla="*/ 174 h 2198"/>
              <a:gd name="T14" fmla="*/ 1152 w 1445"/>
              <a:gd name="T15" fmla="*/ 190 h 2198"/>
              <a:gd name="T16" fmla="*/ 1217 w 1445"/>
              <a:gd name="T17" fmla="*/ 174 h 2198"/>
              <a:gd name="T18" fmla="*/ 1290 w 1445"/>
              <a:gd name="T19" fmla="*/ 182 h 2198"/>
              <a:gd name="T20" fmla="*/ 1355 w 1445"/>
              <a:gd name="T21" fmla="*/ 229 h 2198"/>
              <a:gd name="T22" fmla="*/ 1339 w 1445"/>
              <a:gd name="T23" fmla="*/ 300 h 2198"/>
              <a:gd name="T24" fmla="*/ 1387 w 1445"/>
              <a:gd name="T25" fmla="*/ 340 h 2198"/>
              <a:gd name="T26" fmla="*/ 1395 w 1445"/>
              <a:gd name="T27" fmla="*/ 442 h 2198"/>
              <a:gd name="T28" fmla="*/ 1306 w 1445"/>
              <a:gd name="T29" fmla="*/ 506 h 2198"/>
              <a:gd name="T30" fmla="*/ 1209 w 1445"/>
              <a:gd name="T31" fmla="*/ 545 h 2198"/>
              <a:gd name="T32" fmla="*/ 1144 w 1445"/>
              <a:gd name="T33" fmla="*/ 601 h 2198"/>
              <a:gd name="T34" fmla="*/ 1144 w 1445"/>
              <a:gd name="T35" fmla="*/ 680 h 2198"/>
              <a:gd name="T36" fmla="*/ 1119 w 1445"/>
              <a:gd name="T37" fmla="*/ 774 h 2198"/>
              <a:gd name="T38" fmla="*/ 1119 w 1445"/>
              <a:gd name="T39" fmla="*/ 861 h 2198"/>
              <a:gd name="T40" fmla="*/ 1055 w 1445"/>
              <a:gd name="T41" fmla="*/ 901 h 2198"/>
              <a:gd name="T42" fmla="*/ 1030 w 1445"/>
              <a:gd name="T43" fmla="*/ 956 h 2198"/>
              <a:gd name="T44" fmla="*/ 1030 w 1445"/>
              <a:gd name="T45" fmla="*/ 1059 h 2198"/>
              <a:gd name="T46" fmla="*/ 990 w 1445"/>
              <a:gd name="T47" fmla="*/ 1114 h 2198"/>
              <a:gd name="T48" fmla="*/ 933 w 1445"/>
              <a:gd name="T49" fmla="*/ 1138 h 2198"/>
              <a:gd name="T50" fmla="*/ 844 w 1445"/>
              <a:gd name="T51" fmla="*/ 1130 h 2198"/>
              <a:gd name="T52" fmla="*/ 803 w 1445"/>
              <a:gd name="T53" fmla="*/ 1130 h 2198"/>
              <a:gd name="T54" fmla="*/ 852 w 1445"/>
              <a:gd name="T55" fmla="*/ 1209 h 2198"/>
              <a:gd name="T56" fmla="*/ 852 w 1445"/>
              <a:gd name="T57" fmla="*/ 1280 h 2198"/>
              <a:gd name="T58" fmla="*/ 876 w 1445"/>
              <a:gd name="T59" fmla="*/ 1344 h 2198"/>
              <a:gd name="T60" fmla="*/ 909 w 1445"/>
              <a:gd name="T61" fmla="*/ 1375 h 2198"/>
              <a:gd name="T62" fmla="*/ 884 w 1445"/>
              <a:gd name="T63" fmla="*/ 1462 h 2198"/>
              <a:gd name="T64" fmla="*/ 827 w 1445"/>
              <a:gd name="T65" fmla="*/ 1510 h 2198"/>
              <a:gd name="T66" fmla="*/ 771 w 1445"/>
              <a:gd name="T67" fmla="*/ 1589 h 2198"/>
              <a:gd name="T68" fmla="*/ 738 w 1445"/>
              <a:gd name="T69" fmla="*/ 1644 h 2198"/>
              <a:gd name="T70" fmla="*/ 779 w 1445"/>
              <a:gd name="T71" fmla="*/ 1747 h 2198"/>
              <a:gd name="T72" fmla="*/ 811 w 1445"/>
              <a:gd name="T73" fmla="*/ 1818 h 2198"/>
              <a:gd name="T74" fmla="*/ 754 w 1445"/>
              <a:gd name="T75" fmla="*/ 1842 h 2198"/>
              <a:gd name="T76" fmla="*/ 665 w 1445"/>
              <a:gd name="T77" fmla="*/ 1905 h 2198"/>
              <a:gd name="T78" fmla="*/ 576 w 1445"/>
              <a:gd name="T79" fmla="*/ 1992 h 2198"/>
              <a:gd name="T80" fmla="*/ 584 w 1445"/>
              <a:gd name="T81" fmla="*/ 2095 h 2198"/>
              <a:gd name="T82" fmla="*/ 527 w 1445"/>
              <a:gd name="T83" fmla="*/ 2166 h 2198"/>
              <a:gd name="T84" fmla="*/ 341 w 1445"/>
              <a:gd name="T85" fmla="*/ 2181 h 2198"/>
              <a:gd name="T86" fmla="*/ 227 w 1445"/>
              <a:gd name="T87" fmla="*/ 2118 h 2198"/>
              <a:gd name="T88" fmla="*/ 105 w 1445"/>
              <a:gd name="T89" fmla="*/ 2095 h 2198"/>
              <a:gd name="T90" fmla="*/ 16 w 1445"/>
              <a:gd name="T91" fmla="*/ 2087 h 2198"/>
              <a:gd name="T92" fmla="*/ 97 w 1445"/>
              <a:gd name="T93" fmla="*/ 1960 h 2198"/>
              <a:gd name="T94" fmla="*/ 154 w 1445"/>
              <a:gd name="T95" fmla="*/ 1802 h 2198"/>
              <a:gd name="T96" fmla="*/ 219 w 1445"/>
              <a:gd name="T97" fmla="*/ 1612 h 2198"/>
              <a:gd name="T98" fmla="*/ 186 w 1445"/>
              <a:gd name="T99" fmla="*/ 1486 h 2198"/>
              <a:gd name="T100" fmla="*/ 113 w 1445"/>
              <a:gd name="T101" fmla="*/ 1462 h 2198"/>
              <a:gd name="T102" fmla="*/ 89 w 1445"/>
              <a:gd name="T103" fmla="*/ 1367 h 2198"/>
              <a:gd name="T104" fmla="*/ 40 w 1445"/>
              <a:gd name="T105" fmla="*/ 1320 h 2198"/>
              <a:gd name="T106" fmla="*/ 97 w 1445"/>
              <a:gd name="T107" fmla="*/ 1201 h 2198"/>
              <a:gd name="T108" fmla="*/ 146 w 1445"/>
              <a:gd name="T109" fmla="*/ 1091 h 2198"/>
              <a:gd name="T110" fmla="*/ 211 w 1445"/>
              <a:gd name="T111" fmla="*/ 1051 h 2198"/>
              <a:gd name="T112" fmla="*/ 276 w 1445"/>
              <a:gd name="T113" fmla="*/ 988 h 2198"/>
              <a:gd name="T114" fmla="*/ 462 w 1445"/>
              <a:gd name="T115" fmla="*/ 672 h 2198"/>
              <a:gd name="T116" fmla="*/ 568 w 1445"/>
              <a:gd name="T117" fmla="*/ 253 h 2198"/>
              <a:gd name="T118" fmla="*/ 584 w 1445"/>
              <a:gd name="T119" fmla="*/ 126 h 2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45" h="2198">
                <a:moveTo>
                  <a:pt x="600" y="71"/>
                </a:moveTo>
                <a:lnTo>
                  <a:pt x="633" y="47"/>
                </a:lnTo>
                <a:lnTo>
                  <a:pt x="641" y="39"/>
                </a:lnTo>
                <a:lnTo>
                  <a:pt x="665" y="39"/>
                </a:lnTo>
                <a:lnTo>
                  <a:pt x="673" y="31"/>
                </a:lnTo>
                <a:lnTo>
                  <a:pt x="681" y="24"/>
                </a:lnTo>
                <a:lnTo>
                  <a:pt x="698" y="16"/>
                </a:lnTo>
                <a:lnTo>
                  <a:pt x="722" y="16"/>
                </a:lnTo>
                <a:lnTo>
                  <a:pt x="754" y="8"/>
                </a:lnTo>
                <a:cubicBezTo>
                  <a:pt x="754" y="8"/>
                  <a:pt x="763" y="16"/>
                  <a:pt x="771" y="16"/>
                </a:cubicBezTo>
                <a:lnTo>
                  <a:pt x="787" y="16"/>
                </a:lnTo>
                <a:cubicBezTo>
                  <a:pt x="795" y="16"/>
                  <a:pt x="811" y="8"/>
                  <a:pt x="811" y="8"/>
                </a:cubicBezTo>
                <a:lnTo>
                  <a:pt x="844" y="0"/>
                </a:lnTo>
                <a:lnTo>
                  <a:pt x="852" y="16"/>
                </a:lnTo>
                <a:lnTo>
                  <a:pt x="852" y="31"/>
                </a:lnTo>
                <a:cubicBezTo>
                  <a:pt x="852" y="31"/>
                  <a:pt x="852" y="39"/>
                  <a:pt x="860" y="39"/>
                </a:cubicBezTo>
                <a:lnTo>
                  <a:pt x="868" y="39"/>
                </a:lnTo>
                <a:lnTo>
                  <a:pt x="868" y="71"/>
                </a:lnTo>
                <a:lnTo>
                  <a:pt x="844" y="79"/>
                </a:lnTo>
                <a:cubicBezTo>
                  <a:pt x="844" y="79"/>
                  <a:pt x="836" y="79"/>
                  <a:pt x="836" y="87"/>
                </a:cubicBezTo>
                <a:lnTo>
                  <a:pt x="819" y="95"/>
                </a:lnTo>
                <a:cubicBezTo>
                  <a:pt x="819" y="103"/>
                  <a:pt x="811" y="103"/>
                  <a:pt x="819" y="110"/>
                </a:cubicBezTo>
                <a:cubicBezTo>
                  <a:pt x="819" y="118"/>
                  <a:pt x="827" y="126"/>
                  <a:pt x="827" y="126"/>
                </a:cubicBezTo>
                <a:lnTo>
                  <a:pt x="827" y="142"/>
                </a:lnTo>
                <a:cubicBezTo>
                  <a:pt x="827" y="142"/>
                  <a:pt x="827" y="150"/>
                  <a:pt x="836" y="150"/>
                </a:cubicBezTo>
                <a:cubicBezTo>
                  <a:pt x="836" y="158"/>
                  <a:pt x="844" y="150"/>
                  <a:pt x="852" y="150"/>
                </a:cubicBezTo>
                <a:cubicBezTo>
                  <a:pt x="868" y="150"/>
                  <a:pt x="876" y="142"/>
                  <a:pt x="884" y="142"/>
                </a:cubicBezTo>
                <a:lnTo>
                  <a:pt x="892" y="142"/>
                </a:lnTo>
                <a:cubicBezTo>
                  <a:pt x="900" y="134"/>
                  <a:pt x="917" y="126"/>
                  <a:pt x="917" y="126"/>
                </a:cubicBezTo>
                <a:cubicBezTo>
                  <a:pt x="917" y="126"/>
                  <a:pt x="917" y="110"/>
                  <a:pt x="925" y="118"/>
                </a:cubicBezTo>
                <a:lnTo>
                  <a:pt x="925" y="134"/>
                </a:lnTo>
                <a:lnTo>
                  <a:pt x="917" y="150"/>
                </a:lnTo>
                <a:cubicBezTo>
                  <a:pt x="925" y="158"/>
                  <a:pt x="933" y="150"/>
                  <a:pt x="933" y="150"/>
                </a:cubicBezTo>
                <a:cubicBezTo>
                  <a:pt x="941" y="142"/>
                  <a:pt x="949" y="142"/>
                  <a:pt x="949" y="142"/>
                </a:cubicBezTo>
                <a:lnTo>
                  <a:pt x="982" y="142"/>
                </a:lnTo>
                <a:cubicBezTo>
                  <a:pt x="982" y="142"/>
                  <a:pt x="990" y="150"/>
                  <a:pt x="998" y="150"/>
                </a:cubicBezTo>
                <a:cubicBezTo>
                  <a:pt x="998" y="158"/>
                  <a:pt x="1022" y="166"/>
                  <a:pt x="1022" y="166"/>
                </a:cubicBezTo>
                <a:lnTo>
                  <a:pt x="1014" y="182"/>
                </a:lnTo>
                <a:cubicBezTo>
                  <a:pt x="1014" y="182"/>
                  <a:pt x="1006" y="197"/>
                  <a:pt x="1014" y="197"/>
                </a:cubicBezTo>
                <a:lnTo>
                  <a:pt x="1022" y="190"/>
                </a:lnTo>
                <a:cubicBezTo>
                  <a:pt x="1030" y="190"/>
                  <a:pt x="1038" y="182"/>
                  <a:pt x="1038" y="182"/>
                </a:cubicBezTo>
                <a:lnTo>
                  <a:pt x="1038" y="174"/>
                </a:lnTo>
                <a:cubicBezTo>
                  <a:pt x="1038" y="182"/>
                  <a:pt x="1055" y="190"/>
                  <a:pt x="1055" y="190"/>
                </a:cubicBezTo>
                <a:lnTo>
                  <a:pt x="1063" y="205"/>
                </a:lnTo>
                <a:lnTo>
                  <a:pt x="1079" y="197"/>
                </a:lnTo>
                <a:lnTo>
                  <a:pt x="1095" y="197"/>
                </a:lnTo>
                <a:cubicBezTo>
                  <a:pt x="1103" y="205"/>
                  <a:pt x="1128" y="205"/>
                  <a:pt x="1128" y="205"/>
                </a:cubicBezTo>
                <a:lnTo>
                  <a:pt x="1152" y="190"/>
                </a:lnTo>
                <a:lnTo>
                  <a:pt x="1160" y="166"/>
                </a:lnTo>
                <a:lnTo>
                  <a:pt x="1160" y="158"/>
                </a:lnTo>
                <a:lnTo>
                  <a:pt x="1176" y="150"/>
                </a:lnTo>
                <a:cubicBezTo>
                  <a:pt x="1176" y="150"/>
                  <a:pt x="1184" y="150"/>
                  <a:pt x="1184" y="158"/>
                </a:cubicBezTo>
                <a:lnTo>
                  <a:pt x="1201" y="174"/>
                </a:lnTo>
                <a:lnTo>
                  <a:pt x="1217" y="174"/>
                </a:lnTo>
                <a:cubicBezTo>
                  <a:pt x="1225" y="174"/>
                  <a:pt x="1225" y="166"/>
                  <a:pt x="1233" y="174"/>
                </a:cubicBezTo>
                <a:cubicBezTo>
                  <a:pt x="1233" y="182"/>
                  <a:pt x="1233" y="190"/>
                  <a:pt x="1241" y="190"/>
                </a:cubicBezTo>
                <a:lnTo>
                  <a:pt x="1249" y="190"/>
                </a:lnTo>
                <a:cubicBezTo>
                  <a:pt x="1257" y="197"/>
                  <a:pt x="1274" y="197"/>
                  <a:pt x="1274" y="197"/>
                </a:cubicBezTo>
                <a:lnTo>
                  <a:pt x="1282" y="182"/>
                </a:lnTo>
                <a:cubicBezTo>
                  <a:pt x="1282" y="182"/>
                  <a:pt x="1282" y="174"/>
                  <a:pt x="1290" y="182"/>
                </a:cubicBezTo>
                <a:cubicBezTo>
                  <a:pt x="1298" y="182"/>
                  <a:pt x="1298" y="197"/>
                  <a:pt x="1298" y="197"/>
                </a:cubicBezTo>
                <a:lnTo>
                  <a:pt x="1306" y="205"/>
                </a:lnTo>
                <a:lnTo>
                  <a:pt x="1330" y="213"/>
                </a:lnTo>
                <a:lnTo>
                  <a:pt x="1347" y="205"/>
                </a:lnTo>
                <a:cubicBezTo>
                  <a:pt x="1355" y="205"/>
                  <a:pt x="1355" y="221"/>
                  <a:pt x="1355" y="221"/>
                </a:cubicBezTo>
                <a:lnTo>
                  <a:pt x="1355" y="229"/>
                </a:lnTo>
                <a:cubicBezTo>
                  <a:pt x="1347" y="237"/>
                  <a:pt x="1347" y="237"/>
                  <a:pt x="1355" y="237"/>
                </a:cubicBezTo>
                <a:cubicBezTo>
                  <a:pt x="1355" y="245"/>
                  <a:pt x="1363" y="253"/>
                  <a:pt x="1363" y="253"/>
                </a:cubicBezTo>
                <a:lnTo>
                  <a:pt x="1355" y="269"/>
                </a:lnTo>
                <a:cubicBezTo>
                  <a:pt x="1355" y="276"/>
                  <a:pt x="1347" y="284"/>
                  <a:pt x="1347" y="284"/>
                </a:cubicBezTo>
                <a:lnTo>
                  <a:pt x="1339" y="292"/>
                </a:lnTo>
                <a:lnTo>
                  <a:pt x="1339" y="300"/>
                </a:lnTo>
                <a:lnTo>
                  <a:pt x="1339" y="308"/>
                </a:lnTo>
                <a:lnTo>
                  <a:pt x="1339" y="316"/>
                </a:lnTo>
                <a:cubicBezTo>
                  <a:pt x="1330" y="316"/>
                  <a:pt x="1339" y="332"/>
                  <a:pt x="1339" y="332"/>
                </a:cubicBezTo>
                <a:lnTo>
                  <a:pt x="1347" y="340"/>
                </a:lnTo>
                <a:lnTo>
                  <a:pt x="1363" y="332"/>
                </a:lnTo>
                <a:lnTo>
                  <a:pt x="1387" y="340"/>
                </a:lnTo>
                <a:cubicBezTo>
                  <a:pt x="1387" y="340"/>
                  <a:pt x="1403" y="348"/>
                  <a:pt x="1403" y="356"/>
                </a:cubicBezTo>
                <a:cubicBezTo>
                  <a:pt x="1412" y="356"/>
                  <a:pt x="1428" y="371"/>
                  <a:pt x="1428" y="371"/>
                </a:cubicBezTo>
                <a:lnTo>
                  <a:pt x="1444" y="395"/>
                </a:lnTo>
                <a:lnTo>
                  <a:pt x="1428" y="411"/>
                </a:lnTo>
                <a:lnTo>
                  <a:pt x="1412" y="435"/>
                </a:lnTo>
                <a:lnTo>
                  <a:pt x="1395" y="442"/>
                </a:lnTo>
                <a:lnTo>
                  <a:pt x="1387" y="458"/>
                </a:lnTo>
                <a:lnTo>
                  <a:pt x="1371" y="466"/>
                </a:lnTo>
                <a:lnTo>
                  <a:pt x="1363" y="466"/>
                </a:lnTo>
                <a:lnTo>
                  <a:pt x="1339" y="490"/>
                </a:lnTo>
                <a:lnTo>
                  <a:pt x="1322" y="498"/>
                </a:lnTo>
                <a:lnTo>
                  <a:pt x="1306" y="506"/>
                </a:lnTo>
                <a:lnTo>
                  <a:pt x="1298" y="506"/>
                </a:lnTo>
                <a:lnTo>
                  <a:pt x="1282" y="522"/>
                </a:lnTo>
                <a:lnTo>
                  <a:pt x="1265" y="514"/>
                </a:lnTo>
                <a:lnTo>
                  <a:pt x="1241" y="522"/>
                </a:lnTo>
                <a:lnTo>
                  <a:pt x="1241" y="529"/>
                </a:lnTo>
                <a:lnTo>
                  <a:pt x="1209" y="545"/>
                </a:lnTo>
                <a:lnTo>
                  <a:pt x="1201" y="569"/>
                </a:lnTo>
                <a:cubicBezTo>
                  <a:pt x="1201" y="569"/>
                  <a:pt x="1184" y="569"/>
                  <a:pt x="1184" y="577"/>
                </a:cubicBezTo>
                <a:cubicBezTo>
                  <a:pt x="1176" y="577"/>
                  <a:pt x="1168" y="585"/>
                  <a:pt x="1168" y="585"/>
                </a:cubicBezTo>
                <a:lnTo>
                  <a:pt x="1152" y="577"/>
                </a:lnTo>
                <a:lnTo>
                  <a:pt x="1144" y="585"/>
                </a:lnTo>
                <a:lnTo>
                  <a:pt x="1144" y="601"/>
                </a:lnTo>
                <a:lnTo>
                  <a:pt x="1152" y="601"/>
                </a:lnTo>
                <a:lnTo>
                  <a:pt x="1152" y="616"/>
                </a:lnTo>
                <a:lnTo>
                  <a:pt x="1152" y="640"/>
                </a:lnTo>
                <a:lnTo>
                  <a:pt x="1168" y="648"/>
                </a:lnTo>
                <a:cubicBezTo>
                  <a:pt x="1168" y="648"/>
                  <a:pt x="1168" y="672"/>
                  <a:pt x="1160" y="672"/>
                </a:cubicBezTo>
                <a:lnTo>
                  <a:pt x="1144" y="680"/>
                </a:lnTo>
                <a:lnTo>
                  <a:pt x="1144" y="687"/>
                </a:lnTo>
                <a:lnTo>
                  <a:pt x="1152" y="703"/>
                </a:lnTo>
                <a:cubicBezTo>
                  <a:pt x="1152" y="703"/>
                  <a:pt x="1152" y="727"/>
                  <a:pt x="1144" y="727"/>
                </a:cubicBezTo>
                <a:cubicBezTo>
                  <a:pt x="1144" y="735"/>
                  <a:pt x="1136" y="751"/>
                  <a:pt x="1136" y="751"/>
                </a:cubicBezTo>
                <a:lnTo>
                  <a:pt x="1128" y="759"/>
                </a:lnTo>
                <a:lnTo>
                  <a:pt x="1119" y="774"/>
                </a:lnTo>
                <a:lnTo>
                  <a:pt x="1128" y="782"/>
                </a:lnTo>
                <a:lnTo>
                  <a:pt x="1128" y="806"/>
                </a:lnTo>
                <a:lnTo>
                  <a:pt x="1111" y="814"/>
                </a:lnTo>
                <a:lnTo>
                  <a:pt x="1103" y="838"/>
                </a:lnTo>
                <a:lnTo>
                  <a:pt x="1111" y="846"/>
                </a:lnTo>
                <a:lnTo>
                  <a:pt x="1119" y="861"/>
                </a:lnTo>
                <a:lnTo>
                  <a:pt x="1111" y="877"/>
                </a:lnTo>
                <a:lnTo>
                  <a:pt x="1103" y="885"/>
                </a:lnTo>
                <a:lnTo>
                  <a:pt x="1095" y="885"/>
                </a:lnTo>
                <a:lnTo>
                  <a:pt x="1079" y="901"/>
                </a:lnTo>
                <a:lnTo>
                  <a:pt x="1063" y="901"/>
                </a:lnTo>
                <a:lnTo>
                  <a:pt x="1055" y="901"/>
                </a:lnTo>
                <a:lnTo>
                  <a:pt x="1038" y="917"/>
                </a:lnTo>
                <a:lnTo>
                  <a:pt x="1030" y="917"/>
                </a:lnTo>
                <a:lnTo>
                  <a:pt x="1022" y="925"/>
                </a:lnTo>
                <a:lnTo>
                  <a:pt x="1022" y="940"/>
                </a:lnTo>
                <a:lnTo>
                  <a:pt x="1022" y="948"/>
                </a:lnTo>
                <a:cubicBezTo>
                  <a:pt x="1030" y="948"/>
                  <a:pt x="1030" y="956"/>
                  <a:pt x="1030" y="956"/>
                </a:cubicBezTo>
                <a:lnTo>
                  <a:pt x="1038" y="972"/>
                </a:lnTo>
                <a:lnTo>
                  <a:pt x="1046" y="988"/>
                </a:lnTo>
                <a:lnTo>
                  <a:pt x="1055" y="1012"/>
                </a:lnTo>
                <a:lnTo>
                  <a:pt x="1046" y="1027"/>
                </a:lnTo>
                <a:lnTo>
                  <a:pt x="1038" y="1043"/>
                </a:lnTo>
                <a:lnTo>
                  <a:pt x="1030" y="1059"/>
                </a:lnTo>
                <a:lnTo>
                  <a:pt x="1022" y="1075"/>
                </a:lnTo>
                <a:lnTo>
                  <a:pt x="1014" y="1083"/>
                </a:lnTo>
                <a:lnTo>
                  <a:pt x="998" y="1083"/>
                </a:lnTo>
                <a:lnTo>
                  <a:pt x="998" y="1091"/>
                </a:lnTo>
                <a:lnTo>
                  <a:pt x="990" y="1106"/>
                </a:lnTo>
                <a:lnTo>
                  <a:pt x="990" y="1114"/>
                </a:lnTo>
                <a:lnTo>
                  <a:pt x="982" y="1114"/>
                </a:lnTo>
                <a:lnTo>
                  <a:pt x="982" y="1130"/>
                </a:lnTo>
                <a:lnTo>
                  <a:pt x="973" y="1138"/>
                </a:lnTo>
                <a:lnTo>
                  <a:pt x="965" y="1138"/>
                </a:lnTo>
                <a:cubicBezTo>
                  <a:pt x="957" y="1138"/>
                  <a:pt x="949" y="1146"/>
                  <a:pt x="949" y="1146"/>
                </a:cubicBezTo>
                <a:cubicBezTo>
                  <a:pt x="949" y="1146"/>
                  <a:pt x="933" y="1146"/>
                  <a:pt x="933" y="1138"/>
                </a:cubicBezTo>
                <a:cubicBezTo>
                  <a:pt x="933" y="1138"/>
                  <a:pt x="925" y="1146"/>
                  <a:pt x="917" y="1138"/>
                </a:cubicBezTo>
                <a:lnTo>
                  <a:pt x="909" y="1130"/>
                </a:lnTo>
                <a:lnTo>
                  <a:pt x="900" y="1130"/>
                </a:lnTo>
                <a:lnTo>
                  <a:pt x="884" y="1130"/>
                </a:lnTo>
                <a:lnTo>
                  <a:pt x="860" y="1130"/>
                </a:lnTo>
                <a:lnTo>
                  <a:pt x="844" y="1130"/>
                </a:lnTo>
                <a:lnTo>
                  <a:pt x="844" y="1122"/>
                </a:lnTo>
                <a:lnTo>
                  <a:pt x="836" y="1130"/>
                </a:lnTo>
                <a:lnTo>
                  <a:pt x="827" y="1114"/>
                </a:lnTo>
                <a:lnTo>
                  <a:pt x="811" y="1114"/>
                </a:lnTo>
                <a:lnTo>
                  <a:pt x="795" y="1114"/>
                </a:lnTo>
                <a:cubicBezTo>
                  <a:pt x="795" y="1114"/>
                  <a:pt x="795" y="1122"/>
                  <a:pt x="803" y="1130"/>
                </a:cubicBezTo>
                <a:lnTo>
                  <a:pt x="811" y="1146"/>
                </a:lnTo>
                <a:lnTo>
                  <a:pt x="811" y="1162"/>
                </a:lnTo>
                <a:lnTo>
                  <a:pt x="827" y="1178"/>
                </a:lnTo>
                <a:lnTo>
                  <a:pt x="827" y="1186"/>
                </a:lnTo>
                <a:lnTo>
                  <a:pt x="836" y="1201"/>
                </a:lnTo>
                <a:lnTo>
                  <a:pt x="852" y="1209"/>
                </a:lnTo>
                <a:lnTo>
                  <a:pt x="852" y="1225"/>
                </a:lnTo>
                <a:lnTo>
                  <a:pt x="844" y="1233"/>
                </a:lnTo>
                <a:lnTo>
                  <a:pt x="836" y="1241"/>
                </a:lnTo>
                <a:lnTo>
                  <a:pt x="844" y="1257"/>
                </a:lnTo>
                <a:lnTo>
                  <a:pt x="844" y="1272"/>
                </a:lnTo>
                <a:lnTo>
                  <a:pt x="852" y="1280"/>
                </a:lnTo>
                <a:lnTo>
                  <a:pt x="852" y="1288"/>
                </a:lnTo>
                <a:lnTo>
                  <a:pt x="844" y="1296"/>
                </a:lnTo>
                <a:lnTo>
                  <a:pt x="844" y="1312"/>
                </a:lnTo>
                <a:lnTo>
                  <a:pt x="852" y="1328"/>
                </a:lnTo>
                <a:lnTo>
                  <a:pt x="860" y="1344"/>
                </a:lnTo>
                <a:lnTo>
                  <a:pt x="876" y="1344"/>
                </a:lnTo>
                <a:lnTo>
                  <a:pt x="876" y="1359"/>
                </a:lnTo>
                <a:lnTo>
                  <a:pt x="868" y="1367"/>
                </a:lnTo>
                <a:lnTo>
                  <a:pt x="868" y="1375"/>
                </a:lnTo>
                <a:cubicBezTo>
                  <a:pt x="876" y="1375"/>
                  <a:pt x="884" y="1383"/>
                  <a:pt x="884" y="1383"/>
                </a:cubicBezTo>
                <a:lnTo>
                  <a:pt x="900" y="1375"/>
                </a:lnTo>
                <a:lnTo>
                  <a:pt x="909" y="1375"/>
                </a:lnTo>
                <a:cubicBezTo>
                  <a:pt x="909" y="1383"/>
                  <a:pt x="917" y="1399"/>
                  <a:pt x="917" y="1399"/>
                </a:cubicBezTo>
                <a:lnTo>
                  <a:pt x="925" y="1407"/>
                </a:lnTo>
                <a:lnTo>
                  <a:pt x="925" y="1423"/>
                </a:lnTo>
                <a:lnTo>
                  <a:pt x="909" y="1438"/>
                </a:lnTo>
                <a:lnTo>
                  <a:pt x="892" y="1454"/>
                </a:lnTo>
                <a:lnTo>
                  <a:pt x="884" y="1462"/>
                </a:lnTo>
                <a:lnTo>
                  <a:pt x="884" y="1478"/>
                </a:lnTo>
                <a:lnTo>
                  <a:pt x="876" y="1486"/>
                </a:lnTo>
                <a:lnTo>
                  <a:pt x="860" y="1494"/>
                </a:lnTo>
                <a:lnTo>
                  <a:pt x="844" y="1502"/>
                </a:lnTo>
                <a:lnTo>
                  <a:pt x="836" y="1502"/>
                </a:lnTo>
                <a:lnTo>
                  <a:pt x="827" y="1510"/>
                </a:lnTo>
                <a:lnTo>
                  <a:pt x="803" y="1517"/>
                </a:lnTo>
                <a:lnTo>
                  <a:pt x="795" y="1517"/>
                </a:lnTo>
                <a:lnTo>
                  <a:pt x="779" y="1549"/>
                </a:lnTo>
                <a:lnTo>
                  <a:pt x="779" y="1565"/>
                </a:lnTo>
                <a:lnTo>
                  <a:pt x="787" y="1573"/>
                </a:lnTo>
                <a:lnTo>
                  <a:pt x="771" y="1589"/>
                </a:lnTo>
                <a:lnTo>
                  <a:pt x="754" y="1597"/>
                </a:lnTo>
                <a:lnTo>
                  <a:pt x="746" y="1612"/>
                </a:lnTo>
                <a:lnTo>
                  <a:pt x="754" y="1620"/>
                </a:lnTo>
                <a:lnTo>
                  <a:pt x="738" y="1620"/>
                </a:lnTo>
                <a:lnTo>
                  <a:pt x="746" y="1636"/>
                </a:lnTo>
                <a:lnTo>
                  <a:pt x="738" y="1644"/>
                </a:lnTo>
                <a:lnTo>
                  <a:pt x="746" y="1652"/>
                </a:lnTo>
                <a:lnTo>
                  <a:pt x="754" y="1676"/>
                </a:lnTo>
                <a:cubicBezTo>
                  <a:pt x="754" y="1683"/>
                  <a:pt x="763" y="1691"/>
                  <a:pt x="763" y="1691"/>
                </a:cubicBezTo>
                <a:lnTo>
                  <a:pt x="771" y="1699"/>
                </a:lnTo>
                <a:lnTo>
                  <a:pt x="771" y="1723"/>
                </a:lnTo>
                <a:cubicBezTo>
                  <a:pt x="771" y="1731"/>
                  <a:pt x="779" y="1747"/>
                  <a:pt x="779" y="1747"/>
                </a:cubicBezTo>
                <a:lnTo>
                  <a:pt x="787" y="1763"/>
                </a:lnTo>
                <a:lnTo>
                  <a:pt x="787" y="1770"/>
                </a:lnTo>
                <a:lnTo>
                  <a:pt x="844" y="1770"/>
                </a:lnTo>
                <a:lnTo>
                  <a:pt x="844" y="1778"/>
                </a:lnTo>
                <a:lnTo>
                  <a:pt x="844" y="1786"/>
                </a:lnTo>
                <a:lnTo>
                  <a:pt x="811" y="1818"/>
                </a:lnTo>
                <a:lnTo>
                  <a:pt x="811" y="1842"/>
                </a:lnTo>
                <a:lnTo>
                  <a:pt x="803" y="1842"/>
                </a:lnTo>
                <a:lnTo>
                  <a:pt x="787" y="1842"/>
                </a:lnTo>
                <a:lnTo>
                  <a:pt x="771" y="1826"/>
                </a:lnTo>
                <a:lnTo>
                  <a:pt x="754" y="1834"/>
                </a:lnTo>
                <a:lnTo>
                  <a:pt x="754" y="1842"/>
                </a:lnTo>
                <a:lnTo>
                  <a:pt x="738" y="1842"/>
                </a:lnTo>
                <a:lnTo>
                  <a:pt x="714" y="1842"/>
                </a:lnTo>
                <a:lnTo>
                  <a:pt x="706" y="1849"/>
                </a:lnTo>
                <a:lnTo>
                  <a:pt x="698" y="1881"/>
                </a:lnTo>
                <a:lnTo>
                  <a:pt x="681" y="1897"/>
                </a:lnTo>
                <a:lnTo>
                  <a:pt x="665" y="1905"/>
                </a:lnTo>
                <a:lnTo>
                  <a:pt x="649" y="1921"/>
                </a:lnTo>
                <a:lnTo>
                  <a:pt x="625" y="1929"/>
                </a:lnTo>
                <a:lnTo>
                  <a:pt x="616" y="1936"/>
                </a:lnTo>
                <a:cubicBezTo>
                  <a:pt x="616" y="1944"/>
                  <a:pt x="608" y="1968"/>
                  <a:pt x="608" y="1968"/>
                </a:cubicBezTo>
                <a:cubicBezTo>
                  <a:pt x="608" y="1968"/>
                  <a:pt x="592" y="1976"/>
                  <a:pt x="592" y="1984"/>
                </a:cubicBezTo>
                <a:lnTo>
                  <a:pt x="576" y="1992"/>
                </a:lnTo>
                <a:lnTo>
                  <a:pt x="576" y="2008"/>
                </a:lnTo>
                <a:lnTo>
                  <a:pt x="584" y="2023"/>
                </a:lnTo>
                <a:lnTo>
                  <a:pt x="584" y="2047"/>
                </a:lnTo>
                <a:lnTo>
                  <a:pt x="584" y="2063"/>
                </a:lnTo>
                <a:lnTo>
                  <a:pt x="592" y="2079"/>
                </a:lnTo>
                <a:lnTo>
                  <a:pt x="584" y="2095"/>
                </a:lnTo>
                <a:lnTo>
                  <a:pt x="576" y="2118"/>
                </a:lnTo>
                <a:lnTo>
                  <a:pt x="576" y="2126"/>
                </a:lnTo>
                <a:lnTo>
                  <a:pt x="576" y="2142"/>
                </a:lnTo>
                <a:lnTo>
                  <a:pt x="576" y="2174"/>
                </a:lnTo>
                <a:lnTo>
                  <a:pt x="552" y="2166"/>
                </a:lnTo>
                <a:lnTo>
                  <a:pt x="527" y="2166"/>
                </a:lnTo>
                <a:lnTo>
                  <a:pt x="503" y="2174"/>
                </a:lnTo>
                <a:lnTo>
                  <a:pt x="470" y="2189"/>
                </a:lnTo>
                <a:lnTo>
                  <a:pt x="422" y="2197"/>
                </a:lnTo>
                <a:lnTo>
                  <a:pt x="381" y="2197"/>
                </a:lnTo>
                <a:lnTo>
                  <a:pt x="357" y="2189"/>
                </a:lnTo>
                <a:lnTo>
                  <a:pt x="341" y="2181"/>
                </a:lnTo>
                <a:lnTo>
                  <a:pt x="324" y="2166"/>
                </a:lnTo>
                <a:lnTo>
                  <a:pt x="300" y="2142"/>
                </a:lnTo>
                <a:lnTo>
                  <a:pt x="276" y="2142"/>
                </a:lnTo>
                <a:lnTo>
                  <a:pt x="260" y="2134"/>
                </a:lnTo>
                <a:lnTo>
                  <a:pt x="243" y="2126"/>
                </a:lnTo>
                <a:lnTo>
                  <a:pt x="227" y="2118"/>
                </a:lnTo>
                <a:lnTo>
                  <a:pt x="211" y="2118"/>
                </a:lnTo>
                <a:lnTo>
                  <a:pt x="178" y="2102"/>
                </a:lnTo>
                <a:lnTo>
                  <a:pt x="146" y="2087"/>
                </a:lnTo>
                <a:lnTo>
                  <a:pt x="130" y="2095"/>
                </a:lnTo>
                <a:lnTo>
                  <a:pt x="130" y="2102"/>
                </a:lnTo>
                <a:lnTo>
                  <a:pt x="105" y="2095"/>
                </a:lnTo>
                <a:lnTo>
                  <a:pt x="89" y="2095"/>
                </a:lnTo>
                <a:lnTo>
                  <a:pt x="73" y="2095"/>
                </a:lnTo>
                <a:lnTo>
                  <a:pt x="40" y="2102"/>
                </a:lnTo>
                <a:lnTo>
                  <a:pt x="16" y="2110"/>
                </a:lnTo>
                <a:lnTo>
                  <a:pt x="0" y="2102"/>
                </a:lnTo>
                <a:lnTo>
                  <a:pt x="16" y="2087"/>
                </a:lnTo>
                <a:lnTo>
                  <a:pt x="32" y="2063"/>
                </a:lnTo>
                <a:lnTo>
                  <a:pt x="49" y="2055"/>
                </a:lnTo>
                <a:lnTo>
                  <a:pt x="57" y="2031"/>
                </a:lnTo>
                <a:lnTo>
                  <a:pt x="81" y="2015"/>
                </a:lnTo>
                <a:lnTo>
                  <a:pt x="81" y="1992"/>
                </a:lnTo>
                <a:lnTo>
                  <a:pt x="97" y="1960"/>
                </a:lnTo>
                <a:cubicBezTo>
                  <a:pt x="97" y="1960"/>
                  <a:pt x="113" y="1960"/>
                  <a:pt x="113" y="1952"/>
                </a:cubicBezTo>
                <a:cubicBezTo>
                  <a:pt x="122" y="1936"/>
                  <a:pt x="122" y="1929"/>
                  <a:pt x="130" y="1921"/>
                </a:cubicBezTo>
                <a:cubicBezTo>
                  <a:pt x="130" y="1913"/>
                  <a:pt x="138" y="1913"/>
                  <a:pt x="138" y="1905"/>
                </a:cubicBezTo>
                <a:cubicBezTo>
                  <a:pt x="138" y="1897"/>
                  <a:pt x="130" y="1873"/>
                  <a:pt x="130" y="1873"/>
                </a:cubicBezTo>
                <a:lnTo>
                  <a:pt x="146" y="1842"/>
                </a:lnTo>
                <a:cubicBezTo>
                  <a:pt x="154" y="1834"/>
                  <a:pt x="154" y="1802"/>
                  <a:pt x="154" y="1802"/>
                </a:cubicBezTo>
                <a:cubicBezTo>
                  <a:pt x="154" y="1802"/>
                  <a:pt x="162" y="1786"/>
                  <a:pt x="170" y="1778"/>
                </a:cubicBezTo>
                <a:lnTo>
                  <a:pt x="170" y="1747"/>
                </a:lnTo>
                <a:lnTo>
                  <a:pt x="154" y="1723"/>
                </a:lnTo>
                <a:lnTo>
                  <a:pt x="170" y="1691"/>
                </a:lnTo>
                <a:lnTo>
                  <a:pt x="195" y="1652"/>
                </a:lnTo>
                <a:lnTo>
                  <a:pt x="219" y="1612"/>
                </a:lnTo>
                <a:lnTo>
                  <a:pt x="227" y="1573"/>
                </a:lnTo>
                <a:lnTo>
                  <a:pt x="227" y="1517"/>
                </a:lnTo>
                <a:lnTo>
                  <a:pt x="219" y="1502"/>
                </a:lnTo>
                <a:lnTo>
                  <a:pt x="211" y="1478"/>
                </a:lnTo>
                <a:lnTo>
                  <a:pt x="203" y="1486"/>
                </a:lnTo>
                <a:cubicBezTo>
                  <a:pt x="203" y="1486"/>
                  <a:pt x="195" y="1494"/>
                  <a:pt x="186" y="1486"/>
                </a:cubicBezTo>
                <a:lnTo>
                  <a:pt x="154" y="1486"/>
                </a:lnTo>
                <a:lnTo>
                  <a:pt x="138" y="1494"/>
                </a:lnTo>
                <a:lnTo>
                  <a:pt x="113" y="1486"/>
                </a:lnTo>
                <a:cubicBezTo>
                  <a:pt x="113" y="1486"/>
                  <a:pt x="105" y="1494"/>
                  <a:pt x="97" y="1494"/>
                </a:cubicBezTo>
                <a:cubicBezTo>
                  <a:pt x="97" y="1494"/>
                  <a:pt x="89" y="1494"/>
                  <a:pt x="89" y="1486"/>
                </a:cubicBezTo>
                <a:lnTo>
                  <a:pt x="113" y="1462"/>
                </a:lnTo>
                <a:lnTo>
                  <a:pt x="113" y="1431"/>
                </a:lnTo>
                <a:cubicBezTo>
                  <a:pt x="113" y="1423"/>
                  <a:pt x="105" y="1399"/>
                  <a:pt x="105" y="1399"/>
                </a:cubicBezTo>
                <a:cubicBezTo>
                  <a:pt x="105" y="1399"/>
                  <a:pt x="97" y="1391"/>
                  <a:pt x="105" y="1383"/>
                </a:cubicBezTo>
                <a:cubicBezTo>
                  <a:pt x="105" y="1375"/>
                  <a:pt x="113" y="1375"/>
                  <a:pt x="113" y="1375"/>
                </a:cubicBezTo>
                <a:lnTo>
                  <a:pt x="97" y="1367"/>
                </a:lnTo>
                <a:lnTo>
                  <a:pt x="89" y="1367"/>
                </a:lnTo>
                <a:cubicBezTo>
                  <a:pt x="81" y="1375"/>
                  <a:pt x="73" y="1375"/>
                  <a:pt x="73" y="1375"/>
                </a:cubicBezTo>
                <a:lnTo>
                  <a:pt x="65" y="1359"/>
                </a:lnTo>
                <a:cubicBezTo>
                  <a:pt x="65" y="1359"/>
                  <a:pt x="57" y="1367"/>
                  <a:pt x="57" y="1359"/>
                </a:cubicBezTo>
                <a:cubicBezTo>
                  <a:pt x="49" y="1359"/>
                  <a:pt x="32" y="1351"/>
                  <a:pt x="32" y="1351"/>
                </a:cubicBezTo>
                <a:lnTo>
                  <a:pt x="32" y="1336"/>
                </a:lnTo>
                <a:cubicBezTo>
                  <a:pt x="40" y="1328"/>
                  <a:pt x="40" y="1328"/>
                  <a:pt x="40" y="1320"/>
                </a:cubicBezTo>
                <a:cubicBezTo>
                  <a:pt x="40" y="1312"/>
                  <a:pt x="40" y="1304"/>
                  <a:pt x="49" y="1296"/>
                </a:cubicBezTo>
                <a:cubicBezTo>
                  <a:pt x="49" y="1288"/>
                  <a:pt x="57" y="1280"/>
                  <a:pt x="65" y="1280"/>
                </a:cubicBezTo>
                <a:lnTo>
                  <a:pt x="73" y="1272"/>
                </a:lnTo>
                <a:lnTo>
                  <a:pt x="89" y="1241"/>
                </a:lnTo>
                <a:lnTo>
                  <a:pt x="89" y="1225"/>
                </a:lnTo>
                <a:cubicBezTo>
                  <a:pt x="89" y="1225"/>
                  <a:pt x="97" y="1209"/>
                  <a:pt x="97" y="1201"/>
                </a:cubicBezTo>
                <a:lnTo>
                  <a:pt x="105" y="1186"/>
                </a:lnTo>
                <a:cubicBezTo>
                  <a:pt x="105" y="1186"/>
                  <a:pt x="113" y="1178"/>
                  <a:pt x="113" y="1170"/>
                </a:cubicBezTo>
                <a:cubicBezTo>
                  <a:pt x="122" y="1170"/>
                  <a:pt x="138" y="1154"/>
                  <a:pt x="138" y="1154"/>
                </a:cubicBezTo>
                <a:lnTo>
                  <a:pt x="146" y="1130"/>
                </a:lnTo>
                <a:lnTo>
                  <a:pt x="154" y="1106"/>
                </a:lnTo>
                <a:lnTo>
                  <a:pt x="146" y="1091"/>
                </a:lnTo>
                <a:lnTo>
                  <a:pt x="138" y="1083"/>
                </a:lnTo>
                <a:lnTo>
                  <a:pt x="154" y="1075"/>
                </a:lnTo>
                <a:lnTo>
                  <a:pt x="162" y="1075"/>
                </a:lnTo>
                <a:cubicBezTo>
                  <a:pt x="170" y="1075"/>
                  <a:pt x="178" y="1067"/>
                  <a:pt x="178" y="1067"/>
                </a:cubicBezTo>
                <a:cubicBezTo>
                  <a:pt x="187" y="1067"/>
                  <a:pt x="203" y="1059"/>
                  <a:pt x="203" y="1059"/>
                </a:cubicBezTo>
                <a:cubicBezTo>
                  <a:pt x="203" y="1051"/>
                  <a:pt x="211" y="1051"/>
                  <a:pt x="211" y="1051"/>
                </a:cubicBezTo>
                <a:cubicBezTo>
                  <a:pt x="219" y="1051"/>
                  <a:pt x="235" y="1043"/>
                  <a:pt x="235" y="1043"/>
                </a:cubicBezTo>
                <a:lnTo>
                  <a:pt x="243" y="1035"/>
                </a:lnTo>
                <a:lnTo>
                  <a:pt x="243" y="1027"/>
                </a:lnTo>
                <a:lnTo>
                  <a:pt x="260" y="1020"/>
                </a:lnTo>
                <a:cubicBezTo>
                  <a:pt x="260" y="1020"/>
                  <a:pt x="268" y="1012"/>
                  <a:pt x="268" y="1004"/>
                </a:cubicBezTo>
                <a:lnTo>
                  <a:pt x="276" y="988"/>
                </a:lnTo>
                <a:cubicBezTo>
                  <a:pt x="276" y="980"/>
                  <a:pt x="300" y="956"/>
                  <a:pt x="300" y="956"/>
                </a:cubicBezTo>
                <a:lnTo>
                  <a:pt x="333" y="901"/>
                </a:lnTo>
                <a:lnTo>
                  <a:pt x="406" y="790"/>
                </a:lnTo>
                <a:lnTo>
                  <a:pt x="397" y="774"/>
                </a:lnTo>
                <a:lnTo>
                  <a:pt x="422" y="735"/>
                </a:lnTo>
                <a:lnTo>
                  <a:pt x="462" y="672"/>
                </a:lnTo>
                <a:lnTo>
                  <a:pt x="503" y="585"/>
                </a:lnTo>
                <a:lnTo>
                  <a:pt x="527" y="537"/>
                </a:lnTo>
                <a:lnTo>
                  <a:pt x="560" y="482"/>
                </a:lnTo>
                <a:lnTo>
                  <a:pt x="576" y="435"/>
                </a:lnTo>
                <a:lnTo>
                  <a:pt x="576" y="276"/>
                </a:lnTo>
                <a:lnTo>
                  <a:pt x="568" y="253"/>
                </a:lnTo>
                <a:lnTo>
                  <a:pt x="584" y="237"/>
                </a:lnTo>
                <a:lnTo>
                  <a:pt x="584" y="190"/>
                </a:lnTo>
                <a:lnTo>
                  <a:pt x="592" y="174"/>
                </a:lnTo>
                <a:lnTo>
                  <a:pt x="584" y="150"/>
                </a:lnTo>
                <a:lnTo>
                  <a:pt x="592" y="134"/>
                </a:lnTo>
                <a:lnTo>
                  <a:pt x="584" y="126"/>
                </a:lnTo>
                <a:lnTo>
                  <a:pt x="592" y="103"/>
                </a:lnTo>
                <a:lnTo>
                  <a:pt x="592" y="87"/>
                </a:lnTo>
                <a:lnTo>
                  <a:pt x="600" y="71"/>
                </a:ln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28" name="Freeform 120">
            <a:extLst>
              <a:ext uri="{FF2B5EF4-FFF2-40B4-BE49-F238E27FC236}">
                <a16:creationId xmlns:a16="http://schemas.microsoft.com/office/drawing/2014/main" id="{A6C45F50-836E-3388-48CA-69D550492FAE}"/>
              </a:ext>
            </a:extLst>
          </p:cNvPr>
          <p:cNvSpPr>
            <a:spLocks noChangeArrowheads="1"/>
          </p:cNvSpPr>
          <p:nvPr>
            <p:custDataLst>
              <p:tags r:id="rId119"/>
            </p:custDataLst>
          </p:nvPr>
        </p:nvSpPr>
        <p:spPr bwMode="auto">
          <a:xfrm>
            <a:off x="6643570" y="3133406"/>
            <a:ext cx="1045072" cy="1340301"/>
          </a:xfrm>
          <a:custGeom>
            <a:avLst/>
            <a:gdLst>
              <a:gd name="T0" fmla="*/ 2200 w 2544"/>
              <a:gd name="T1" fmla="*/ 2663 h 3264"/>
              <a:gd name="T2" fmla="*/ 2029 w 2544"/>
              <a:gd name="T3" fmla="*/ 2821 h 3264"/>
              <a:gd name="T4" fmla="*/ 2005 w 2544"/>
              <a:gd name="T5" fmla="*/ 3034 h 3264"/>
              <a:gd name="T6" fmla="*/ 1988 w 2544"/>
              <a:gd name="T7" fmla="*/ 3089 h 3264"/>
              <a:gd name="T8" fmla="*/ 1809 w 2544"/>
              <a:gd name="T9" fmla="*/ 3082 h 3264"/>
              <a:gd name="T10" fmla="*/ 1573 w 2544"/>
              <a:gd name="T11" fmla="*/ 3153 h 3264"/>
              <a:gd name="T12" fmla="*/ 1353 w 2544"/>
              <a:gd name="T13" fmla="*/ 3129 h 3264"/>
              <a:gd name="T14" fmla="*/ 1247 w 2544"/>
              <a:gd name="T15" fmla="*/ 3255 h 3264"/>
              <a:gd name="T16" fmla="*/ 1108 w 2544"/>
              <a:gd name="T17" fmla="*/ 3121 h 3264"/>
              <a:gd name="T18" fmla="*/ 962 w 2544"/>
              <a:gd name="T19" fmla="*/ 3097 h 3264"/>
              <a:gd name="T20" fmla="*/ 815 w 2544"/>
              <a:gd name="T21" fmla="*/ 3082 h 3264"/>
              <a:gd name="T22" fmla="*/ 766 w 2544"/>
              <a:gd name="T23" fmla="*/ 3066 h 3264"/>
              <a:gd name="T24" fmla="*/ 725 w 2544"/>
              <a:gd name="T25" fmla="*/ 3026 h 3264"/>
              <a:gd name="T26" fmla="*/ 733 w 2544"/>
              <a:gd name="T27" fmla="*/ 3089 h 3264"/>
              <a:gd name="T28" fmla="*/ 636 w 2544"/>
              <a:gd name="T29" fmla="*/ 3113 h 3264"/>
              <a:gd name="T30" fmla="*/ 464 w 2544"/>
              <a:gd name="T31" fmla="*/ 3137 h 3264"/>
              <a:gd name="T32" fmla="*/ 473 w 2544"/>
              <a:gd name="T33" fmla="*/ 2805 h 3264"/>
              <a:gd name="T34" fmla="*/ 383 w 2544"/>
              <a:gd name="T35" fmla="*/ 2449 h 3264"/>
              <a:gd name="T36" fmla="*/ 106 w 2544"/>
              <a:gd name="T37" fmla="*/ 2307 h 3264"/>
              <a:gd name="T38" fmla="*/ 65 w 2544"/>
              <a:gd name="T39" fmla="*/ 2093 h 3264"/>
              <a:gd name="T40" fmla="*/ 98 w 2544"/>
              <a:gd name="T41" fmla="*/ 1935 h 3264"/>
              <a:gd name="T42" fmla="*/ 81 w 2544"/>
              <a:gd name="T43" fmla="*/ 1825 h 3264"/>
              <a:gd name="T44" fmla="*/ 32 w 2544"/>
              <a:gd name="T45" fmla="*/ 1730 h 3264"/>
              <a:gd name="T46" fmla="*/ 8 w 2544"/>
              <a:gd name="T47" fmla="*/ 1651 h 3264"/>
              <a:gd name="T48" fmla="*/ 65 w 2544"/>
              <a:gd name="T49" fmla="*/ 1587 h 3264"/>
              <a:gd name="T50" fmla="*/ 90 w 2544"/>
              <a:gd name="T51" fmla="*/ 1414 h 3264"/>
              <a:gd name="T52" fmla="*/ 98 w 2544"/>
              <a:gd name="T53" fmla="*/ 1295 h 3264"/>
              <a:gd name="T54" fmla="*/ 236 w 2544"/>
              <a:gd name="T55" fmla="*/ 1287 h 3264"/>
              <a:gd name="T56" fmla="*/ 285 w 2544"/>
              <a:gd name="T57" fmla="*/ 1184 h 3264"/>
              <a:gd name="T58" fmla="*/ 285 w 2544"/>
              <a:gd name="T59" fmla="*/ 1058 h 3264"/>
              <a:gd name="T60" fmla="*/ 342 w 2544"/>
              <a:gd name="T61" fmla="*/ 963 h 3264"/>
              <a:gd name="T62" fmla="*/ 367 w 2544"/>
              <a:gd name="T63" fmla="*/ 607 h 3264"/>
              <a:gd name="T64" fmla="*/ 595 w 2544"/>
              <a:gd name="T65" fmla="*/ 504 h 3264"/>
              <a:gd name="T66" fmla="*/ 660 w 2544"/>
              <a:gd name="T67" fmla="*/ 599 h 3264"/>
              <a:gd name="T68" fmla="*/ 750 w 2544"/>
              <a:gd name="T69" fmla="*/ 481 h 3264"/>
              <a:gd name="T70" fmla="*/ 864 w 2544"/>
              <a:gd name="T71" fmla="*/ 449 h 3264"/>
              <a:gd name="T72" fmla="*/ 831 w 2544"/>
              <a:gd name="T73" fmla="*/ 283 h 3264"/>
              <a:gd name="T74" fmla="*/ 839 w 2544"/>
              <a:gd name="T75" fmla="*/ 205 h 3264"/>
              <a:gd name="T76" fmla="*/ 774 w 2544"/>
              <a:gd name="T77" fmla="*/ 94 h 3264"/>
              <a:gd name="T78" fmla="*/ 945 w 2544"/>
              <a:gd name="T79" fmla="*/ 47 h 3264"/>
              <a:gd name="T80" fmla="*/ 1125 w 2544"/>
              <a:gd name="T81" fmla="*/ 142 h 3264"/>
              <a:gd name="T82" fmla="*/ 1239 w 2544"/>
              <a:gd name="T83" fmla="*/ 229 h 3264"/>
              <a:gd name="T84" fmla="*/ 1369 w 2544"/>
              <a:gd name="T85" fmla="*/ 205 h 3264"/>
              <a:gd name="T86" fmla="*/ 1402 w 2544"/>
              <a:gd name="T87" fmla="*/ 307 h 3264"/>
              <a:gd name="T88" fmla="*/ 1361 w 2544"/>
              <a:gd name="T89" fmla="*/ 418 h 3264"/>
              <a:gd name="T90" fmla="*/ 1532 w 2544"/>
              <a:gd name="T91" fmla="*/ 362 h 3264"/>
              <a:gd name="T92" fmla="*/ 1744 w 2544"/>
              <a:gd name="T93" fmla="*/ 197 h 3264"/>
              <a:gd name="T94" fmla="*/ 1817 w 2544"/>
              <a:gd name="T95" fmla="*/ 229 h 3264"/>
              <a:gd name="T96" fmla="*/ 1931 w 2544"/>
              <a:gd name="T97" fmla="*/ 118 h 3264"/>
              <a:gd name="T98" fmla="*/ 1972 w 2544"/>
              <a:gd name="T99" fmla="*/ 166 h 3264"/>
              <a:gd name="T100" fmla="*/ 2062 w 2544"/>
              <a:gd name="T101" fmla="*/ 213 h 3264"/>
              <a:gd name="T102" fmla="*/ 2119 w 2544"/>
              <a:gd name="T103" fmla="*/ 307 h 3264"/>
              <a:gd name="T104" fmla="*/ 2135 w 2544"/>
              <a:gd name="T105" fmla="*/ 449 h 3264"/>
              <a:gd name="T106" fmla="*/ 2241 w 2544"/>
              <a:gd name="T107" fmla="*/ 781 h 3264"/>
              <a:gd name="T108" fmla="*/ 2404 w 2544"/>
              <a:gd name="T109" fmla="*/ 1169 h 3264"/>
              <a:gd name="T110" fmla="*/ 2469 w 2544"/>
              <a:gd name="T111" fmla="*/ 1414 h 3264"/>
              <a:gd name="T112" fmla="*/ 2494 w 2544"/>
              <a:gd name="T113" fmla="*/ 1659 h 3264"/>
              <a:gd name="T114" fmla="*/ 2323 w 2544"/>
              <a:gd name="T115" fmla="*/ 1635 h 3264"/>
              <a:gd name="T116" fmla="*/ 2046 w 2544"/>
              <a:gd name="T117" fmla="*/ 1833 h 3264"/>
              <a:gd name="T118" fmla="*/ 1777 w 2544"/>
              <a:gd name="T119" fmla="*/ 1975 h 3264"/>
              <a:gd name="T120" fmla="*/ 1842 w 2544"/>
              <a:gd name="T121" fmla="*/ 2188 h 3264"/>
              <a:gd name="T122" fmla="*/ 2070 w 2544"/>
              <a:gd name="T123" fmla="*/ 2433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44" h="3264">
                <a:moveTo>
                  <a:pt x="2543" y="1611"/>
                </a:moveTo>
                <a:lnTo>
                  <a:pt x="2543" y="1611"/>
                </a:lnTo>
                <a:close/>
                <a:moveTo>
                  <a:pt x="2241" y="2568"/>
                </a:moveTo>
                <a:lnTo>
                  <a:pt x="2241" y="2591"/>
                </a:lnTo>
                <a:lnTo>
                  <a:pt x="2249" y="2631"/>
                </a:lnTo>
                <a:lnTo>
                  <a:pt x="2249" y="2655"/>
                </a:lnTo>
                <a:cubicBezTo>
                  <a:pt x="2249" y="2655"/>
                  <a:pt x="2241" y="2671"/>
                  <a:pt x="2233" y="2671"/>
                </a:cubicBezTo>
                <a:cubicBezTo>
                  <a:pt x="2233" y="2671"/>
                  <a:pt x="2225" y="2678"/>
                  <a:pt x="2217" y="2678"/>
                </a:cubicBezTo>
                <a:cubicBezTo>
                  <a:pt x="2209" y="2671"/>
                  <a:pt x="2200" y="2663"/>
                  <a:pt x="2200" y="2663"/>
                </a:cubicBezTo>
                <a:lnTo>
                  <a:pt x="2151" y="2663"/>
                </a:lnTo>
                <a:lnTo>
                  <a:pt x="2151" y="2686"/>
                </a:lnTo>
                <a:lnTo>
                  <a:pt x="2143" y="2702"/>
                </a:lnTo>
                <a:lnTo>
                  <a:pt x="2143" y="2742"/>
                </a:lnTo>
                <a:lnTo>
                  <a:pt x="2103" y="2781"/>
                </a:lnTo>
                <a:lnTo>
                  <a:pt x="2094" y="2781"/>
                </a:lnTo>
                <a:lnTo>
                  <a:pt x="2086" y="2789"/>
                </a:lnTo>
                <a:lnTo>
                  <a:pt x="2046" y="2805"/>
                </a:lnTo>
                <a:lnTo>
                  <a:pt x="2029" y="2821"/>
                </a:lnTo>
                <a:lnTo>
                  <a:pt x="2021" y="2821"/>
                </a:lnTo>
                <a:cubicBezTo>
                  <a:pt x="2021" y="2821"/>
                  <a:pt x="1997" y="2836"/>
                  <a:pt x="1980" y="2852"/>
                </a:cubicBezTo>
                <a:lnTo>
                  <a:pt x="1956" y="2868"/>
                </a:lnTo>
                <a:lnTo>
                  <a:pt x="1972" y="2908"/>
                </a:lnTo>
                <a:lnTo>
                  <a:pt x="1997" y="2931"/>
                </a:lnTo>
                <a:lnTo>
                  <a:pt x="2021" y="2971"/>
                </a:lnTo>
                <a:lnTo>
                  <a:pt x="2021" y="2995"/>
                </a:lnTo>
                <a:lnTo>
                  <a:pt x="2005" y="3010"/>
                </a:lnTo>
                <a:cubicBezTo>
                  <a:pt x="2005" y="3018"/>
                  <a:pt x="1997" y="3034"/>
                  <a:pt x="2005" y="3034"/>
                </a:cubicBezTo>
                <a:cubicBezTo>
                  <a:pt x="2013" y="3034"/>
                  <a:pt x="2046" y="3042"/>
                  <a:pt x="2046" y="3042"/>
                </a:cubicBezTo>
                <a:lnTo>
                  <a:pt x="2054" y="3042"/>
                </a:lnTo>
                <a:cubicBezTo>
                  <a:pt x="2062" y="3042"/>
                  <a:pt x="2062" y="3050"/>
                  <a:pt x="2062" y="3050"/>
                </a:cubicBezTo>
                <a:lnTo>
                  <a:pt x="2062" y="3082"/>
                </a:lnTo>
                <a:lnTo>
                  <a:pt x="2062" y="3121"/>
                </a:lnTo>
                <a:cubicBezTo>
                  <a:pt x="2062" y="3153"/>
                  <a:pt x="2054" y="3145"/>
                  <a:pt x="2054" y="3145"/>
                </a:cubicBezTo>
                <a:lnTo>
                  <a:pt x="2013" y="3129"/>
                </a:lnTo>
                <a:lnTo>
                  <a:pt x="1997" y="3113"/>
                </a:lnTo>
                <a:cubicBezTo>
                  <a:pt x="1988" y="3105"/>
                  <a:pt x="1988" y="3097"/>
                  <a:pt x="1988" y="3089"/>
                </a:cubicBezTo>
                <a:cubicBezTo>
                  <a:pt x="1988" y="3082"/>
                  <a:pt x="1997" y="3066"/>
                  <a:pt x="1997" y="3066"/>
                </a:cubicBezTo>
                <a:lnTo>
                  <a:pt x="1964" y="3058"/>
                </a:lnTo>
                <a:lnTo>
                  <a:pt x="1931" y="3058"/>
                </a:lnTo>
                <a:cubicBezTo>
                  <a:pt x="1923" y="3058"/>
                  <a:pt x="1915" y="3074"/>
                  <a:pt x="1915" y="3074"/>
                </a:cubicBezTo>
                <a:cubicBezTo>
                  <a:pt x="1907" y="3082"/>
                  <a:pt x="1899" y="3074"/>
                  <a:pt x="1891" y="3074"/>
                </a:cubicBezTo>
                <a:lnTo>
                  <a:pt x="1883" y="3058"/>
                </a:lnTo>
                <a:cubicBezTo>
                  <a:pt x="1874" y="3058"/>
                  <a:pt x="1842" y="3050"/>
                  <a:pt x="1834" y="3050"/>
                </a:cubicBezTo>
                <a:lnTo>
                  <a:pt x="1801" y="3050"/>
                </a:lnTo>
                <a:cubicBezTo>
                  <a:pt x="1793" y="3058"/>
                  <a:pt x="1801" y="3058"/>
                  <a:pt x="1809" y="3082"/>
                </a:cubicBezTo>
                <a:cubicBezTo>
                  <a:pt x="1809" y="3105"/>
                  <a:pt x="1801" y="3089"/>
                  <a:pt x="1793" y="3089"/>
                </a:cubicBezTo>
                <a:lnTo>
                  <a:pt x="1768" y="3089"/>
                </a:lnTo>
                <a:lnTo>
                  <a:pt x="1728" y="3089"/>
                </a:lnTo>
                <a:cubicBezTo>
                  <a:pt x="1720" y="3097"/>
                  <a:pt x="1720" y="3097"/>
                  <a:pt x="1720" y="3105"/>
                </a:cubicBezTo>
                <a:cubicBezTo>
                  <a:pt x="1711" y="3113"/>
                  <a:pt x="1695" y="3113"/>
                  <a:pt x="1687" y="3113"/>
                </a:cubicBezTo>
                <a:lnTo>
                  <a:pt x="1646" y="3113"/>
                </a:lnTo>
                <a:cubicBezTo>
                  <a:pt x="1638" y="3113"/>
                  <a:pt x="1630" y="3129"/>
                  <a:pt x="1622" y="3137"/>
                </a:cubicBezTo>
                <a:lnTo>
                  <a:pt x="1589" y="3137"/>
                </a:lnTo>
                <a:cubicBezTo>
                  <a:pt x="1581" y="3145"/>
                  <a:pt x="1581" y="3145"/>
                  <a:pt x="1573" y="3153"/>
                </a:cubicBezTo>
                <a:cubicBezTo>
                  <a:pt x="1557" y="3161"/>
                  <a:pt x="1557" y="3161"/>
                  <a:pt x="1548" y="3176"/>
                </a:cubicBezTo>
                <a:cubicBezTo>
                  <a:pt x="1532" y="3192"/>
                  <a:pt x="1540" y="3184"/>
                  <a:pt x="1508" y="3176"/>
                </a:cubicBezTo>
                <a:cubicBezTo>
                  <a:pt x="1483" y="3176"/>
                  <a:pt x="1500" y="3184"/>
                  <a:pt x="1491" y="3184"/>
                </a:cubicBezTo>
                <a:cubicBezTo>
                  <a:pt x="1483" y="3184"/>
                  <a:pt x="1475" y="3192"/>
                  <a:pt x="1467" y="3200"/>
                </a:cubicBezTo>
                <a:cubicBezTo>
                  <a:pt x="1467" y="3208"/>
                  <a:pt x="1451" y="3192"/>
                  <a:pt x="1442" y="3192"/>
                </a:cubicBezTo>
                <a:cubicBezTo>
                  <a:pt x="1434" y="3200"/>
                  <a:pt x="1434" y="3184"/>
                  <a:pt x="1434" y="3161"/>
                </a:cubicBezTo>
                <a:cubicBezTo>
                  <a:pt x="1426" y="3145"/>
                  <a:pt x="1410" y="3145"/>
                  <a:pt x="1410" y="3145"/>
                </a:cubicBezTo>
                <a:cubicBezTo>
                  <a:pt x="1410" y="3145"/>
                  <a:pt x="1394" y="3145"/>
                  <a:pt x="1394" y="3137"/>
                </a:cubicBezTo>
                <a:cubicBezTo>
                  <a:pt x="1394" y="3129"/>
                  <a:pt x="1361" y="3129"/>
                  <a:pt x="1353" y="3129"/>
                </a:cubicBezTo>
                <a:lnTo>
                  <a:pt x="1328" y="3129"/>
                </a:lnTo>
                <a:cubicBezTo>
                  <a:pt x="1328" y="3129"/>
                  <a:pt x="1304" y="3129"/>
                  <a:pt x="1304" y="3137"/>
                </a:cubicBezTo>
                <a:cubicBezTo>
                  <a:pt x="1304" y="3137"/>
                  <a:pt x="1296" y="3137"/>
                  <a:pt x="1279" y="3145"/>
                </a:cubicBezTo>
                <a:cubicBezTo>
                  <a:pt x="1255" y="3153"/>
                  <a:pt x="1271" y="3145"/>
                  <a:pt x="1271" y="3161"/>
                </a:cubicBezTo>
                <a:cubicBezTo>
                  <a:pt x="1279" y="3169"/>
                  <a:pt x="1279" y="3176"/>
                  <a:pt x="1279" y="3176"/>
                </a:cubicBezTo>
                <a:cubicBezTo>
                  <a:pt x="1288" y="3184"/>
                  <a:pt x="1279" y="3176"/>
                  <a:pt x="1279" y="3192"/>
                </a:cubicBezTo>
                <a:cubicBezTo>
                  <a:pt x="1271" y="3208"/>
                  <a:pt x="1271" y="3200"/>
                  <a:pt x="1271" y="3216"/>
                </a:cubicBezTo>
                <a:cubicBezTo>
                  <a:pt x="1263" y="3224"/>
                  <a:pt x="1263" y="3216"/>
                  <a:pt x="1255" y="3240"/>
                </a:cubicBezTo>
                <a:lnTo>
                  <a:pt x="1247" y="3255"/>
                </a:lnTo>
                <a:cubicBezTo>
                  <a:pt x="1239" y="3263"/>
                  <a:pt x="1222" y="3255"/>
                  <a:pt x="1206" y="3248"/>
                </a:cubicBezTo>
                <a:cubicBezTo>
                  <a:pt x="1198" y="3248"/>
                  <a:pt x="1206" y="3240"/>
                  <a:pt x="1206" y="3224"/>
                </a:cubicBezTo>
                <a:cubicBezTo>
                  <a:pt x="1214" y="3208"/>
                  <a:pt x="1206" y="3216"/>
                  <a:pt x="1206" y="3208"/>
                </a:cubicBezTo>
                <a:cubicBezTo>
                  <a:pt x="1206" y="3200"/>
                  <a:pt x="1198" y="3208"/>
                  <a:pt x="1182" y="3216"/>
                </a:cubicBezTo>
                <a:cubicBezTo>
                  <a:pt x="1174" y="3216"/>
                  <a:pt x="1174" y="3200"/>
                  <a:pt x="1182" y="3184"/>
                </a:cubicBezTo>
                <a:cubicBezTo>
                  <a:pt x="1182" y="3169"/>
                  <a:pt x="1174" y="3176"/>
                  <a:pt x="1174" y="3169"/>
                </a:cubicBezTo>
                <a:cubicBezTo>
                  <a:pt x="1174" y="3169"/>
                  <a:pt x="1165" y="3161"/>
                  <a:pt x="1157" y="3161"/>
                </a:cubicBezTo>
                <a:cubicBezTo>
                  <a:pt x="1149" y="3161"/>
                  <a:pt x="1141" y="3153"/>
                  <a:pt x="1141" y="3153"/>
                </a:cubicBezTo>
                <a:cubicBezTo>
                  <a:pt x="1133" y="3145"/>
                  <a:pt x="1116" y="3129"/>
                  <a:pt x="1108" y="3121"/>
                </a:cubicBezTo>
                <a:cubicBezTo>
                  <a:pt x="1092" y="3113"/>
                  <a:pt x="1076" y="3121"/>
                  <a:pt x="1076" y="3121"/>
                </a:cubicBezTo>
                <a:cubicBezTo>
                  <a:pt x="1076" y="3121"/>
                  <a:pt x="1059" y="3137"/>
                  <a:pt x="1043" y="3153"/>
                </a:cubicBezTo>
                <a:lnTo>
                  <a:pt x="1043" y="3161"/>
                </a:lnTo>
                <a:cubicBezTo>
                  <a:pt x="1035" y="3161"/>
                  <a:pt x="1035" y="3161"/>
                  <a:pt x="1035" y="3153"/>
                </a:cubicBezTo>
                <a:lnTo>
                  <a:pt x="1027" y="3145"/>
                </a:lnTo>
                <a:cubicBezTo>
                  <a:pt x="1027" y="3145"/>
                  <a:pt x="1027" y="3129"/>
                  <a:pt x="1019" y="3129"/>
                </a:cubicBezTo>
                <a:cubicBezTo>
                  <a:pt x="1019" y="3129"/>
                  <a:pt x="1011" y="3129"/>
                  <a:pt x="1002" y="3121"/>
                </a:cubicBezTo>
                <a:cubicBezTo>
                  <a:pt x="994" y="3121"/>
                  <a:pt x="986" y="3113"/>
                  <a:pt x="986" y="3113"/>
                </a:cubicBezTo>
                <a:cubicBezTo>
                  <a:pt x="978" y="3113"/>
                  <a:pt x="962" y="3097"/>
                  <a:pt x="962" y="3097"/>
                </a:cubicBezTo>
                <a:lnTo>
                  <a:pt x="953" y="3097"/>
                </a:lnTo>
                <a:lnTo>
                  <a:pt x="945" y="3089"/>
                </a:lnTo>
                <a:lnTo>
                  <a:pt x="937" y="3089"/>
                </a:lnTo>
                <a:cubicBezTo>
                  <a:pt x="929" y="3089"/>
                  <a:pt x="929" y="3089"/>
                  <a:pt x="921" y="3082"/>
                </a:cubicBezTo>
                <a:lnTo>
                  <a:pt x="896" y="3082"/>
                </a:lnTo>
                <a:lnTo>
                  <a:pt x="880" y="3082"/>
                </a:lnTo>
                <a:cubicBezTo>
                  <a:pt x="880" y="3082"/>
                  <a:pt x="872" y="3074"/>
                  <a:pt x="856" y="3074"/>
                </a:cubicBezTo>
                <a:cubicBezTo>
                  <a:pt x="848" y="3082"/>
                  <a:pt x="831" y="3089"/>
                  <a:pt x="823" y="3089"/>
                </a:cubicBezTo>
                <a:lnTo>
                  <a:pt x="815" y="3082"/>
                </a:lnTo>
                <a:lnTo>
                  <a:pt x="815" y="3074"/>
                </a:lnTo>
                <a:cubicBezTo>
                  <a:pt x="815" y="3074"/>
                  <a:pt x="807" y="3066"/>
                  <a:pt x="799" y="3058"/>
                </a:cubicBezTo>
                <a:lnTo>
                  <a:pt x="790" y="3058"/>
                </a:lnTo>
                <a:lnTo>
                  <a:pt x="790" y="3066"/>
                </a:lnTo>
                <a:cubicBezTo>
                  <a:pt x="790" y="3074"/>
                  <a:pt x="807" y="3074"/>
                  <a:pt x="790" y="3074"/>
                </a:cubicBezTo>
                <a:cubicBezTo>
                  <a:pt x="782" y="3066"/>
                  <a:pt x="774" y="3066"/>
                  <a:pt x="774" y="3066"/>
                </a:cubicBezTo>
                <a:lnTo>
                  <a:pt x="750" y="3074"/>
                </a:lnTo>
                <a:lnTo>
                  <a:pt x="758" y="3066"/>
                </a:lnTo>
                <a:lnTo>
                  <a:pt x="766" y="3066"/>
                </a:lnTo>
                <a:lnTo>
                  <a:pt x="766" y="3050"/>
                </a:lnTo>
                <a:cubicBezTo>
                  <a:pt x="774" y="3050"/>
                  <a:pt x="782" y="3042"/>
                  <a:pt x="774" y="3042"/>
                </a:cubicBezTo>
                <a:lnTo>
                  <a:pt x="758" y="3042"/>
                </a:lnTo>
                <a:lnTo>
                  <a:pt x="758" y="3034"/>
                </a:lnTo>
                <a:lnTo>
                  <a:pt x="750" y="3026"/>
                </a:lnTo>
                <a:lnTo>
                  <a:pt x="750" y="3042"/>
                </a:lnTo>
                <a:cubicBezTo>
                  <a:pt x="742" y="3042"/>
                  <a:pt x="742" y="3042"/>
                  <a:pt x="742" y="3034"/>
                </a:cubicBezTo>
                <a:lnTo>
                  <a:pt x="742" y="3026"/>
                </a:lnTo>
                <a:lnTo>
                  <a:pt x="725" y="3026"/>
                </a:lnTo>
                <a:cubicBezTo>
                  <a:pt x="725" y="3026"/>
                  <a:pt x="733" y="3034"/>
                  <a:pt x="717" y="3034"/>
                </a:cubicBezTo>
                <a:cubicBezTo>
                  <a:pt x="709" y="3034"/>
                  <a:pt x="701" y="3042"/>
                  <a:pt x="693" y="3042"/>
                </a:cubicBezTo>
                <a:cubicBezTo>
                  <a:pt x="684" y="3050"/>
                  <a:pt x="684" y="3058"/>
                  <a:pt x="684" y="3058"/>
                </a:cubicBezTo>
                <a:cubicBezTo>
                  <a:pt x="684" y="3066"/>
                  <a:pt x="668" y="3066"/>
                  <a:pt x="668" y="3074"/>
                </a:cubicBezTo>
                <a:cubicBezTo>
                  <a:pt x="676" y="3074"/>
                  <a:pt x="668" y="3074"/>
                  <a:pt x="684" y="3082"/>
                </a:cubicBezTo>
                <a:lnTo>
                  <a:pt x="701" y="3082"/>
                </a:lnTo>
                <a:cubicBezTo>
                  <a:pt x="709" y="3089"/>
                  <a:pt x="717" y="3082"/>
                  <a:pt x="717" y="3082"/>
                </a:cubicBezTo>
                <a:lnTo>
                  <a:pt x="725" y="3089"/>
                </a:lnTo>
                <a:cubicBezTo>
                  <a:pt x="725" y="3089"/>
                  <a:pt x="733" y="3082"/>
                  <a:pt x="733" y="3089"/>
                </a:cubicBezTo>
                <a:cubicBezTo>
                  <a:pt x="733" y="3097"/>
                  <a:pt x="742" y="3105"/>
                  <a:pt x="733" y="3105"/>
                </a:cubicBezTo>
                <a:cubicBezTo>
                  <a:pt x="725" y="3105"/>
                  <a:pt x="717" y="3113"/>
                  <a:pt x="717" y="3105"/>
                </a:cubicBezTo>
                <a:cubicBezTo>
                  <a:pt x="717" y="3105"/>
                  <a:pt x="717" y="3097"/>
                  <a:pt x="709" y="3097"/>
                </a:cubicBezTo>
                <a:lnTo>
                  <a:pt x="701" y="3097"/>
                </a:lnTo>
                <a:lnTo>
                  <a:pt x="693" y="3113"/>
                </a:lnTo>
                <a:cubicBezTo>
                  <a:pt x="693" y="3113"/>
                  <a:pt x="693" y="3121"/>
                  <a:pt x="684" y="3121"/>
                </a:cubicBezTo>
                <a:lnTo>
                  <a:pt x="668" y="3121"/>
                </a:lnTo>
                <a:cubicBezTo>
                  <a:pt x="652" y="3121"/>
                  <a:pt x="652" y="3113"/>
                  <a:pt x="644" y="3113"/>
                </a:cubicBezTo>
                <a:lnTo>
                  <a:pt x="636" y="3113"/>
                </a:lnTo>
                <a:cubicBezTo>
                  <a:pt x="636" y="3113"/>
                  <a:pt x="619" y="3097"/>
                  <a:pt x="611" y="3113"/>
                </a:cubicBezTo>
                <a:cubicBezTo>
                  <a:pt x="603" y="3121"/>
                  <a:pt x="595" y="3129"/>
                  <a:pt x="595" y="3129"/>
                </a:cubicBezTo>
                <a:lnTo>
                  <a:pt x="570" y="3129"/>
                </a:lnTo>
                <a:lnTo>
                  <a:pt x="554" y="3129"/>
                </a:lnTo>
                <a:lnTo>
                  <a:pt x="538" y="3129"/>
                </a:lnTo>
                <a:cubicBezTo>
                  <a:pt x="530" y="3137"/>
                  <a:pt x="521" y="3113"/>
                  <a:pt x="521" y="3113"/>
                </a:cubicBezTo>
                <a:cubicBezTo>
                  <a:pt x="521" y="3113"/>
                  <a:pt x="530" y="3097"/>
                  <a:pt x="505" y="3113"/>
                </a:cubicBezTo>
                <a:cubicBezTo>
                  <a:pt x="481" y="3129"/>
                  <a:pt x="473" y="3129"/>
                  <a:pt x="473" y="3129"/>
                </a:cubicBezTo>
                <a:cubicBezTo>
                  <a:pt x="473" y="3129"/>
                  <a:pt x="464" y="3129"/>
                  <a:pt x="464" y="3137"/>
                </a:cubicBezTo>
                <a:lnTo>
                  <a:pt x="464" y="3129"/>
                </a:lnTo>
                <a:cubicBezTo>
                  <a:pt x="456" y="3129"/>
                  <a:pt x="456" y="3129"/>
                  <a:pt x="456" y="3121"/>
                </a:cubicBezTo>
                <a:cubicBezTo>
                  <a:pt x="456" y="3121"/>
                  <a:pt x="448" y="3121"/>
                  <a:pt x="448" y="3113"/>
                </a:cubicBezTo>
                <a:cubicBezTo>
                  <a:pt x="432" y="3097"/>
                  <a:pt x="407" y="3066"/>
                  <a:pt x="407" y="3066"/>
                </a:cubicBezTo>
                <a:lnTo>
                  <a:pt x="424" y="3034"/>
                </a:lnTo>
                <a:cubicBezTo>
                  <a:pt x="424" y="3034"/>
                  <a:pt x="432" y="2979"/>
                  <a:pt x="432" y="2963"/>
                </a:cubicBezTo>
                <a:lnTo>
                  <a:pt x="432" y="2908"/>
                </a:lnTo>
                <a:cubicBezTo>
                  <a:pt x="432" y="2908"/>
                  <a:pt x="399" y="2900"/>
                  <a:pt x="424" y="2876"/>
                </a:cubicBezTo>
                <a:cubicBezTo>
                  <a:pt x="448" y="2844"/>
                  <a:pt x="473" y="2805"/>
                  <a:pt x="473" y="2805"/>
                </a:cubicBezTo>
                <a:lnTo>
                  <a:pt x="473" y="2726"/>
                </a:lnTo>
                <a:cubicBezTo>
                  <a:pt x="473" y="2726"/>
                  <a:pt x="448" y="2702"/>
                  <a:pt x="481" y="2686"/>
                </a:cubicBezTo>
                <a:cubicBezTo>
                  <a:pt x="513" y="2663"/>
                  <a:pt x="570" y="2591"/>
                  <a:pt x="570" y="2591"/>
                </a:cubicBezTo>
                <a:lnTo>
                  <a:pt x="627" y="2528"/>
                </a:lnTo>
                <a:lnTo>
                  <a:pt x="530" y="2504"/>
                </a:lnTo>
                <a:lnTo>
                  <a:pt x="473" y="2497"/>
                </a:lnTo>
                <a:lnTo>
                  <a:pt x="432" y="2473"/>
                </a:lnTo>
                <a:lnTo>
                  <a:pt x="407" y="2433"/>
                </a:lnTo>
                <a:lnTo>
                  <a:pt x="383" y="2449"/>
                </a:lnTo>
                <a:lnTo>
                  <a:pt x="358" y="2465"/>
                </a:lnTo>
                <a:lnTo>
                  <a:pt x="301" y="2457"/>
                </a:lnTo>
                <a:lnTo>
                  <a:pt x="261" y="2418"/>
                </a:lnTo>
                <a:lnTo>
                  <a:pt x="228" y="2441"/>
                </a:lnTo>
                <a:lnTo>
                  <a:pt x="195" y="2418"/>
                </a:lnTo>
                <a:lnTo>
                  <a:pt x="171" y="2378"/>
                </a:lnTo>
                <a:lnTo>
                  <a:pt x="163" y="2346"/>
                </a:lnTo>
                <a:lnTo>
                  <a:pt x="122" y="2307"/>
                </a:lnTo>
                <a:lnTo>
                  <a:pt x="106" y="2307"/>
                </a:lnTo>
                <a:lnTo>
                  <a:pt x="106" y="2299"/>
                </a:lnTo>
                <a:lnTo>
                  <a:pt x="98" y="2252"/>
                </a:lnTo>
                <a:lnTo>
                  <a:pt x="122" y="2236"/>
                </a:lnTo>
                <a:lnTo>
                  <a:pt x="138" y="2212"/>
                </a:lnTo>
                <a:lnTo>
                  <a:pt x="155" y="2188"/>
                </a:lnTo>
                <a:lnTo>
                  <a:pt x="147" y="2157"/>
                </a:lnTo>
                <a:cubicBezTo>
                  <a:pt x="147" y="2157"/>
                  <a:pt x="114" y="2157"/>
                  <a:pt x="106" y="2149"/>
                </a:cubicBezTo>
                <a:cubicBezTo>
                  <a:pt x="98" y="2149"/>
                  <a:pt x="73" y="2133"/>
                  <a:pt x="73" y="2133"/>
                </a:cubicBezTo>
                <a:lnTo>
                  <a:pt x="65" y="2093"/>
                </a:lnTo>
                <a:lnTo>
                  <a:pt x="49" y="2070"/>
                </a:lnTo>
                <a:lnTo>
                  <a:pt x="41" y="2030"/>
                </a:lnTo>
                <a:lnTo>
                  <a:pt x="49" y="1991"/>
                </a:lnTo>
                <a:lnTo>
                  <a:pt x="57" y="1991"/>
                </a:lnTo>
                <a:lnTo>
                  <a:pt x="65" y="1975"/>
                </a:lnTo>
                <a:lnTo>
                  <a:pt x="65" y="1967"/>
                </a:lnTo>
                <a:cubicBezTo>
                  <a:pt x="65" y="1967"/>
                  <a:pt x="73" y="1959"/>
                  <a:pt x="81" y="1959"/>
                </a:cubicBezTo>
                <a:lnTo>
                  <a:pt x="90" y="1959"/>
                </a:lnTo>
                <a:cubicBezTo>
                  <a:pt x="98" y="1959"/>
                  <a:pt x="98" y="1935"/>
                  <a:pt x="98" y="1935"/>
                </a:cubicBezTo>
                <a:lnTo>
                  <a:pt x="114" y="1935"/>
                </a:lnTo>
                <a:lnTo>
                  <a:pt x="122" y="1927"/>
                </a:lnTo>
                <a:lnTo>
                  <a:pt x="122" y="1912"/>
                </a:lnTo>
                <a:cubicBezTo>
                  <a:pt x="122" y="1912"/>
                  <a:pt x="130" y="1896"/>
                  <a:pt x="130" y="1888"/>
                </a:cubicBezTo>
                <a:cubicBezTo>
                  <a:pt x="130" y="1880"/>
                  <a:pt x="122" y="1872"/>
                  <a:pt x="122" y="1872"/>
                </a:cubicBezTo>
                <a:cubicBezTo>
                  <a:pt x="122" y="1872"/>
                  <a:pt x="114" y="1856"/>
                  <a:pt x="106" y="1856"/>
                </a:cubicBezTo>
                <a:lnTo>
                  <a:pt x="90" y="1856"/>
                </a:lnTo>
                <a:cubicBezTo>
                  <a:pt x="81" y="1856"/>
                  <a:pt x="73" y="1840"/>
                  <a:pt x="73" y="1840"/>
                </a:cubicBezTo>
                <a:cubicBezTo>
                  <a:pt x="73" y="1840"/>
                  <a:pt x="81" y="1833"/>
                  <a:pt x="81" y="1825"/>
                </a:cubicBezTo>
                <a:cubicBezTo>
                  <a:pt x="90" y="1825"/>
                  <a:pt x="90" y="1801"/>
                  <a:pt x="90" y="1801"/>
                </a:cubicBezTo>
                <a:cubicBezTo>
                  <a:pt x="90" y="1801"/>
                  <a:pt x="81" y="1793"/>
                  <a:pt x="73" y="1793"/>
                </a:cubicBezTo>
                <a:lnTo>
                  <a:pt x="57" y="1793"/>
                </a:lnTo>
                <a:lnTo>
                  <a:pt x="57" y="1769"/>
                </a:lnTo>
                <a:cubicBezTo>
                  <a:pt x="57" y="1769"/>
                  <a:pt x="41" y="1761"/>
                  <a:pt x="32" y="1761"/>
                </a:cubicBezTo>
                <a:cubicBezTo>
                  <a:pt x="32" y="1761"/>
                  <a:pt x="32" y="1754"/>
                  <a:pt x="24" y="1754"/>
                </a:cubicBezTo>
                <a:lnTo>
                  <a:pt x="32" y="1754"/>
                </a:lnTo>
                <a:cubicBezTo>
                  <a:pt x="32" y="1746"/>
                  <a:pt x="24" y="1738"/>
                  <a:pt x="24" y="1730"/>
                </a:cubicBezTo>
                <a:lnTo>
                  <a:pt x="32" y="1730"/>
                </a:lnTo>
                <a:cubicBezTo>
                  <a:pt x="32" y="1730"/>
                  <a:pt x="32" y="1722"/>
                  <a:pt x="41" y="1714"/>
                </a:cubicBezTo>
                <a:lnTo>
                  <a:pt x="49" y="1714"/>
                </a:lnTo>
                <a:cubicBezTo>
                  <a:pt x="49" y="1714"/>
                  <a:pt x="49" y="1706"/>
                  <a:pt x="57" y="1706"/>
                </a:cubicBezTo>
                <a:lnTo>
                  <a:pt x="57" y="1682"/>
                </a:lnTo>
                <a:lnTo>
                  <a:pt x="49" y="1674"/>
                </a:lnTo>
                <a:cubicBezTo>
                  <a:pt x="41" y="1674"/>
                  <a:pt x="41" y="1674"/>
                  <a:pt x="41" y="1667"/>
                </a:cubicBezTo>
                <a:cubicBezTo>
                  <a:pt x="32" y="1667"/>
                  <a:pt x="41" y="1659"/>
                  <a:pt x="41" y="1659"/>
                </a:cubicBezTo>
                <a:lnTo>
                  <a:pt x="24" y="1651"/>
                </a:lnTo>
                <a:lnTo>
                  <a:pt x="8" y="1651"/>
                </a:lnTo>
                <a:lnTo>
                  <a:pt x="8" y="1635"/>
                </a:lnTo>
                <a:lnTo>
                  <a:pt x="0" y="1619"/>
                </a:lnTo>
                <a:lnTo>
                  <a:pt x="8" y="1611"/>
                </a:lnTo>
                <a:lnTo>
                  <a:pt x="24" y="1627"/>
                </a:lnTo>
                <a:lnTo>
                  <a:pt x="24" y="1611"/>
                </a:lnTo>
                <a:cubicBezTo>
                  <a:pt x="32" y="1611"/>
                  <a:pt x="41" y="1595"/>
                  <a:pt x="41" y="1595"/>
                </a:cubicBezTo>
                <a:lnTo>
                  <a:pt x="90" y="1595"/>
                </a:lnTo>
                <a:cubicBezTo>
                  <a:pt x="98" y="1587"/>
                  <a:pt x="81" y="1572"/>
                  <a:pt x="81" y="1572"/>
                </a:cubicBezTo>
                <a:lnTo>
                  <a:pt x="65" y="1587"/>
                </a:lnTo>
                <a:cubicBezTo>
                  <a:pt x="57" y="1587"/>
                  <a:pt x="57" y="1564"/>
                  <a:pt x="57" y="1564"/>
                </a:cubicBezTo>
                <a:lnTo>
                  <a:pt x="57" y="1548"/>
                </a:lnTo>
                <a:lnTo>
                  <a:pt x="73" y="1540"/>
                </a:lnTo>
                <a:lnTo>
                  <a:pt x="81" y="1524"/>
                </a:lnTo>
                <a:lnTo>
                  <a:pt x="98" y="1508"/>
                </a:lnTo>
                <a:cubicBezTo>
                  <a:pt x="106" y="1501"/>
                  <a:pt x="98" y="1485"/>
                  <a:pt x="98" y="1485"/>
                </a:cubicBezTo>
                <a:lnTo>
                  <a:pt x="106" y="1461"/>
                </a:lnTo>
                <a:lnTo>
                  <a:pt x="90" y="1437"/>
                </a:lnTo>
                <a:lnTo>
                  <a:pt x="90" y="1414"/>
                </a:lnTo>
                <a:lnTo>
                  <a:pt x="73" y="1390"/>
                </a:lnTo>
                <a:lnTo>
                  <a:pt x="73" y="1382"/>
                </a:lnTo>
                <a:lnTo>
                  <a:pt x="65" y="1366"/>
                </a:lnTo>
                <a:lnTo>
                  <a:pt x="65" y="1350"/>
                </a:lnTo>
                <a:cubicBezTo>
                  <a:pt x="65" y="1350"/>
                  <a:pt x="49" y="1335"/>
                  <a:pt x="41" y="1335"/>
                </a:cubicBezTo>
                <a:cubicBezTo>
                  <a:pt x="32" y="1335"/>
                  <a:pt x="41" y="1327"/>
                  <a:pt x="41" y="1327"/>
                </a:cubicBezTo>
                <a:lnTo>
                  <a:pt x="41" y="1287"/>
                </a:lnTo>
                <a:lnTo>
                  <a:pt x="81" y="1295"/>
                </a:lnTo>
                <a:lnTo>
                  <a:pt x="98" y="1295"/>
                </a:lnTo>
                <a:lnTo>
                  <a:pt x="73" y="1279"/>
                </a:lnTo>
                <a:lnTo>
                  <a:pt x="98" y="1271"/>
                </a:lnTo>
                <a:lnTo>
                  <a:pt x="114" y="1287"/>
                </a:lnTo>
                <a:lnTo>
                  <a:pt x="138" y="1295"/>
                </a:lnTo>
                <a:lnTo>
                  <a:pt x="147" y="1311"/>
                </a:lnTo>
                <a:lnTo>
                  <a:pt x="155" y="1295"/>
                </a:lnTo>
                <a:lnTo>
                  <a:pt x="187" y="1295"/>
                </a:lnTo>
                <a:lnTo>
                  <a:pt x="212" y="1287"/>
                </a:lnTo>
                <a:lnTo>
                  <a:pt x="236" y="1287"/>
                </a:lnTo>
                <a:lnTo>
                  <a:pt x="244" y="1271"/>
                </a:lnTo>
                <a:lnTo>
                  <a:pt x="261" y="1263"/>
                </a:lnTo>
                <a:lnTo>
                  <a:pt x="269" y="1255"/>
                </a:lnTo>
                <a:lnTo>
                  <a:pt x="244" y="1240"/>
                </a:lnTo>
                <a:lnTo>
                  <a:pt x="228" y="1216"/>
                </a:lnTo>
                <a:lnTo>
                  <a:pt x="244" y="1216"/>
                </a:lnTo>
                <a:lnTo>
                  <a:pt x="244" y="1192"/>
                </a:lnTo>
                <a:lnTo>
                  <a:pt x="277" y="1200"/>
                </a:lnTo>
                <a:cubicBezTo>
                  <a:pt x="277" y="1192"/>
                  <a:pt x="277" y="1192"/>
                  <a:pt x="285" y="1184"/>
                </a:cubicBezTo>
                <a:cubicBezTo>
                  <a:pt x="293" y="1184"/>
                  <a:pt x="310" y="1176"/>
                  <a:pt x="310" y="1176"/>
                </a:cubicBezTo>
                <a:lnTo>
                  <a:pt x="318" y="1161"/>
                </a:lnTo>
                <a:lnTo>
                  <a:pt x="334" y="1153"/>
                </a:lnTo>
                <a:cubicBezTo>
                  <a:pt x="342" y="1153"/>
                  <a:pt x="334" y="1145"/>
                  <a:pt x="334" y="1137"/>
                </a:cubicBezTo>
                <a:lnTo>
                  <a:pt x="334" y="1113"/>
                </a:lnTo>
                <a:lnTo>
                  <a:pt x="342" y="1097"/>
                </a:lnTo>
                <a:lnTo>
                  <a:pt x="326" y="1066"/>
                </a:lnTo>
                <a:lnTo>
                  <a:pt x="301" y="1074"/>
                </a:lnTo>
                <a:lnTo>
                  <a:pt x="285" y="1058"/>
                </a:lnTo>
                <a:cubicBezTo>
                  <a:pt x="285" y="1058"/>
                  <a:pt x="261" y="1058"/>
                  <a:pt x="261" y="1050"/>
                </a:cubicBezTo>
                <a:cubicBezTo>
                  <a:pt x="253" y="1042"/>
                  <a:pt x="244" y="1026"/>
                  <a:pt x="244" y="1026"/>
                </a:cubicBezTo>
                <a:lnTo>
                  <a:pt x="244" y="1010"/>
                </a:lnTo>
                <a:lnTo>
                  <a:pt x="269" y="1010"/>
                </a:lnTo>
                <a:lnTo>
                  <a:pt x="253" y="1003"/>
                </a:lnTo>
                <a:lnTo>
                  <a:pt x="253" y="979"/>
                </a:lnTo>
                <a:lnTo>
                  <a:pt x="285" y="971"/>
                </a:lnTo>
                <a:cubicBezTo>
                  <a:pt x="285" y="971"/>
                  <a:pt x="326" y="987"/>
                  <a:pt x="334" y="987"/>
                </a:cubicBezTo>
                <a:cubicBezTo>
                  <a:pt x="342" y="995"/>
                  <a:pt x="342" y="963"/>
                  <a:pt x="342" y="963"/>
                </a:cubicBezTo>
                <a:lnTo>
                  <a:pt x="350" y="923"/>
                </a:lnTo>
                <a:cubicBezTo>
                  <a:pt x="350" y="923"/>
                  <a:pt x="342" y="892"/>
                  <a:pt x="350" y="884"/>
                </a:cubicBezTo>
                <a:cubicBezTo>
                  <a:pt x="359" y="884"/>
                  <a:pt x="383" y="837"/>
                  <a:pt x="383" y="837"/>
                </a:cubicBezTo>
                <a:lnTo>
                  <a:pt x="383" y="734"/>
                </a:lnTo>
                <a:cubicBezTo>
                  <a:pt x="383" y="734"/>
                  <a:pt x="359" y="726"/>
                  <a:pt x="350" y="726"/>
                </a:cubicBezTo>
                <a:cubicBezTo>
                  <a:pt x="350" y="718"/>
                  <a:pt x="359" y="702"/>
                  <a:pt x="359" y="702"/>
                </a:cubicBezTo>
                <a:lnTo>
                  <a:pt x="318" y="694"/>
                </a:lnTo>
                <a:cubicBezTo>
                  <a:pt x="326" y="671"/>
                  <a:pt x="334" y="631"/>
                  <a:pt x="342" y="631"/>
                </a:cubicBezTo>
                <a:cubicBezTo>
                  <a:pt x="350" y="623"/>
                  <a:pt x="367" y="607"/>
                  <a:pt x="367" y="607"/>
                </a:cubicBezTo>
                <a:lnTo>
                  <a:pt x="367" y="576"/>
                </a:lnTo>
                <a:lnTo>
                  <a:pt x="350" y="552"/>
                </a:lnTo>
                <a:lnTo>
                  <a:pt x="367" y="528"/>
                </a:lnTo>
                <a:lnTo>
                  <a:pt x="399" y="512"/>
                </a:lnTo>
                <a:lnTo>
                  <a:pt x="456" y="512"/>
                </a:lnTo>
                <a:lnTo>
                  <a:pt x="489" y="497"/>
                </a:lnTo>
                <a:lnTo>
                  <a:pt x="538" y="497"/>
                </a:lnTo>
                <a:lnTo>
                  <a:pt x="570" y="489"/>
                </a:lnTo>
                <a:lnTo>
                  <a:pt x="595" y="504"/>
                </a:lnTo>
                <a:cubicBezTo>
                  <a:pt x="595" y="504"/>
                  <a:pt x="611" y="520"/>
                  <a:pt x="611" y="528"/>
                </a:cubicBezTo>
                <a:cubicBezTo>
                  <a:pt x="611" y="528"/>
                  <a:pt x="627" y="544"/>
                  <a:pt x="627" y="552"/>
                </a:cubicBezTo>
                <a:cubicBezTo>
                  <a:pt x="619" y="552"/>
                  <a:pt x="636" y="576"/>
                  <a:pt x="636" y="576"/>
                </a:cubicBezTo>
                <a:cubicBezTo>
                  <a:pt x="636" y="576"/>
                  <a:pt x="627" y="591"/>
                  <a:pt x="627" y="599"/>
                </a:cubicBezTo>
                <a:lnTo>
                  <a:pt x="636" y="631"/>
                </a:lnTo>
                <a:cubicBezTo>
                  <a:pt x="636" y="639"/>
                  <a:pt x="652" y="647"/>
                  <a:pt x="652" y="647"/>
                </a:cubicBezTo>
                <a:lnTo>
                  <a:pt x="668" y="639"/>
                </a:lnTo>
                <a:lnTo>
                  <a:pt x="676" y="623"/>
                </a:lnTo>
                <a:lnTo>
                  <a:pt x="660" y="599"/>
                </a:lnTo>
                <a:lnTo>
                  <a:pt x="652" y="599"/>
                </a:lnTo>
                <a:lnTo>
                  <a:pt x="660" y="568"/>
                </a:lnTo>
                <a:cubicBezTo>
                  <a:pt x="660" y="568"/>
                  <a:pt x="676" y="560"/>
                  <a:pt x="684" y="568"/>
                </a:cubicBezTo>
                <a:cubicBezTo>
                  <a:pt x="693" y="568"/>
                  <a:pt x="717" y="591"/>
                  <a:pt x="717" y="591"/>
                </a:cubicBezTo>
                <a:lnTo>
                  <a:pt x="733" y="599"/>
                </a:lnTo>
                <a:lnTo>
                  <a:pt x="758" y="584"/>
                </a:lnTo>
                <a:lnTo>
                  <a:pt x="733" y="552"/>
                </a:lnTo>
                <a:lnTo>
                  <a:pt x="742" y="512"/>
                </a:lnTo>
                <a:lnTo>
                  <a:pt x="750" y="481"/>
                </a:lnTo>
                <a:lnTo>
                  <a:pt x="782" y="457"/>
                </a:lnTo>
                <a:lnTo>
                  <a:pt x="807" y="473"/>
                </a:lnTo>
                <a:lnTo>
                  <a:pt x="888" y="473"/>
                </a:lnTo>
                <a:lnTo>
                  <a:pt x="913" y="465"/>
                </a:lnTo>
                <a:lnTo>
                  <a:pt x="945" y="465"/>
                </a:lnTo>
                <a:lnTo>
                  <a:pt x="929" y="449"/>
                </a:lnTo>
                <a:cubicBezTo>
                  <a:pt x="921" y="449"/>
                  <a:pt x="905" y="433"/>
                  <a:pt x="905" y="433"/>
                </a:cubicBezTo>
                <a:lnTo>
                  <a:pt x="896" y="449"/>
                </a:lnTo>
                <a:cubicBezTo>
                  <a:pt x="888" y="457"/>
                  <a:pt x="864" y="457"/>
                  <a:pt x="864" y="449"/>
                </a:cubicBezTo>
                <a:cubicBezTo>
                  <a:pt x="856" y="449"/>
                  <a:pt x="848" y="425"/>
                  <a:pt x="848" y="425"/>
                </a:cubicBezTo>
                <a:lnTo>
                  <a:pt x="848" y="402"/>
                </a:lnTo>
                <a:lnTo>
                  <a:pt x="864" y="394"/>
                </a:lnTo>
                <a:lnTo>
                  <a:pt x="839" y="370"/>
                </a:lnTo>
                <a:cubicBezTo>
                  <a:pt x="839" y="370"/>
                  <a:pt x="839" y="346"/>
                  <a:pt x="848" y="338"/>
                </a:cubicBezTo>
                <a:cubicBezTo>
                  <a:pt x="856" y="338"/>
                  <a:pt x="856" y="323"/>
                  <a:pt x="856" y="323"/>
                </a:cubicBezTo>
                <a:lnTo>
                  <a:pt x="831" y="323"/>
                </a:lnTo>
                <a:cubicBezTo>
                  <a:pt x="831" y="323"/>
                  <a:pt x="823" y="323"/>
                  <a:pt x="823" y="307"/>
                </a:cubicBezTo>
                <a:cubicBezTo>
                  <a:pt x="831" y="291"/>
                  <a:pt x="831" y="283"/>
                  <a:pt x="831" y="283"/>
                </a:cubicBezTo>
                <a:lnTo>
                  <a:pt x="799" y="283"/>
                </a:lnTo>
                <a:lnTo>
                  <a:pt x="782" y="283"/>
                </a:lnTo>
                <a:lnTo>
                  <a:pt x="758" y="259"/>
                </a:lnTo>
                <a:lnTo>
                  <a:pt x="766" y="237"/>
                </a:lnTo>
                <a:lnTo>
                  <a:pt x="815" y="229"/>
                </a:lnTo>
                <a:lnTo>
                  <a:pt x="872" y="205"/>
                </a:lnTo>
                <a:lnTo>
                  <a:pt x="864" y="189"/>
                </a:lnTo>
                <a:lnTo>
                  <a:pt x="848" y="197"/>
                </a:lnTo>
                <a:lnTo>
                  <a:pt x="839" y="205"/>
                </a:lnTo>
                <a:lnTo>
                  <a:pt x="815" y="205"/>
                </a:lnTo>
                <a:lnTo>
                  <a:pt x="815" y="189"/>
                </a:lnTo>
                <a:lnTo>
                  <a:pt x="839" y="189"/>
                </a:lnTo>
                <a:lnTo>
                  <a:pt x="856" y="181"/>
                </a:lnTo>
                <a:lnTo>
                  <a:pt x="839" y="173"/>
                </a:lnTo>
                <a:lnTo>
                  <a:pt x="815" y="142"/>
                </a:lnTo>
                <a:lnTo>
                  <a:pt x="807" y="118"/>
                </a:lnTo>
                <a:lnTo>
                  <a:pt x="790" y="110"/>
                </a:lnTo>
                <a:lnTo>
                  <a:pt x="774" y="94"/>
                </a:lnTo>
                <a:lnTo>
                  <a:pt x="774" y="71"/>
                </a:lnTo>
                <a:lnTo>
                  <a:pt x="766" y="7"/>
                </a:lnTo>
                <a:lnTo>
                  <a:pt x="790" y="7"/>
                </a:lnTo>
                <a:lnTo>
                  <a:pt x="807" y="0"/>
                </a:lnTo>
                <a:cubicBezTo>
                  <a:pt x="807" y="0"/>
                  <a:pt x="848" y="15"/>
                  <a:pt x="856" y="15"/>
                </a:cubicBezTo>
                <a:cubicBezTo>
                  <a:pt x="864" y="15"/>
                  <a:pt x="880" y="23"/>
                  <a:pt x="880" y="23"/>
                </a:cubicBezTo>
                <a:lnTo>
                  <a:pt x="913" y="39"/>
                </a:lnTo>
                <a:lnTo>
                  <a:pt x="937" y="47"/>
                </a:lnTo>
                <a:lnTo>
                  <a:pt x="945" y="47"/>
                </a:lnTo>
                <a:cubicBezTo>
                  <a:pt x="953" y="47"/>
                  <a:pt x="970" y="39"/>
                  <a:pt x="970" y="39"/>
                </a:cubicBezTo>
                <a:cubicBezTo>
                  <a:pt x="970" y="39"/>
                  <a:pt x="994" y="23"/>
                  <a:pt x="1002" y="23"/>
                </a:cubicBezTo>
                <a:cubicBezTo>
                  <a:pt x="1002" y="15"/>
                  <a:pt x="1010" y="15"/>
                  <a:pt x="1010" y="15"/>
                </a:cubicBezTo>
                <a:lnTo>
                  <a:pt x="1027" y="47"/>
                </a:lnTo>
                <a:lnTo>
                  <a:pt x="1043" y="31"/>
                </a:lnTo>
                <a:lnTo>
                  <a:pt x="1051" y="15"/>
                </a:lnTo>
                <a:lnTo>
                  <a:pt x="1116" y="87"/>
                </a:lnTo>
                <a:lnTo>
                  <a:pt x="1125" y="118"/>
                </a:lnTo>
                <a:lnTo>
                  <a:pt x="1125" y="142"/>
                </a:lnTo>
                <a:cubicBezTo>
                  <a:pt x="1116" y="142"/>
                  <a:pt x="1108" y="173"/>
                  <a:pt x="1108" y="173"/>
                </a:cubicBezTo>
                <a:lnTo>
                  <a:pt x="1108" y="197"/>
                </a:lnTo>
                <a:lnTo>
                  <a:pt x="1125" y="205"/>
                </a:lnTo>
                <a:lnTo>
                  <a:pt x="1149" y="205"/>
                </a:lnTo>
                <a:lnTo>
                  <a:pt x="1165" y="221"/>
                </a:lnTo>
                <a:lnTo>
                  <a:pt x="1173" y="229"/>
                </a:lnTo>
                <a:lnTo>
                  <a:pt x="1198" y="229"/>
                </a:lnTo>
                <a:lnTo>
                  <a:pt x="1206" y="221"/>
                </a:lnTo>
                <a:lnTo>
                  <a:pt x="1239" y="229"/>
                </a:lnTo>
                <a:lnTo>
                  <a:pt x="1263" y="245"/>
                </a:lnTo>
                <a:lnTo>
                  <a:pt x="1288" y="259"/>
                </a:lnTo>
                <a:lnTo>
                  <a:pt x="1328" y="275"/>
                </a:lnTo>
                <a:lnTo>
                  <a:pt x="1336" y="252"/>
                </a:lnTo>
                <a:lnTo>
                  <a:pt x="1345" y="245"/>
                </a:lnTo>
                <a:lnTo>
                  <a:pt x="1369" y="245"/>
                </a:lnTo>
                <a:lnTo>
                  <a:pt x="1385" y="237"/>
                </a:lnTo>
                <a:lnTo>
                  <a:pt x="1394" y="229"/>
                </a:lnTo>
                <a:lnTo>
                  <a:pt x="1369" y="205"/>
                </a:lnTo>
                <a:lnTo>
                  <a:pt x="1369" y="181"/>
                </a:lnTo>
                <a:lnTo>
                  <a:pt x="1385" y="166"/>
                </a:lnTo>
                <a:cubicBezTo>
                  <a:pt x="1394" y="166"/>
                  <a:pt x="1426" y="173"/>
                  <a:pt x="1426" y="173"/>
                </a:cubicBezTo>
                <a:lnTo>
                  <a:pt x="1434" y="197"/>
                </a:lnTo>
                <a:lnTo>
                  <a:pt x="1442" y="221"/>
                </a:lnTo>
                <a:lnTo>
                  <a:pt x="1410" y="229"/>
                </a:lnTo>
                <a:lnTo>
                  <a:pt x="1402" y="245"/>
                </a:lnTo>
                <a:lnTo>
                  <a:pt x="1402" y="275"/>
                </a:lnTo>
                <a:lnTo>
                  <a:pt x="1402" y="307"/>
                </a:lnTo>
                <a:cubicBezTo>
                  <a:pt x="1402" y="307"/>
                  <a:pt x="1402" y="323"/>
                  <a:pt x="1394" y="323"/>
                </a:cubicBezTo>
                <a:cubicBezTo>
                  <a:pt x="1385" y="331"/>
                  <a:pt x="1369" y="331"/>
                  <a:pt x="1369" y="331"/>
                </a:cubicBezTo>
                <a:lnTo>
                  <a:pt x="1369" y="346"/>
                </a:lnTo>
                <a:lnTo>
                  <a:pt x="1345" y="362"/>
                </a:lnTo>
                <a:lnTo>
                  <a:pt x="1320" y="362"/>
                </a:lnTo>
                <a:lnTo>
                  <a:pt x="1312" y="370"/>
                </a:lnTo>
                <a:lnTo>
                  <a:pt x="1320" y="394"/>
                </a:lnTo>
                <a:lnTo>
                  <a:pt x="1336" y="410"/>
                </a:lnTo>
                <a:lnTo>
                  <a:pt x="1361" y="418"/>
                </a:lnTo>
                <a:lnTo>
                  <a:pt x="1377" y="410"/>
                </a:lnTo>
                <a:lnTo>
                  <a:pt x="1385" y="394"/>
                </a:lnTo>
                <a:lnTo>
                  <a:pt x="1410" y="386"/>
                </a:lnTo>
                <a:lnTo>
                  <a:pt x="1442" y="402"/>
                </a:lnTo>
                <a:lnTo>
                  <a:pt x="1451" y="418"/>
                </a:lnTo>
                <a:lnTo>
                  <a:pt x="1483" y="418"/>
                </a:lnTo>
                <a:lnTo>
                  <a:pt x="1491" y="394"/>
                </a:lnTo>
                <a:cubicBezTo>
                  <a:pt x="1491" y="394"/>
                  <a:pt x="1499" y="378"/>
                  <a:pt x="1508" y="378"/>
                </a:cubicBezTo>
                <a:cubicBezTo>
                  <a:pt x="1516" y="378"/>
                  <a:pt x="1524" y="362"/>
                  <a:pt x="1532" y="362"/>
                </a:cubicBezTo>
                <a:cubicBezTo>
                  <a:pt x="1532" y="354"/>
                  <a:pt x="1540" y="338"/>
                  <a:pt x="1540" y="338"/>
                </a:cubicBezTo>
                <a:cubicBezTo>
                  <a:pt x="1540" y="338"/>
                  <a:pt x="1557" y="331"/>
                  <a:pt x="1565" y="331"/>
                </a:cubicBezTo>
                <a:cubicBezTo>
                  <a:pt x="1573" y="331"/>
                  <a:pt x="1622" y="323"/>
                  <a:pt x="1622" y="323"/>
                </a:cubicBezTo>
                <a:cubicBezTo>
                  <a:pt x="1622" y="323"/>
                  <a:pt x="1654" y="315"/>
                  <a:pt x="1662" y="307"/>
                </a:cubicBezTo>
                <a:lnTo>
                  <a:pt x="1695" y="283"/>
                </a:lnTo>
                <a:lnTo>
                  <a:pt x="1703" y="259"/>
                </a:lnTo>
                <a:lnTo>
                  <a:pt x="1728" y="237"/>
                </a:lnTo>
                <a:cubicBezTo>
                  <a:pt x="1728" y="237"/>
                  <a:pt x="1736" y="237"/>
                  <a:pt x="1736" y="229"/>
                </a:cubicBezTo>
                <a:cubicBezTo>
                  <a:pt x="1736" y="221"/>
                  <a:pt x="1744" y="197"/>
                  <a:pt x="1744" y="197"/>
                </a:cubicBezTo>
                <a:lnTo>
                  <a:pt x="1760" y="189"/>
                </a:lnTo>
                <a:cubicBezTo>
                  <a:pt x="1760" y="189"/>
                  <a:pt x="1777" y="197"/>
                  <a:pt x="1777" y="205"/>
                </a:cubicBezTo>
                <a:lnTo>
                  <a:pt x="1768" y="221"/>
                </a:lnTo>
                <a:cubicBezTo>
                  <a:pt x="1768" y="221"/>
                  <a:pt x="1752" y="229"/>
                  <a:pt x="1744" y="237"/>
                </a:cubicBezTo>
                <a:lnTo>
                  <a:pt x="1744" y="252"/>
                </a:lnTo>
                <a:lnTo>
                  <a:pt x="1760" y="237"/>
                </a:lnTo>
                <a:lnTo>
                  <a:pt x="1768" y="229"/>
                </a:lnTo>
                <a:lnTo>
                  <a:pt x="1801" y="221"/>
                </a:lnTo>
                <a:lnTo>
                  <a:pt x="1817" y="229"/>
                </a:lnTo>
                <a:lnTo>
                  <a:pt x="1834" y="237"/>
                </a:lnTo>
                <a:lnTo>
                  <a:pt x="1866" y="229"/>
                </a:lnTo>
                <a:lnTo>
                  <a:pt x="1866" y="213"/>
                </a:lnTo>
                <a:cubicBezTo>
                  <a:pt x="1866" y="213"/>
                  <a:pt x="1866" y="205"/>
                  <a:pt x="1874" y="205"/>
                </a:cubicBezTo>
                <a:cubicBezTo>
                  <a:pt x="1883" y="197"/>
                  <a:pt x="1899" y="189"/>
                  <a:pt x="1899" y="189"/>
                </a:cubicBezTo>
                <a:lnTo>
                  <a:pt x="1899" y="166"/>
                </a:lnTo>
                <a:lnTo>
                  <a:pt x="1907" y="150"/>
                </a:lnTo>
                <a:lnTo>
                  <a:pt x="1923" y="142"/>
                </a:lnTo>
                <a:lnTo>
                  <a:pt x="1931" y="118"/>
                </a:lnTo>
                <a:cubicBezTo>
                  <a:pt x="1931" y="118"/>
                  <a:pt x="1931" y="110"/>
                  <a:pt x="1940" y="110"/>
                </a:cubicBezTo>
                <a:lnTo>
                  <a:pt x="1956" y="94"/>
                </a:lnTo>
                <a:cubicBezTo>
                  <a:pt x="1964" y="87"/>
                  <a:pt x="1964" y="87"/>
                  <a:pt x="1972" y="87"/>
                </a:cubicBezTo>
                <a:lnTo>
                  <a:pt x="1980" y="102"/>
                </a:lnTo>
                <a:cubicBezTo>
                  <a:pt x="1980" y="102"/>
                  <a:pt x="1980" y="110"/>
                  <a:pt x="1972" y="118"/>
                </a:cubicBezTo>
                <a:cubicBezTo>
                  <a:pt x="1964" y="118"/>
                  <a:pt x="1956" y="126"/>
                  <a:pt x="1956" y="126"/>
                </a:cubicBezTo>
                <a:lnTo>
                  <a:pt x="1972" y="142"/>
                </a:lnTo>
                <a:lnTo>
                  <a:pt x="1980" y="150"/>
                </a:lnTo>
                <a:cubicBezTo>
                  <a:pt x="1980" y="158"/>
                  <a:pt x="1972" y="166"/>
                  <a:pt x="1972" y="166"/>
                </a:cubicBezTo>
                <a:cubicBezTo>
                  <a:pt x="1980" y="166"/>
                  <a:pt x="2005" y="158"/>
                  <a:pt x="2005" y="158"/>
                </a:cubicBezTo>
                <a:lnTo>
                  <a:pt x="2005" y="142"/>
                </a:lnTo>
                <a:lnTo>
                  <a:pt x="2021" y="126"/>
                </a:lnTo>
                <a:cubicBezTo>
                  <a:pt x="2029" y="126"/>
                  <a:pt x="2046" y="134"/>
                  <a:pt x="2046" y="134"/>
                </a:cubicBezTo>
                <a:lnTo>
                  <a:pt x="2046" y="150"/>
                </a:lnTo>
                <a:cubicBezTo>
                  <a:pt x="2037" y="150"/>
                  <a:pt x="2021" y="166"/>
                  <a:pt x="2021" y="166"/>
                </a:cubicBezTo>
                <a:cubicBezTo>
                  <a:pt x="2021" y="173"/>
                  <a:pt x="2013" y="173"/>
                  <a:pt x="2021" y="173"/>
                </a:cubicBezTo>
                <a:cubicBezTo>
                  <a:pt x="2021" y="181"/>
                  <a:pt x="2037" y="197"/>
                  <a:pt x="2037" y="197"/>
                </a:cubicBezTo>
                <a:lnTo>
                  <a:pt x="2062" y="213"/>
                </a:lnTo>
                <a:lnTo>
                  <a:pt x="2062" y="229"/>
                </a:lnTo>
                <a:lnTo>
                  <a:pt x="2021" y="229"/>
                </a:lnTo>
                <a:lnTo>
                  <a:pt x="2013" y="237"/>
                </a:lnTo>
                <a:cubicBezTo>
                  <a:pt x="2013" y="237"/>
                  <a:pt x="2005" y="245"/>
                  <a:pt x="1989" y="252"/>
                </a:cubicBezTo>
                <a:cubicBezTo>
                  <a:pt x="1972" y="252"/>
                  <a:pt x="1972" y="252"/>
                  <a:pt x="1972" y="259"/>
                </a:cubicBezTo>
                <a:cubicBezTo>
                  <a:pt x="1972" y="267"/>
                  <a:pt x="1964" y="275"/>
                  <a:pt x="1972" y="283"/>
                </a:cubicBezTo>
                <a:cubicBezTo>
                  <a:pt x="1980" y="291"/>
                  <a:pt x="1997" y="299"/>
                  <a:pt x="1997" y="299"/>
                </a:cubicBezTo>
                <a:cubicBezTo>
                  <a:pt x="1997" y="299"/>
                  <a:pt x="2037" y="315"/>
                  <a:pt x="2037" y="307"/>
                </a:cubicBezTo>
                <a:lnTo>
                  <a:pt x="2119" y="307"/>
                </a:lnTo>
                <a:cubicBezTo>
                  <a:pt x="2119" y="307"/>
                  <a:pt x="2127" y="323"/>
                  <a:pt x="2135" y="331"/>
                </a:cubicBezTo>
                <a:lnTo>
                  <a:pt x="2168" y="354"/>
                </a:lnTo>
                <a:lnTo>
                  <a:pt x="2184" y="354"/>
                </a:lnTo>
                <a:lnTo>
                  <a:pt x="2192" y="386"/>
                </a:lnTo>
                <a:lnTo>
                  <a:pt x="2184" y="410"/>
                </a:lnTo>
                <a:lnTo>
                  <a:pt x="2160" y="418"/>
                </a:lnTo>
                <a:lnTo>
                  <a:pt x="2127" y="441"/>
                </a:lnTo>
                <a:lnTo>
                  <a:pt x="2111" y="433"/>
                </a:lnTo>
                <a:cubicBezTo>
                  <a:pt x="2111" y="433"/>
                  <a:pt x="2127" y="449"/>
                  <a:pt x="2135" y="449"/>
                </a:cubicBezTo>
                <a:cubicBezTo>
                  <a:pt x="2143" y="449"/>
                  <a:pt x="2152" y="457"/>
                  <a:pt x="2152" y="457"/>
                </a:cubicBezTo>
                <a:lnTo>
                  <a:pt x="2225" y="457"/>
                </a:lnTo>
                <a:lnTo>
                  <a:pt x="2225" y="473"/>
                </a:lnTo>
                <a:cubicBezTo>
                  <a:pt x="2233" y="481"/>
                  <a:pt x="2241" y="512"/>
                  <a:pt x="2241" y="520"/>
                </a:cubicBezTo>
                <a:cubicBezTo>
                  <a:pt x="2241" y="520"/>
                  <a:pt x="2249" y="552"/>
                  <a:pt x="2266" y="576"/>
                </a:cubicBezTo>
                <a:cubicBezTo>
                  <a:pt x="2290" y="607"/>
                  <a:pt x="2282" y="615"/>
                  <a:pt x="2282" y="615"/>
                </a:cubicBezTo>
                <a:lnTo>
                  <a:pt x="2282" y="686"/>
                </a:lnTo>
                <a:lnTo>
                  <a:pt x="2282" y="750"/>
                </a:lnTo>
                <a:lnTo>
                  <a:pt x="2241" y="781"/>
                </a:lnTo>
                <a:lnTo>
                  <a:pt x="2225" y="852"/>
                </a:lnTo>
                <a:cubicBezTo>
                  <a:pt x="2225" y="852"/>
                  <a:pt x="2233" y="860"/>
                  <a:pt x="2241" y="860"/>
                </a:cubicBezTo>
                <a:cubicBezTo>
                  <a:pt x="2249" y="868"/>
                  <a:pt x="2274" y="892"/>
                  <a:pt x="2274" y="892"/>
                </a:cubicBezTo>
                <a:cubicBezTo>
                  <a:pt x="2282" y="900"/>
                  <a:pt x="2331" y="923"/>
                  <a:pt x="2355" y="931"/>
                </a:cubicBezTo>
                <a:cubicBezTo>
                  <a:pt x="2380" y="947"/>
                  <a:pt x="2372" y="987"/>
                  <a:pt x="2372" y="987"/>
                </a:cubicBezTo>
                <a:lnTo>
                  <a:pt x="2355" y="1042"/>
                </a:lnTo>
                <a:cubicBezTo>
                  <a:pt x="2355" y="1042"/>
                  <a:pt x="2363" y="1074"/>
                  <a:pt x="2380" y="1074"/>
                </a:cubicBezTo>
                <a:cubicBezTo>
                  <a:pt x="2388" y="1066"/>
                  <a:pt x="2396" y="1113"/>
                  <a:pt x="2396" y="1113"/>
                </a:cubicBezTo>
                <a:cubicBezTo>
                  <a:pt x="2396" y="1113"/>
                  <a:pt x="2404" y="1161"/>
                  <a:pt x="2404" y="1169"/>
                </a:cubicBezTo>
                <a:cubicBezTo>
                  <a:pt x="2396" y="1176"/>
                  <a:pt x="2404" y="1184"/>
                  <a:pt x="2404" y="1184"/>
                </a:cubicBezTo>
                <a:lnTo>
                  <a:pt x="2420" y="1216"/>
                </a:lnTo>
                <a:cubicBezTo>
                  <a:pt x="2420" y="1216"/>
                  <a:pt x="2412" y="1240"/>
                  <a:pt x="2404" y="1248"/>
                </a:cubicBezTo>
                <a:cubicBezTo>
                  <a:pt x="2404" y="1263"/>
                  <a:pt x="2396" y="1279"/>
                  <a:pt x="2396" y="1279"/>
                </a:cubicBezTo>
                <a:lnTo>
                  <a:pt x="2404" y="1303"/>
                </a:lnTo>
                <a:lnTo>
                  <a:pt x="2437" y="1342"/>
                </a:lnTo>
                <a:lnTo>
                  <a:pt x="2437" y="1382"/>
                </a:lnTo>
                <a:lnTo>
                  <a:pt x="2437" y="1406"/>
                </a:lnTo>
                <a:cubicBezTo>
                  <a:pt x="2437" y="1406"/>
                  <a:pt x="2461" y="1414"/>
                  <a:pt x="2469" y="1414"/>
                </a:cubicBezTo>
                <a:cubicBezTo>
                  <a:pt x="2478" y="1414"/>
                  <a:pt x="2494" y="1429"/>
                  <a:pt x="2494" y="1429"/>
                </a:cubicBezTo>
                <a:lnTo>
                  <a:pt x="2494" y="1453"/>
                </a:lnTo>
                <a:lnTo>
                  <a:pt x="2518" y="1485"/>
                </a:lnTo>
                <a:cubicBezTo>
                  <a:pt x="2526" y="1493"/>
                  <a:pt x="2543" y="1516"/>
                  <a:pt x="2543" y="1516"/>
                </a:cubicBezTo>
                <a:cubicBezTo>
                  <a:pt x="2543" y="1516"/>
                  <a:pt x="2543" y="1532"/>
                  <a:pt x="2518" y="1556"/>
                </a:cubicBezTo>
                <a:cubicBezTo>
                  <a:pt x="2502" y="1580"/>
                  <a:pt x="2510" y="1580"/>
                  <a:pt x="2510" y="1587"/>
                </a:cubicBezTo>
                <a:cubicBezTo>
                  <a:pt x="2510" y="1595"/>
                  <a:pt x="2518" y="1611"/>
                  <a:pt x="2518" y="1611"/>
                </a:cubicBezTo>
                <a:cubicBezTo>
                  <a:pt x="2518" y="1611"/>
                  <a:pt x="2510" y="1619"/>
                  <a:pt x="2502" y="1627"/>
                </a:cubicBezTo>
                <a:cubicBezTo>
                  <a:pt x="2502" y="1627"/>
                  <a:pt x="2494" y="1643"/>
                  <a:pt x="2494" y="1659"/>
                </a:cubicBezTo>
                <a:lnTo>
                  <a:pt x="2461" y="1682"/>
                </a:lnTo>
                <a:lnTo>
                  <a:pt x="2453" y="1690"/>
                </a:lnTo>
                <a:cubicBezTo>
                  <a:pt x="2453" y="1682"/>
                  <a:pt x="2445" y="1682"/>
                  <a:pt x="2437" y="1682"/>
                </a:cubicBezTo>
                <a:cubicBezTo>
                  <a:pt x="2429" y="1674"/>
                  <a:pt x="2420" y="1667"/>
                  <a:pt x="2420" y="1667"/>
                </a:cubicBezTo>
                <a:lnTo>
                  <a:pt x="2420" y="1635"/>
                </a:lnTo>
                <a:lnTo>
                  <a:pt x="2420" y="1619"/>
                </a:lnTo>
                <a:cubicBezTo>
                  <a:pt x="2412" y="1611"/>
                  <a:pt x="2396" y="1603"/>
                  <a:pt x="2380" y="1595"/>
                </a:cubicBezTo>
                <a:cubicBezTo>
                  <a:pt x="2363" y="1595"/>
                  <a:pt x="2331" y="1595"/>
                  <a:pt x="2323" y="1603"/>
                </a:cubicBezTo>
                <a:lnTo>
                  <a:pt x="2323" y="1635"/>
                </a:lnTo>
                <a:lnTo>
                  <a:pt x="2339" y="1659"/>
                </a:lnTo>
                <a:lnTo>
                  <a:pt x="2331" y="1674"/>
                </a:lnTo>
                <a:cubicBezTo>
                  <a:pt x="2331" y="1674"/>
                  <a:pt x="2257" y="1690"/>
                  <a:pt x="2233" y="1690"/>
                </a:cubicBezTo>
                <a:cubicBezTo>
                  <a:pt x="2209" y="1690"/>
                  <a:pt x="2217" y="1706"/>
                  <a:pt x="2217" y="1706"/>
                </a:cubicBezTo>
                <a:lnTo>
                  <a:pt x="2200" y="1738"/>
                </a:lnTo>
                <a:lnTo>
                  <a:pt x="2184" y="1754"/>
                </a:lnTo>
                <a:lnTo>
                  <a:pt x="2135" y="1769"/>
                </a:lnTo>
                <a:cubicBezTo>
                  <a:pt x="2135" y="1769"/>
                  <a:pt x="2086" y="1809"/>
                  <a:pt x="2078" y="1809"/>
                </a:cubicBezTo>
                <a:lnTo>
                  <a:pt x="2046" y="1833"/>
                </a:lnTo>
                <a:cubicBezTo>
                  <a:pt x="2046" y="1833"/>
                  <a:pt x="2037" y="1833"/>
                  <a:pt x="2013" y="1848"/>
                </a:cubicBezTo>
                <a:cubicBezTo>
                  <a:pt x="1980" y="1856"/>
                  <a:pt x="1997" y="1872"/>
                  <a:pt x="1989" y="1880"/>
                </a:cubicBezTo>
                <a:cubicBezTo>
                  <a:pt x="1989" y="1896"/>
                  <a:pt x="1980" y="1896"/>
                  <a:pt x="1964" y="1904"/>
                </a:cubicBezTo>
                <a:cubicBezTo>
                  <a:pt x="1956" y="1904"/>
                  <a:pt x="1931" y="1896"/>
                  <a:pt x="1915" y="1896"/>
                </a:cubicBezTo>
                <a:cubicBezTo>
                  <a:pt x="1907" y="1896"/>
                  <a:pt x="1883" y="1912"/>
                  <a:pt x="1866" y="1912"/>
                </a:cubicBezTo>
                <a:lnTo>
                  <a:pt x="1842" y="1912"/>
                </a:lnTo>
                <a:lnTo>
                  <a:pt x="1809" y="1951"/>
                </a:lnTo>
                <a:lnTo>
                  <a:pt x="1785" y="1999"/>
                </a:lnTo>
                <a:lnTo>
                  <a:pt x="1777" y="1975"/>
                </a:lnTo>
                <a:lnTo>
                  <a:pt x="1768" y="1943"/>
                </a:lnTo>
                <a:lnTo>
                  <a:pt x="1728" y="1943"/>
                </a:lnTo>
                <a:lnTo>
                  <a:pt x="1736" y="1967"/>
                </a:lnTo>
                <a:cubicBezTo>
                  <a:pt x="1736" y="1967"/>
                  <a:pt x="1752" y="2022"/>
                  <a:pt x="1760" y="2030"/>
                </a:cubicBezTo>
                <a:cubicBezTo>
                  <a:pt x="1768" y="2038"/>
                  <a:pt x="1777" y="2038"/>
                  <a:pt x="1793" y="2046"/>
                </a:cubicBezTo>
                <a:cubicBezTo>
                  <a:pt x="1817" y="2062"/>
                  <a:pt x="1817" y="2062"/>
                  <a:pt x="1842" y="2078"/>
                </a:cubicBezTo>
                <a:cubicBezTo>
                  <a:pt x="1866" y="2093"/>
                  <a:pt x="1858" y="2109"/>
                  <a:pt x="1858" y="2117"/>
                </a:cubicBezTo>
                <a:cubicBezTo>
                  <a:pt x="1858" y="2133"/>
                  <a:pt x="1858" y="2133"/>
                  <a:pt x="1842" y="2149"/>
                </a:cubicBezTo>
                <a:cubicBezTo>
                  <a:pt x="1826" y="2172"/>
                  <a:pt x="1842" y="2188"/>
                  <a:pt x="1842" y="2188"/>
                </a:cubicBezTo>
                <a:cubicBezTo>
                  <a:pt x="1842" y="2188"/>
                  <a:pt x="1850" y="2204"/>
                  <a:pt x="1866" y="2220"/>
                </a:cubicBezTo>
                <a:cubicBezTo>
                  <a:pt x="1883" y="2236"/>
                  <a:pt x="1874" y="2244"/>
                  <a:pt x="1883" y="2267"/>
                </a:cubicBezTo>
                <a:cubicBezTo>
                  <a:pt x="1883" y="2291"/>
                  <a:pt x="1883" y="2283"/>
                  <a:pt x="1899" y="2307"/>
                </a:cubicBezTo>
                <a:cubicBezTo>
                  <a:pt x="1915" y="2323"/>
                  <a:pt x="1907" y="2315"/>
                  <a:pt x="1923" y="2331"/>
                </a:cubicBezTo>
                <a:cubicBezTo>
                  <a:pt x="1940" y="2346"/>
                  <a:pt x="1940" y="2354"/>
                  <a:pt x="1940" y="2354"/>
                </a:cubicBezTo>
                <a:cubicBezTo>
                  <a:pt x="1940" y="2354"/>
                  <a:pt x="1989" y="2338"/>
                  <a:pt x="2005" y="2354"/>
                </a:cubicBezTo>
                <a:cubicBezTo>
                  <a:pt x="2021" y="2370"/>
                  <a:pt x="2013" y="2362"/>
                  <a:pt x="2046" y="2386"/>
                </a:cubicBezTo>
                <a:cubicBezTo>
                  <a:pt x="2070" y="2418"/>
                  <a:pt x="2046" y="2402"/>
                  <a:pt x="2054" y="2425"/>
                </a:cubicBezTo>
                <a:cubicBezTo>
                  <a:pt x="2062" y="2441"/>
                  <a:pt x="2070" y="2433"/>
                  <a:pt x="2070" y="2433"/>
                </a:cubicBezTo>
                <a:cubicBezTo>
                  <a:pt x="2070" y="2433"/>
                  <a:pt x="2078" y="2441"/>
                  <a:pt x="2094" y="2441"/>
                </a:cubicBezTo>
                <a:cubicBezTo>
                  <a:pt x="2111" y="2441"/>
                  <a:pt x="2111" y="2457"/>
                  <a:pt x="2111" y="2473"/>
                </a:cubicBezTo>
                <a:cubicBezTo>
                  <a:pt x="2119" y="2489"/>
                  <a:pt x="2119" y="2489"/>
                  <a:pt x="2135" y="2504"/>
                </a:cubicBezTo>
                <a:cubicBezTo>
                  <a:pt x="2143" y="2512"/>
                  <a:pt x="2152" y="2504"/>
                  <a:pt x="2176" y="2497"/>
                </a:cubicBezTo>
                <a:cubicBezTo>
                  <a:pt x="2192" y="2497"/>
                  <a:pt x="2184" y="2512"/>
                  <a:pt x="2184" y="2520"/>
                </a:cubicBezTo>
                <a:cubicBezTo>
                  <a:pt x="2184" y="2528"/>
                  <a:pt x="2200" y="2528"/>
                  <a:pt x="2217" y="2536"/>
                </a:cubicBezTo>
                <a:cubicBezTo>
                  <a:pt x="2233" y="2544"/>
                  <a:pt x="2225" y="2544"/>
                  <a:pt x="2241" y="2560"/>
                </a:cubicBezTo>
                <a:lnTo>
                  <a:pt x="2241" y="2568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lt1"/>
              </a:solidFill>
              <a:latin typeface="+mj-lt"/>
            </a:endParaRPr>
          </a:p>
        </p:txBody>
      </p:sp>
      <p:sp>
        <p:nvSpPr>
          <p:cNvPr id="129" name="Freeform 121">
            <a:extLst>
              <a:ext uri="{FF2B5EF4-FFF2-40B4-BE49-F238E27FC236}">
                <a16:creationId xmlns:a16="http://schemas.microsoft.com/office/drawing/2014/main" id="{D61A8BFF-4D64-B2F7-0450-2D964C1DAFF5}"/>
              </a:ext>
            </a:extLst>
          </p:cNvPr>
          <p:cNvSpPr>
            <a:spLocks noChangeArrowheads="1"/>
          </p:cNvSpPr>
          <p:nvPr>
            <p:custDataLst>
              <p:tags r:id="rId120"/>
            </p:custDataLst>
          </p:nvPr>
        </p:nvSpPr>
        <p:spPr bwMode="auto">
          <a:xfrm>
            <a:off x="7688642" y="3796311"/>
            <a:ext cx="1812" cy="1811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30" name="Freeform 122">
            <a:extLst>
              <a:ext uri="{FF2B5EF4-FFF2-40B4-BE49-F238E27FC236}">
                <a16:creationId xmlns:a16="http://schemas.microsoft.com/office/drawing/2014/main" id="{E6D248C6-5BC9-ED84-A49F-A35A8782F489}"/>
              </a:ext>
            </a:extLst>
          </p:cNvPr>
          <p:cNvSpPr>
            <a:spLocks noChangeArrowheads="1"/>
          </p:cNvSpPr>
          <p:nvPr>
            <p:custDataLst>
              <p:tags r:id="rId121"/>
            </p:custDataLst>
          </p:nvPr>
        </p:nvSpPr>
        <p:spPr bwMode="auto">
          <a:xfrm>
            <a:off x="6643570" y="3133406"/>
            <a:ext cx="1045072" cy="1340301"/>
          </a:xfrm>
          <a:custGeom>
            <a:avLst/>
            <a:gdLst>
              <a:gd name="T0" fmla="*/ 2151 w 2544"/>
              <a:gd name="T1" fmla="*/ 2686 h 3264"/>
              <a:gd name="T2" fmla="*/ 1980 w 2544"/>
              <a:gd name="T3" fmla="*/ 2852 h 3264"/>
              <a:gd name="T4" fmla="*/ 2054 w 2544"/>
              <a:gd name="T5" fmla="*/ 3042 h 3264"/>
              <a:gd name="T6" fmla="*/ 1964 w 2544"/>
              <a:gd name="T7" fmla="*/ 3058 h 3264"/>
              <a:gd name="T8" fmla="*/ 1768 w 2544"/>
              <a:gd name="T9" fmla="*/ 3089 h 3264"/>
              <a:gd name="T10" fmla="*/ 1508 w 2544"/>
              <a:gd name="T11" fmla="*/ 3176 h 3264"/>
              <a:gd name="T12" fmla="*/ 1304 w 2544"/>
              <a:gd name="T13" fmla="*/ 3137 h 3264"/>
              <a:gd name="T14" fmla="*/ 1206 w 2544"/>
              <a:gd name="T15" fmla="*/ 3224 h 3264"/>
              <a:gd name="T16" fmla="*/ 1043 w 2544"/>
              <a:gd name="T17" fmla="*/ 3153 h 3264"/>
              <a:gd name="T18" fmla="*/ 945 w 2544"/>
              <a:gd name="T19" fmla="*/ 3089 h 3264"/>
              <a:gd name="T20" fmla="*/ 799 w 2544"/>
              <a:gd name="T21" fmla="*/ 3058 h 3264"/>
              <a:gd name="T22" fmla="*/ 774 w 2544"/>
              <a:gd name="T23" fmla="*/ 3042 h 3264"/>
              <a:gd name="T24" fmla="*/ 693 w 2544"/>
              <a:gd name="T25" fmla="*/ 3042 h 3264"/>
              <a:gd name="T26" fmla="*/ 717 w 2544"/>
              <a:gd name="T27" fmla="*/ 3105 h 3264"/>
              <a:gd name="T28" fmla="*/ 595 w 2544"/>
              <a:gd name="T29" fmla="*/ 3129 h 3264"/>
              <a:gd name="T30" fmla="*/ 456 w 2544"/>
              <a:gd name="T31" fmla="*/ 3121 h 3264"/>
              <a:gd name="T32" fmla="*/ 481 w 2544"/>
              <a:gd name="T33" fmla="*/ 2686 h 3264"/>
              <a:gd name="T34" fmla="*/ 301 w 2544"/>
              <a:gd name="T35" fmla="*/ 2457 h 3264"/>
              <a:gd name="T36" fmla="*/ 98 w 2544"/>
              <a:gd name="T37" fmla="*/ 2252 h 3264"/>
              <a:gd name="T38" fmla="*/ 41 w 2544"/>
              <a:gd name="T39" fmla="*/ 2030 h 3264"/>
              <a:gd name="T40" fmla="*/ 122 w 2544"/>
              <a:gd name="T41" fmla="*/ 1927 h 3264"/>
              <a:gd name="T42" fmla="*/ 73 w 2544"/>
              <a:gd name="T43" fmla="*/ 1793 h 3264"/>
              <a:gd name="T44" fmla="*/ 49 w 2544"/>
              <a:gd name="T45" fmla="*/ 1714 h 3264"/>
              <a:gd name="T46" fmla="*/ 0 w 2544"/>
              <a:gd name="T47" fmla="*/ 1619 h 3264"/>
              <a:gd name="T48" fmla="*/ 57 w 2544"/>
              <a:gd name="T49" fmla="*/ 1548 h 3264"/>
              <a:gd name="T50" fmla="*/ 73 w 2544"/>
              <a:gd name="T51" fmla="*/ 1382 h 3264"/>
              <a:gd name="T52" fmla="*/ 98 w 2544"/>
              <a:gd name="T53" fmla="*/ 1271 h 3264"/>
              <a:gd name="T54" fmla="*/ 261 w 2544"/>
              <a:gd name="T55" fmla="*/ 1263 h 3264"/>
              <a:gd name="T56" fmla="*/ 318 w 2544"/>
              <a:gd name="T57" fmla="*/ 1161 h 3264"/>
              <a:gd name="T58" fmla="*/ 244 w 2544"/>
              <a:gd name="T59" fmla="*/ 1026 h 3264"/>
              <a:gd name="T60" fmla="*/ 350 w 2544"/>
              <a:gd name="T61" fmla="*/ 884 h 3264"/>
              <a:gd name="T62" fmla="*/ 350 w 2544"/>
              <a:gd name="T63" fmla="*/ 552 h 3264"/>
              <a:gd name="T64" fmla="*/ 627 w 2544"/>
              <a:gd name="T65" fmla="*/ 552 h 3264"/>
              <a:gd name="T66" fmla="*/ 660 w 2544"/>
              <a:gd name="T67" fmla="*/ 568 h 3264"/>
              <a:gd name="T68" fmla="*/ 807 w 2544"/>
              <a:gd name="T69" fmla="*/ 473 h 3264"/>
              <a:gd name="T70" fmla="*/ 848 w 2544"/>
              <a:gd name="T71" fmla="*/ 402 h 3264"/>
              <a:gd name="T72" fmla="*/ 782 w 2544"/>
              <a:gd name="T73" fmla="*/ 283 h 3264"/>
              <a:gd name="T74" fmla="*/ 815 w 2544"/>
              <a:gd name="T75" fmla="*/ 189 h 3264"/>
              <a:gd name="T76" fmla="*/ 766 w 2544"/>
              <a:gd name="T77" fmla="*/ 7 h 3264"/>
              <a:gd name="T78" fmla="*/ 1002 w 2544"/>
              <a:gd name="T79" fmla="*/ 23 h 3264"/>
              <a:gd name="T80" fmla="*/ 1108 w 2544"/>
              <a:gd name="T81" fmla="*/ 197 h 3264"/>
              <a:gd name="T82" fmla="*/ 1288 w 2544"/>
              <a:gd name="T83" fmla="*/ 259 h 3264"/>
              <a:gd name="T84" fmla="*/ 1385 w 2544"/>
              <a:gd name="T85" fmla="*/ 166 h 3264"/>
              <a:gd name="T86" fmla="*/ 1369 w 2544"/>
              <a:gd name="T87" fmla="*/ 331 h 3264"/>
              <a:gd name="T88" fmla="*/ 1385 w 2544"/>
              <a:gd name="T89" fmla="*/ 394 h 3264"/>
              <a:gd name="T90" fmla="*/ 1565 w 2544"/>
              <a:gd name="T91" fmla="*/ 331 h 3264"/>
              <a:gd name="T92" fmla="*/ 1777 w 2544"/>
              <a:gd name="T93" fmla="*/ 205 h 3264"/>
              <a:gd name="T94" fmla="*/ 1866 w 2544"/>
              <a:gd name="T95" fmla="*/ 229 h 3264"/>
              <a:gd name="T96" fmla="*/ 1956 w 2544"/>
              <a:gd name="T97" fmla="*/ 94 h 3264"/>
              <a:gd name="T98" fmla="*/ 2005 w 2544"/>
              <a:gd name="T99" fmla="*/ 142 h 3264"/>
              <a:gd name="T100" fmla="*/ 2021 w 2544"/>
              <a:gd name="T101" fmla="*/ 229 h 3264"/>
              <a:gd name="T102" fmla="*/ 2168 w 2544"/>
              <a:gd name="T103" fmla="*/ 354 h 3264"/>
              <a:gd name="T104" fmla="*/ 2225 w 2544"/>
              <a:gd name="T105" fmla="*/ 457 h 3264"/>
              <a:gd name="T106" fmla="*/ 2241 w 2544"/>
              <a:gd name="T107" fmla="*/ 860 h 3264"/>
              <a:gd name="T108" fmla="*/ 2420 w 2544"/>
              <a:gd name="T109" fmla="*/ 1216 h 3264"/>
              <a:gd name="T110" fmla="*/ 2494 w 2544"/>
              <a:gd name="T111" fmla="*/ 1453 h 3264"/>
              <a:gd name="T112" fmla="*/ 2453 w 2544"/>
              <a:gd name="T113" fmla="*/ 1690 h 3264"/>
              <a:gd name="T114" fmla="*/ 2331 w 2544"/>
              <a:gd name="T115" fmla="*/ 1674 h 3264"/>
              <a:gd name="T116" fmla="*/ 1989 w 2544"/>
              <a:gd name="T117" fmla="*/ 1880 h 3264"/>
              <a:gd name="T118" fmla="*/ 1728 w 2544"/>
              <a:gd name="T119" fmla="*/ 1943 h 3264"/>
              <a:gd name="T120" fmla="*/ 1883 w 2544"/>
              <a:gd name="T121" fmla="*/ 2267 h 3264"/>
              <a:gd name="T122" fmla="*/ 2111 w 2544"/>
              <a:gd name="T123" fmla="*/ 2473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44" h="3264">
                <a:moveTo>
                  <a:pt x="2241" y="2568"/>
                </a:moveTo>
                <a:lnTo>
                  <a:pt x="2241" y="2591"/>
                </a:lnTo>
                <a:lnTo>
                  <a:pt x="2249" y="2631"/>
                </a:lnTo>
                <a:lnTo>
                  <a:pt x="2249" y="2655"/>
                </a:lnTo>
                <a:cubicBezTo>
                  <a:pt x="2249" y="2655"/>
                  <a:pt x="2241" y="2671"/>
                  <a:pt x="2233" y="2671"/>
                </a:cubicBezTo>
                <a:cubicBezTo>
                  <a:pt x="2233" y="2671"/>
                  <a:pt x="2225" y="2678"/>
                  <a:pt x="2217" y="2678"/>
                </a:cubicBezTo>
                <a:cubicBezTo>
                  <a:pt x="2209" y="2671"/>
                  <a:pt x="2200" y="2663"/>
                  <a:pt x="2200" y="2663"/>
                </a:cubicBezTo>
                <a:lnTo>
                  <a:pt x="2151" y="2663"/>
                </a:lnTo>
                <a:lnTo>
                  <a:pt x="2151" y="2686"/>
                </a:lnTo>
                <a:lnTo>
                  <a:pt x="2143" y="2702"/>
                </a:lnTo>
                <a:lnTo>
                  <a:pt x="2143" y="2742"/>
                </a:lnTo>
                <a:lnTo>
                  <a:pt x="2103" y="2781"/>
                </a:lnTo>
                <a:lnTo>
                  <a:pt x="2094" y="2781"/>
                </a:lnTo>
                <a:lnTo>
                  <a:pt x="2086" y="2789"/>
                </a:lnTo>
                <a:lnTo>
                  <a:pt x="2046" y="2805"/>
                </a:lnTo>
                <a:lnTo>
                  <a:pt x="2029" y="2821"/>
                </a:lnTo>
                <a:lnTo>
                  <a:pt x="2021" y="2821"/>
                </a:lnTo>
                <a:cubicBezTo>
                  <a:pt x="2021" y="2821"/>
                  <a:pt x="1997" y="2836"/>
                  <a:pt x="1980" y="2852"/>
                </a:cubicBezTo>
                <a:lnTo>
                  <a:pt x="1956" y="2868"/>
                </a:lnTo>
                <a:lnTo>
                  <a:pt x="1972" y="2908"/>
                </a:lnTo>
                <a:lnTo>
                  <a:pt x="1997" y="2931"/>
                </a:lnTo>
                <a:lnTo>
                  <a:pt x="2021" y="2971"/>
                </a:lnTo>
                <a:lnTo>
                  <a:pt x="2021" y="2995"/>
                </a:lnTo>
                <a:lnTo>
                  <a:pt x="2005" y="3010"/>
                </a:lnTo>
                <a:cubicBezTo>
                  <a:pt x="2005" y="3018"/>
                  <a:pt x="1997" y="3034"/>
                  <a:pt x="2005" y="3034"/>
                </a:cubicBezTo>
                <a:cubicBezTo>
                  <a:pt x="2013" y="3034"/>
                  <a:pt x="2046" y="3042"/>
                  <a:pt x="2046" y="3042"/>
                </a:cubicBezTo>
                <a:lnTo>
                  <a:pt x="2054" y="3042"/>
                </a:lnTo>
                <a:cubicBezTo>
                  <a:pt x="2062" y="3042"/>
                  <a:pt x="2062" y="3050"/>
                  <a:pt x="2062" y="3050"/>
                </a:cubicBezTo>
                <a:lnTo>
                  <a:pt x="2062" y="3082"/>
                </a:lnTo>
                <a:lnTo>
                  <a:pt x="2062" y="3121"/>
                </a:lnTo>
                <a:cubicBezTo>
                  <a:pt x="2062" y="3153"/>
                  <a:pt x="2054" y="3145"/>
                  <a:pt x="2054" y="3145"/>
                </a:cubicBezTo>
                <a:lnTo>
                  <a:pt x="2013" y="3129"/>
                </a:lnTo>
                <a:lnTo>
                  <a:pt x="1997" y="3113"/>
                </a:lnTo>
                <a:cubicBezTo>
                  <a:pt x="1988" y="3105"/>
                  <a:pt x="1988" y="3097"/>
                  <a:pt x="1988" y="3089"/>
                </a:cubicBezTo>
                <a:cubicBezTo>
                  <a:pt x="1988" y="3082"/>
                  <a:pt x="1997" y="3066"/>
                  <a:pt x="1997" y="3066"/>
                </a:cubicBezTo>
                <a:lnTo>
                  <a:pt x="1964" y="3058"/>
                </a:lnTo>
                <a:lnTo>
                  <a:pt x="1931" y="3058"/>
                </a:lnTo>
                <a:cubicBezTo>
                  <a:pt x="1923" y="3058"/>
                  <a:pt x="1915" y="3074"/>
                  <a:pt x="1915" y="3074"/>
                </a:cubicBezTo>
                <a:cubicBezTo>
                  <a:pt x="1907" y="3082"/>
                  <a:pt x="1899" y="3074"/>
                  <a:pt x="1891" y="3074"/>
                </a:cubicBezTo>
                <a:lnTo>
                  <a:pt x="1883" y="3058"/>
                </a:lnTo>
                <a:cubicBezTo>
                  <a:pt x="1874" y="3058"/>
                  <a:pt x="1842" y="3050"/>
                  <a:pt x="1834" y="3050"/>
                </a:cubicBezTo>
                <a:lnTo>
                  <a:pt x="1801" y="3050"/>
                </a:lnTo>
                <a:cubicBezTo>
                  <a:pt x="1793" y="3058"/>
                  <a:pt x="1801" y="3058"/>
                  <a:pt x="1809" y="3082"/>
                </a:cubicBezTo>
                <a:cubicBezTo>
                  <a:pt x="1809" y="3105"/>
                  <a:pt x="1801" y="3089"/>
                  <a:pt x="1793" y="3089"/>
                </a:cubicBezTo>
                <a:lnTo>
                  <a:pt x="1768" y="3089"/>
                </a:lnTo>
                <a:lnTo>
                  <a:pt x="1728" y="3089"/>
                </a:lnTo>
                <a:cubicBezTo>
                  <a:pt x="1720" y="3097"/>
                  <a:pt x="1720" y="3097"/>
                  <a:pt x="1720" y="3105"/>
                </a:cubicBezTo>
                <a:cubicBezTo>
                  <a:pt x="1711" y="3113"/>
                  <a:pt x="1695" y="3113"/>
                  <a:pt x="1687" y="3113"/>
                </a:cubicBezTo>
                <a:lnTo>
                  <a:pt x="1646" y="3113"/>
                </a:lnTo>
                <a:cubicBezTo>
                  <a:pt x="1638" y="3113"/>
                  <a:pt x="1630" y="3129"/>
                  <a:pt x="1622" y="3137"/>
                </a:cubicBezTo>
                <a:lnTo>
                  <a:pt x="1589" y="3137"/>
                </a:lnTo>
                <a:cubicBezTo>
                  <a:pt x="1581" y="3145"/>
                  <a:pt x="1581" y="3145"/>
                  <a:pt x="1573" y="3153"/>
                </a:cubicBezTo>
                <a:cubicBezTo>
                  <a:pt x="1557" y="3161"/>
                  <a:pt x="1557" y="3161"/>
                  <a:pt x="1548" y="3176"/>
                </a:cubicBezTo>
                <a:cubicBezTo>
                  <a:pt x="1532" y="3192"/>
                  <a:pt x="1540" y="3184"/>
                  <a:pt x="1508" y="3176"/>
                </a:cubicBezTo>
                <a:cubicBezTo>
                  <a:pt x="1483" y="3176"/>
                  <a:pt x="1500" y="3184"/>
                  <a:pt x="1491" y="3184"/>
                </a:cubicBezTo>
                <a:cubicBezTo>
                  <a:pt x="1483" y="3184"/>
                  <a:pt x="1475" y="3192"/>
                  <a:pt x="1467" y="3200"/>
                </a:cubicBezTo>
                <a:cubicBezTo>
                  <a:pt x="1467" y="3208"/>
                  <a:pt x="1451" y="3192"/>
                  <a:pt x="1442" y="3192"/>
                </a:cubicBezTo>
                <a:cubicBezTo>
                  <a:pt x="1434" y="3200"/>
                  <a:pt x="1434" y="3184"/>
                  <a:pt x="1434" y="3161"/>
                </a:cubicBezTo>
                <a:cubicBezTo>
                  <a:pt x="1426" y="3145"/>
                  <a:pt x="1410" y="3145"/>
                  <a:pt x="1410" y="3145"/>
                </a:cubicBezTo>
                <a:cubicBezTo>
                  <a:pt x="1410" y="3145"/>
                  <a:pt x="1394" y="3145"/>
                  <a:pt x="1394" y="3137"/>
                </a:cubicBezTo>
                <a:cubicBezTo>
                  <a:pt x="1394" y="3129"/>
                  <a:pt x="1361" y="3129"/>
                  <a:pt x="1353" y="3129"/>
                </a:cubicBezTo>
                <a:lnTo>
                  <a:pt x="1328" y="3129"/>
                </a:lnTo>
                <a:cubicBezTo>
                  <a:pt x="1328" y="3129"/>
                  <a:pt x="1304" y="3129"/>
                  <a:pt x="1304" y="3137"/>
                </a:cubicBezTo>
                <a:cubicBezTo>
                  <a:pt x="1304" y="3137"/>
                  <a:pt x="1296" y="3137"/>
                  <a:pt x="1279" y="3145"/>
                </a:cubicBezTo>
                <a:cubicBezTo>
                  <a:pt x="1255" y="3153"/>
                  <a:pt x="1271" y="3145"/>
                  <a:pt x="1271" y="3161"/>
                </a:cubicBezTo>
                <a:cubicBezTo>
                  <a:pt x="1279" y="3169"/>
                  <a:pt x="1279" y="3176"/>
                  <a:pt x="1279" y="3176"/>
                </a:cubicBezTo>
                <a:cubicBezTo>
                  <a:pt x="1288" y="3184"/>
                  <a:pt x="1279" y="3176"/>
                  <a:pt x="1279" y="3192"/>
                </a:cubicBezTo>
                <a:cubicBezTo>
                  <a:pt x="1271" y="3208"/>
                  <a:pt x="1271" y="3200"/>
                  <a:pt x="1271" y="3216"/>
                </a:cubicBezTo>
                <a:cubicBezTo>
                  <a:pt x="1263" y="3224"/>
                  <a:pt x="1263" y="3216"/>
                  <a:pt x="1255" y="3240"/>
                </a:cubicBezTo>
                <a:lnTo>
                  <a:pt x="1247" y="3255"/>
                </a:lnTo>
                <a:cubicBezTo>
                  <a:pt x="1239" y="3263"/>
                  <a:pt x="1222" y="3255"/>
                  <a:pt x="1206" y="3248"/>
                </a:cubicBezTo>
                <a:cubicBezTo>
                  <a:pt x="1198" y="3248"/>
                  <a:pt x="1206" y="3240"/>
                  <a:pt x="1206" y="3224"/>
                </a:cubicBezTo>
                <a:cubicBezTo>
                  <a:pt x="1214" y="3208"/>
                  <a:pt x="1206" y="3216"/>
                  <a:pt x="1206" y="3208"/>
                </a:cubicBezTo>
                <a:cubicBezTo>
                  <a:pt x="1206" y="3200"/>
                  <a:pt x="1198" y="3208"/>
                  <a:pt x="1182" y="3216"/>
                </a:cubicBezTo>
                <a:cubicBezTo>
                  <a:pt x="1174" y="3216"/>
                  <a:pt x="1174" y="3200"/>
                  <a:pt x="1182" y="3184"/>
                </a:cubicBezTo>
                <a:cubicBezTo>
                  <a:pt x="1182" y="3169"/>
                  <a:pt x="1174" y="3176"/>
                  <a:pt x="1174" y="3169"/>
                </a:cubicBezTo>
                <a:cubicBezTo>
                  <a:pt x="1174" y="3169"/>
                  <a:pt x="1165" y="3161"/>
                  <a:pt x="1157" y="3161"/>
                </a:cubicBezTo>
                <a:cubicBezTo>
                  <a:pt x="1149" y="3161"/>
                  <a:pt x="1141" y="3153"/>
                  <a:pt x="1141" y="3153"/>
                </a:cubicBezTo>
                <a:cubicBezTo>
                  <a:pt x="1133" y="3145"/>
                  <a:pt x="1116" y="3129"/>
                  <a:pt x="1108" y="3121"/>
                </a:cubicBezTo>
                <a:cubicBezTo>
                  <a:pt x="1092" y="3113"/>
                  <a:pt x="1076" y="3121"/>
                  <a:pt x="1076" y="3121"/>
                </a:cubicBezTo>
                <a:cubicBezTo>
                  <a:pt x="1076" y="3121"/>
                  <a:pt x="1059" y="3137"/>
                  <a:pt x="1043" y="3153"/>
                </a:cubicBezTo>
                <a:lnTo>
                  <a:pt x="1043" y="3161"/>
                </a:lnTo>
                <a:cubicBezTo>
                  <a:pt x="1035" y="3161"/>
                  <a:pt x="1035" y="3161"/>
                  <a:pt x="1035" y="3153"/>
                </a:cubicBezTo>
                <a:lnTo>
                  <a:pt x="1027" y="3145"/>
                </a:lnTo>
                <a:cubicBezTo>
                  <a:pt x="1027" y="3145"/>
                  <a:pt x="1027" y="3129"/>
                  <a:pt x="1019" y="3129"/>
                </a:cubicBezTo>
                <a:cubicBezTo>
                  <a:pt x="1019" y="3129"/>
                  <a:pt x="1011" y="3129"/>
                  <a:pt x="1002" y="3121"/>
                </a:cubicBezTo>
                <a:cubicBezTo>
                  <a:pt x="994" y="3121"/>
                  <a:pt x="986" y="3113"/>
                  <a:pt x="986" y="3113"/>
                </a:cubicBezTo>
                <a:cubicBezTo>
                  <a:pt x="978" y="3113"/>
                  <a:pt x="962" y="3097"/>
                  <a:pt x="962" y="3097"/>
                </a:cubicBezTo>
                <a:lnTo>
                  <a:pt x="953" y="3097"/>
                </a:lnTo>
                <a:lnTo>
                  <a:pt x="945" y="3089"/>
                </a:lnTo>
                <a:lnTo>
                  <a:pt x="937" y="3089"/>
                </a:lnTo>
                <a:cubicBezTo>
                  <a:pt x="929" y="3089"/>
                  <a:pt x="929" y="3089"/>
                  <a:pt x="921" y="3082"/>
                </a:cubicBezTo>
                <a:lnTo>
                  <a:pt x="896" y="3082"/>
                </a:lnTo>
                <a:lnTo>
                  <a:pt x="880" y="3082"/>
                </a:lnTo>
                <a:cubicBezTo>
                  <a:pt x="880" y="3082"/>
                  <a:pt x="872" y="3074"/>
                  <a:pt x="856" y="3074"/>
                </a:cubicBezTo>
                <a:cubicBezTo>
                  <a:pt x="848" y="3082"/>
                  <a:pt x="831" y="3089"/>
                  <a:pt x="823" y="3089"/>
                </a:cubicBezTo>
                <a:lnTo>
                  <a:pt x="815" y="3082"/>
                </a:lnTo>
                <a:lnTo>
                  <a:pt x="815" y="3074"/>
                </a:lnTo>
                <a:cubicBezTo>
                  <a:pt x="815" y="3074"/>
                  <a:pt x="807" y="3066"/>
                  <a:pt x="799" y="3058"/>
                </a:cubicBezTo>
                <a:lnTo>
                  <a:pt x="790" y="3058"/>
                </a:lnTo>
                <a:lnTo>
                  <a:pt x="790" y="3066"/>
                </a:lnTo>
                <a:cubicBezTo>
                  <a:pt x="790" y="3074"/>
                  <a:pt x="807" y="3074"/>
                  <a:pt x="790" y="3074"/>
                </a:cubicBezTo>
                <a:cubicBezTo>
                  <a:pt x="782" y="3066"/>
                  <a:pt x="774" y="3066"/>
                  <a:pt x="774" y="3066"/>
                </a:cubicBezTo>
                <a:lnTo>
                  <a:pt x="750" y="3074"/>
                </a:lnTo>
                <a:lnTo>
                  <a:pt x="758" y="3066"/>
                </a:lnTo>
                <a:lnTo>
                  <a:pt x="766" y="3066"/>
                </a:lnTo>
                <a:lnTo>
                  <a:pt x="766" y="3050"/>
                </a:lnTo>
                <a:cubicBezTo>
                  <a:pt x="774" y="3050"/>
                  <a:pt x="782" y="3042"/>
                  <a:pt x="774" y="3042"/>
                </a:cubicBezTo>
                <a:lnTo>
                  <a:pt x="758" y="3042"/>
                </a:lnTo>
                <a:lnTo>
                  <a:pt x="758" y="3034"/>
                </a:lnTo>
                <a:lnTo>
                  <a:pt x="750" y="3026"/>
                </a:lnTo>
                <a:lnTo>
                  <a:pt x="750" y="3042"/>
                </a:lnTo>
                <a:cubicBezTo>
                  <a:pt x="742" y="3042"/>
                  <a:pt x="742" y="3042"/>
                  <a:pt x="742" y="3034"/>
                </a:cubicBezTo>
                <a:lnTo>
                  <a:pt x="742" y="3026"/>
                </a:lnTo>
                <a:lnTo>
                  <a:pt x="725" y="3026"/>
                </a:lnTo>
                <a:cubicBezTo>
                  <a:pt x="725" y="3026"/>
                  <a:pt x="733" y="3034"/>
                  <a:pt x="717" y="3034"/>
                </a:cubicBezTo>
                <a:cubicBezTo>
                  <a:pt x="709" y="3034"/>
                  <a:pt x="701" y="3042"/>
                  <a:pt x="693" y="3042"/>
                </a:cubicBezTo>
                <a:cubicBezTo>
                  <a:pt x="684" y="3050"/>
                  <a:pt x="684" y="3058"/>
                  <a:pt x="684" y="3058"/>
                </a:cubicBezTo>
                <a:cubicBezTo>
                  <a:pt x="684" y="3066"/>
                  <a:pt x="668" y="3066"/>
                  <a:pt x="668" y="3074"/>
                </a:cubicBezTo>
                <a:cubicBezTo>
                  <a:pt x="676" y="3074"/>
                  <a:pt x="668" y="3074"/>
                  <a:pt x="684" y="3082"/>
                </a:cubicBezTo>
                <a:lnTo>
                  <a:pt x="701" y="3082"/>
                </a:lnTo>
                <a:cubicBezTo>
                  <a:pt x="709" y="3089"/>
                  <a:pt x="717" y="3082"/>
                  <a:pt x="717" y="3082"/>
                </a:cubicBezTo>
                <a:lnTo>
                  <a:pt x="725" y="3089"/>
                </a:lnTo>
                <a:cubicBezTo>
                  <a:pt x="725" y="3089"/>
                  <a:pt x="733" y="3082"/>
                  <a:pt x="733" y="3089"/>
                </a:cubicBezTo>
                <a:cubicBezTo>
                  <a:pt x="733" y="3097"/>
                  <a:pt x="742" y="3105"/>
                  <a:pt x="733" y="3105"/>
                </a:cubicBezTo>
                <a:cubicBezTo>
                  <a:pt x="725" y="3105"/>
                  <a:pt x="717" y="3113"/>
                  <a:pt x="717" y="3105"/>
                </a:cubicBezTo>
                <a:cubicBezTo>
                  <a:pt x="717" y="3105"/>
                  <a:pt x="717" y="3097"/>
                  <a:pt x="709" y="3097"/>
                </a:cubicBezTo>
                <a:lnTo>
                  <a:pt x="701" y="3097"/>
                </a:lnTo>
                <a:lnTo>
                  <a:pt x="693" y="3113"/>
                </a:lnTo>
                <a:cubicBezTo>
                  <a:pt x="693" y="3113"/>
                  <a:pt x="693" y="3121"/>
                  <a:pt x="684" y="3121"/>
                </a:cubicBezTo>
                <a:lnTo>
                  <a:pt x="668" y="3121"/>
                </a:lnTo>
                <a:cubicBezTo>
                  <a:pt x="652" y="3121"/>
                  <a:pt x="652" y="3113"/>
                  <a:pt x="644" y="3113"/>
                </a:cubicBezTo>
                <a:lnTo>
                  <a:pt x="636" y="3113"/>
                </a:lnTo>
                <a:cubicBezTo>
                  <a:pt x="636" y="3113"/>
                  <a:pt x="619" y="3097"/>
                  <a:pt x="611" y="3113"/>
                </a:cubicBezTo>
                <a:cubicBezTo>
                  <a:pt x="603" y="3121"/>
                  <a:pt x="595" y="3129"/>
                  <a:pt x="595" y="3129"/>
                </a:cubicBezTo>
                <a:lnTo>
                  <a:pt x="570" y="3129"/>
                </a:lnTo>
                <a:lnTo>
                  <a:pt x="554" y="3129"/>
                </a:lnTo>
                <a:lnTo>
                  <a:pt x="538" y="3129"/>
                </a:lnTo>
                <a:cubicBezTo>
                  <a:pt x="530" y="3137"/>
                  <a:pt x="521" y="3113"/>
                  <a:pt x="521" y="3113"/>
                </a:cubicBezTo>
                <a:cubicBezTo>
                  <a:pt x="521" y="3113"/>
                  <a:pt x="530" y="3097"/>
                  <a:pt x="505" y="3113"/>
                </a:cubicBezTo>
                <a:cubicBezTo>
                  <a:pt x="481" y="3129"/>
                  <a:pt x="473" y="3129"/>
                  <a:pt x="473" y="3129"/>
                </a:cubicBezTo>
                <a:cubicBezTo>
                  <a:pt x="473" y="3129"/>
                  <a:pt x="464" y="3129"/>
                  <a:pt x="464" y="3137"/>
                </a:cubicBezTo>
                <a:lnTo>
                  <a:pt x="464" y="3129"/>
                </a:lnTo>
                <a:cubicBezTo>
                  <a:pt x="456" y="3129"/>
                  <a:pt x="456" y="3129"/>
                  <a:pt x="456" y="3121"/>
                </a:cubicBezTo>
                <a:cubicBezTo>
                  <a:pt x="456" y="3121"/>
                  <a:pt x="448" y="3121"/>
                  <a:pt x="448" y="3113"/>
                </a:cubicBezTo>
                <a:cubicBezTo>
                  <a:pt x="432" y="3097"/>
                  <a:pt x="407" y="3066"/>
                  <a:pt x="407" y="3066"/>
                </a:cubicBezTo>
                <a:lnTo>
                  <a:pt x="424" y="3034"/>
                </a:lnTo>
                <a:cubicBezTo>
                  <a:pt x="424" y="3034"/>
                  <a:pt x="432" y="2979"/>
                  <a:pt x="432" y="2963"/>
                </a:cubicBezTo>
                <a:lnTo>
                  <a:pt x="432" y="2908"/>
                </a:lnTo>
                <a:cubicBezTo>
                  <a:pt x="432" y="2908"/>
                  <a:pt x="399" y="2900"/>
                  <a:pt x="424" y="2876"/>
                </a:cubicBezTo>
                <a:cubicBezTo>
                  <a:pt x="448" y="2844"/>
                  <a:pt x="473" y="2805"/>
                  <a:pt x="473" y="2805"/>
                </a:cubicBezTo>
                <a:lnTo>
                  <a:pt x="473" y="2726"/>
                </a:lnTo>
                <a:cubicBezTo>
                  <a:pt x="473" y="2726"/>
                  <a:pt x="448" y="2702"/>
                  <a:pt x="481" y="2686"/>
                </a:cubicBezTo>
                <a:cubicBezTo>
                  <a:pt x="513" y="2663"/>
                  <a:pt x="570" y="2591"/>
                  <a:pt x="570" y="2591"/>
                </a:cubicBezTo>
                <a:lnTo>
                  <a:pt x="627" y="2528"/>
                </a:lnTo>
                <a:lnTo>
                  <a:pt x="530" y="2504"/>
                </a:lnTo>
                <a:lnTo>
                  <a:pt x="473" y="2497"/>
                </a:lnTo>
                <a:lnTo>
                  <a:pt x="432" y="2473"/>
                </a:lnTo>
                <a:lnTo>
                  <a:pt x="407" y="2433"/>
                </a:lnTo>
                <a:lnTo>
                  <a:pt x="383" y="2449"/>
                </a:lnTo>
                <a:lnTo>
                  <a:pt x="358" y="2465"/>
                </a:lnTo>
                <a:lnTo>
                  <a:pt x="301" y="2457"/>
                </a:lnTo>
                <a:lnTo>
                  <a:pt x="261" y="2418"/>
                </a:lnTo>
                <a:lnTo>
                  <a:pt x="228" y="2441"/>
                </a:lnTo>
                <a:lnTo>
                  <a:pt x="195" y="2418"/>
                </a:lnTo>
                <a:lnTo>
                  <a:pt x="171" y="2378"/>
                </a:lnTo>
                <a:lnTo>
                  <a:pt x="163" y="2346"/>
                </a:lnTo>
                <a:lnTo>
                  <a:pt x="122" y="2307"/>
                </a:lnTo>
                <a:lnTo>
                  <a:pt x="106" y="2307"/>
                </a:lnTo>
                <a:lnTo>
                  <a:pt x="106" y="2299"/>
                </a:lnTo>
                <a:lnTo>
                  <a:pt x="98" y="2252"/>
                </a:lnTo>
                <a:lnTo>
                  <a:pt x="122" y="2236"/>
                </a:lnTo>
                <a:lnTo>
                  <a:pt x="138" y="2212"/>
                </a:lnTo>
                <a:lnTo>
                  <a:pt x="155" y="2188"/>
                </a:lnTo>
                <a:lnTo>
                  <a:pt x="147" y="2157"/>
                </a:lnTo>
                <a:cubicBezTo>
                  <a:pt x="147" y="2157"/>
                  <a:pt x="114" y="2157"/>
                  <a:pt x="106" y="2149"/>
                </a:cubicBezTo>
                <a:cubicBezTo>
                  <a:pt x="98" y="2149"/>
                  <a:pt x="73" y="2133"/>
                  <a:pt x="73" y="2133"/>
                </a:cubicBezTo>
                <a:lnTo>
                  <a:pt x="65" y="2093"/>
                </a:lnTo>
                <a:lnTo>
                  <a:pt x="49" y="2070"/>
                </a:lnTo>
                <a:lnTo>
                  <a:pt x="41" y="2030"/>
                </a:lnTo>
                <a:lnTo>
                  <a:pt x="49" y="1991"/>
                </a:lnTo>
                <a:lnTo>
                  <a:pt x="57" y="1991"/>
                </a:lnTo>
                <a:lnTo>
                  <a:pt x="65" y="1975"/>
                </a:lnTo>
                <a:lnTo>
                  <a:pt x="65" y="1967"/>
                </a:lnTo>
                <a:cubicBezTo>
                  <a:pt x="65" y="1967"/>
                  <a:pt x="73" y="1959"/>
                  <a:pt x="81" y="1959"/>
                </a:cubicBezTo>
                <a:lnTo>
                  <a:pt x="90" y="1959"/>
                </a:lnTo>
                <a:cubicBezTo>
                  <a:pt x="98" y="1959"/>
                  <a:pt x="98" y="1935"/>
                  <a:pt x="98" y="1935"/>
                </a:cubicBezTo>
                <a:lnTo>
                  <a:pt x="114" y="1935"/>
                </a:lnTo>
                <a:lnTo>
                  <a:pt x="122" y="1927"/>
                </a:lnTo>
                <a:lnTo>
                  <a:pt x="122" y="1912"/>
                </a:lnTo>
                <a:cubicBezTo>
                  <a:pt x="122" y="1912"/>
                  <a:pt x="130" y="1896"/>
                  <a:pt x="130" y="1888"/>
                </a:cubicBezTo>
                <a:cubicBezTo>
                  <a:pt x="130" y="1880"/>
                  <a:pt x="122" y="1872"/>
                  <a:pt x="122" y="1872"/>
                </a:cubicBezTo>
                <a:cubicBezTo>
                  <a:pt x="122" y="1872"/>
                  <a:pt x="114" y="1856"/>
                  <a:pt x="106" y="1856"/>
                </a:cubicBezTo>
                <a:lnTo>
                  <a:pt x="90" y="1856"/>
                </a:lnTo>
                <a:cubicBezTo>
                  <a:pt x="81" y="1856"/>
                  <a:pt x="73" y="1840"/>
                  <a:pt x="73" y="1840"/>
                </a:cubicBezTo>
                <a:cubicBezTo>
                  <a:pt x="73" y="1840"/>
                  <a:pt x="81" y="1833"/>
                  <a:pt x="81" y="1825"/>
                </a:cubicBezTo>
                <a:cubicBezTo>
                  <a:pt x="90" y="1825"/>
                  <a:pt x="90" y="1801"/>
                  <a:pt x="90" y="1801"/>
                </a:cubicBezTo>
                <a:cubicBezTo>
                  <a:pt x="90" y="1801"/>
                  <a:pt x="81" y="1793"/>
                  <a:pt x="73" y="1793"/>
                </a:cubicBezTo>
                <a:lnTo>
                  <a:pt x="57" y="1793"/>
                </a:lnTo>
                <a:lnTo>
                  <a:pt x="57" y="1769"/>
                </a:lnTo>
                <a:cubicBezTo>
                  <a:pt x="57" y="1769"/>
                  <a:pt x="41" y="1761"/>
                  <a:pt x="32" y="1761"/>
                </a:cubicBezTo>
                <a:cubicBezTo>
                  <a:pt x="32" y="1761"/>
                  <a:pt x="32" y="1754"/>
                  <a:pt x="24" y="1754"/>
                </a:cubicBezTo>
                <a:lnTo>
                  <a:pt x="32" y="1754"/>
                </a:lnTo>
                <a:cubicBezTo>
                  <a:pt x="32" y="1746"/>
                  <a:pt x="24" y="1738"/>
                  <a:pt x="24" y="1730"/>
                </a:cubicBezTo>
                <a:lnTo>
                  <a:pt x="32" y="1730"/>
                </a:lnTo>
                <a:cubicBezTo>
                  <a:pt x="32" y="1730"/>
                  <a:pt x="32" y="1722"/>
                  <a:pt x="41" y="1714"/>
                </a:cubicBezTo>
                <a:lnTo>
                  <a:pt x="49" y="1714"/>
                </a:lnTo>
                <a:cubicBezTo>
                  <a:pt x="49" y="1714"/>
                  <a:pt x="49" y="1706"/>
                  <a:pt x="57" y="1706"/>
                </a:cubicBezTo>
                <a:lnTo>
                  <a:pt x="57" y="1682"/>
                </a:lnTo>
                <a:lnTo>
                  <a:pt x="49" y="1674"/>
                </a:lnTo>
                <a:cubicBezTo>
                  <a:pt x="41" y="1674"/>
                  <a:pt x="41" y="1674"/>
                  <a:pt x="41" y="1667"/>
                </a:cubicBezTo>
                <a:cubicBezTo>
                  <a:pt x="32" y="1667"/>
                  <a:pt x="41" y="1659"/>
                  <a:pt x="41" y="1659"/>
                </a:cubicBezTo>
                <a:lnTo>
                  <a:pt x="24" y="1651"/>
                </a:lnTo>
                <a:lnTo>
                  <a:pt x="8" y="1651"/>
                </a:lnTo>
                <a:lnTo>
                  <a:pt x="8" y="1635"/>
                </a:lnTo>
                <a:lnTo>
                  <a:pt x="0" y="1619"/>
                </a:lnTo>
                <a:lnTo>
                  <a:pt x="8" y="1611"/>
                </a:lnTo>
                <a:lnTo>
                  <a:pt x="24" y="1627"/>
                </a:lnTo>
                <a:lnTo>
                  <a:pt x="24" y="1611"/>
                </a:lnTo>
                <a:cubicBezTo>
                  <a:pt x="32" y="1611"/>
                  <a:pt x="41" y="1595"/>
                  <a:pt x="41" y="1595"/>
                </a:cubicBezTo>
                <a:lnTo>
                  <a:pt x="90" y="1595"/>
                </a:lnTo>
                <a:cubicBezTo>
                  <a:pt x="98" y="1587"/>
                  <a:pt x="81" y="1572"/>
                  <a:pt x="81" y="1572"/>
                </a:cubicBezTo>
                <a:lnTo>
                  <a:pt x="65" y="1587"/>
                </a:lnTo>
                <a:cubicBezTo>
                  <a:pt x="57" y="1587"/>
                  <a:pt x="57" y="1564"/>
                  <a:pt x="57" y="1564"/>
                </a:cubicBezTo>
                <a:lnTo>
                  <a:pt x="57" y="1548"/>
                </a:lnTo>
                <a:lnTo>
                  <a:pt x="73" y="1540"/>
                </a:lnTo>
                <a:lnTo>
                  <a:pt x="81" y="1524"/>
                </a:lnTo>
                <a:lnTo>
                  <a:pt x="98" y="1508"/>
                </a:lnTo>
                <a:cubicBezTo>
                  <a:pt x="106" y="1501"/>
                  <a:pt x="98" y="1485"/>
                  <a:pt x="98" y="1485"/>
                </a:cubicBezTo>
                <a:lnTo>
                  <a:pt x="106" y="1461"/>
                </a:lnTo>
                <a:lnTo>
                  <a:pt x="90" y="1437"/>
                </a:lnTo>
                <a:lnTo>
                  <a:pt x="90" y="1414"/>
                </a:lnTo>
                <a:lnTo>
                  <a:pt x="73" y="1390"/>
                </a:lnTo>
                <a:lnTo>
                  <a:pt x="73" y="1382"/>
                </a:lnTo>
                <a:lnTo>
                  <a:pt x="65" y="1366"/>
                </a:lnTo>
                <a:lnTo>
                  <a:pt x="65" y="1350"/>
                </a:lnTo>
                <a:cubicBezTo>
                  <a:pt x="65" y="1350"/>
                  <a:pt x="49" y="1335"/>
                  <a:pt x="41" y="1335"/>
                </a:cubicBezTo>
                <a:cubicBezTo>
                  <a:pt x="32" y="1335"/>
                  <a:pt x="41" y="1327"/>
                  <a:pt x="41" y="1327"/>
                </a:cubicBezTo>
                <a:lnTo>
                  <a:pt x="41" y="1287"/>
                </a:lnTo>
                <a:lnTo>
                  <a:pt x="81" y="1295"/>
                </a:lnTo>
                <a:lnTo>
                  <a:pt x="98" y="1295"/>
                </a:lnTo>
                <a:lnTo>
                  <a:pt x="73" y="1279"/>
                </a:lnTo>
                <a:lnTo>
                  <a:pt x="98" y="1271"/>
                </a:lnTo>
                <a:lnTo>
                  <a:pt x="114" y="1287"/>
                </a:lnTo>
                <a:lnTo>
                  <a:pt x="138" y="1295"/>
                </a:lnTo>
                <a:lnTo>
                  <a:pt x="147" y="1311"/>
                </a:lnTo>
                <a:lnTo>
                  <a:pt x="155" y="1295"/>
                </a:lnTo>
                <a:lnTo>
                  <a:pt x="187" y="1295"/>
                </a:lnTo>
                <a:lnTo>
                  <a:pt x="212" y="1287"/>
                </a:lnTo>
                <a:lnTo>
                  <a:pt x="236" y="1287"/>
                </a:lnTo>
                <a:lnTo>
                  <a:pt x="244" y="1271"/>
                </a:lnTo>
                <a:lnTo>
                  <a:pt x="261" y="1263"/>
                </a:lnTo>
                <a:lnTo>
                  <a:pt x="269" y="1255"/>
                </a:lnTo>
                <a:lnTo>
                  <a:pt x="244" y="1240"/>
                </a:lnTo>
                <a:lnTo>
                  <a:pt x="228" y="1216"/>
                </a:lnTo>
                <a:lnTo>
                  <a:pt x="244" y="1216"/>
                </a:lnTo>
                <a:lnTo>
                  <a:pt x="244" y="1192"/>
                </a:lnTo>
                <a:lnTo>
                  <a:pt x="277" y="1200"/>
                </a:lnTo>
                <a:cubicBezTo>
                  <a:pt x="277" y="1192"/>
                  <a:pt x="277" y="1192"/>
                  <a:pt x="285" y="1184"/>
                </a:cubicBezTo>
                <a:cubicBezTo>
                  <a:pt x="293" y="1184"/>
                  <a:pt x="310" y="1176"/>
                  <a:pt x="310" y="1176"/>
                </a:cubicBezTo>
                <a:lnTo>
                  <a:pt x="318" y="1161"/>
                </a:lnTo>
                <a:lnTo>
                  <a:pt x="334" y="1153"/>
                </a:lnTo>
                <a:cubicBezTo>
                  <a:pt x="342" y="1153"/>
                  <a:pt x="334" y="1145"/>
                  <a:pt x="334" y="1137"/>
                </a:cubicBezTo>
                <a:lnTo>
                  <a:pt x="334" y="1113"/>
                </a:lnTo>
                <a:lnTo>
                  <a:pt x="342" y="1097"/>
                </a:lnTo>
                <a:lnTo>
                  <a:pt x="326" y="1066"/>
                </a:lnTo>
                <a:lnTo>
                  <a:pt x="301" y="1074"/>
                </a:lnTo>
                <a:lnTo>
                  <a:pt x="285" y="1058"/>
                </a:lnTo>
                <a:cubicBezTo>
                  <a:pt x="285" y="1058"/>
                  <a:pt x="261" y="1058"/>
                  <a:pt x="261" y="1050"/>
                </a:cubicBezTo>
                <a:cubicBezTo>
                  <a:pt x="253" y="1042"/>
                  <a:pt x="244" y="1026"/>
                  <a:pt x="244" y="1026"/>
                </a:cubicBezTo>
                <a:lnTo>
                  <a:pt x="244" y="1010"/>
                </a:lnTo>
                <a:lnTo>
                  <a:pt x="269" y="1010"/>
                </a:lnTo>
                <a:lnTo>
                  <a:pt x="253" y="1003"/>
                </a:lnTo>
                <a:lnTo>
                  <a:pt x="253" y="979"/>
                </a:lnTo>
                <a:lnTo>
                  <a:pt x="285" y="971"/>
                </a:lnTo>
                <a:cubicBezTo>
                  <a:pt x="285" y="971"/>
                  <a:pt x="326" y="987"/>
                  <a:pt x="334" y="987"/>
                </a:cubicBezTo>
                <a:cubicBezTo>
                  <a:pt x="342" y="995"/>
                  <a:pt x="342" y="963"/>
                  <a:pt x="342" y="963"/>
                </a:cubicBezTo>
                <a:lnTo>
                  <a:pt x="350" y="923"/>
                </a:lnTo>
                <a:cubicBezTo>
                  <a:pt x="350" y="923"/>
                  <a:pt x="342" y="892"/>
                  <a:pt x="350" y="884"/>
                </a:cubicBezTo>
                <a:cubicBezTo>
                  <a:pt x="359" y="884"/>
                  <a:pt x="383" y="837"/>
                  <a:pt x="383" y="837"/>
                </a:cubicBezTo>
                <a:lnTo>
                  <a:pt x="383" y="734"/>
                </a:lnTo>
                <a:cubicBezTo>
                  <a:pt x="383" y="734"/>
                  <a:pt x="359" y="726"/>
                  <a:pt x="350" y="726"/>
                </a:cubicBezTo>
                <a:cubicBezTo>
                  <a:pt x="350" y="718"/>
                  <a:pt x="359" y="702"/>
                  <a:pt x="359" y="702"/>
                </a:cubicBezTo>
                <a:lnTo>
                  <a:pt x="318" y="694"/>
                </a:lnTo>
                <a:cubicBezTo>
                  <a:pt x="326" y="671"/>
                  <a:pt x="334" y="631"/>
                  <a:pt x="342" y="631"/>
                </a:cubicBezTo>
                <a:cubicBezTo>
                  <a:pt x="350" y="623"/>
                  <a:pt x="367" y="607"/>
                  <a:pt x="367" y="607"/>
                </a:cubicBezTo>
                <a:lnTo>
                  <a:pt x="367" y="576"/>
                </a:lnTo>
                <a:lnTo>
                  <a:pt x="350" y="552"/>
                </a:lnTo>
                <a:lnTo>
                  <a:pt x="367" y="528"/>
                </a:lnTo>
                <a:lnTo>
                  <a:pt x="399" y="512"/>
                </a:lnTo>
                <a:lnTo>
                  <a:pt x="456" y="512"/>
                </a:lnTo>
                <a:lnTo>
                  <a:pt x="489" y="497"/>
                </a:lnTo>
                <a:lnTo>
                  <a:pt x="538" y="497"/>
                </a:lnTo>
                <a:lnTo>
                  <a:pt x="570" y="489"/>
                </a:lnTo>
                <a:lnTo>
                  <a:pt x="595" y="504"/>
                </a:lnTo>
                <a:cubicBezTo>
                  <a:pt x="595" y="504"/>
                  <a:pt x="611" y="520"/>
                  <a:pt x="611" y="528"/>
                </a:cubicBezTo>
                <a:cubicBezTo>
                  <a:pt x="611" y="528"/>
                  <a:pt x="627" y="544"/>
                  <a:pt x="627" y="552"/>
                </a:cubicBezTo>
                <a:cubicBezTo>
                  <a:pt x="619" y="552"/>
                  <a:pt x="636" y="576"/>
                  <a:pt x="636" y="576"/>
                </a:cubicBezTo>
                <a:cubicBezTo>
                  <a:pt x="636" y="576"/>
                  <a:pt x="627" y="591"/>
                  <a:pt x="627" y="599"/>
                </a:cubicBezTo>
                <a:lnTo>
                  <a:pt x="636" y="631"/>
                </a:lnTo>
                <a:cubicBezTo>
                  <a:pt x="636" y="639"/>
                  <a:pt x="652" y="647"/>
                  <a:pt x="652" y="647"/>
                </a:cubicBezTo>
                <a:lnTo>
                  <a:pt x="668" y="639"/>
                </a:lnTo>
                <a:lnTo>
                  <a:pt x="676" y="623"/>
                </a:lnTo>
                <a:lnTo>
                  <a:pt x="660" y="599"/>
                </a:lnTo>
                <a:lnTo>
                  <a:pt x="652" y="599"/>
                </a:lnTo>
                <a:lnTo>
                  <a:pt x="660" y="568"/>
                </a:lnTo>
                <a:cubicBezTo>
                  <a:pt x="660" y="568"/>
                  <a:pt x="676" y="560"/>
                  <a:pt x="684" y="568"/>
                </a:cubicBezTo>
                <a:cubicBezTo>
                  <a:pt x="693" y="568"/>
                  <a:pt x="717" y="591"/>
                  <a:pt x="717" y="591"/>
                </a:cubicBezTo>
                <a:lnTo>
                  <a:pt x="733" y="599"/>
                </a:lnTo>
                <a:lnTo>
                  <a:pt x="758" y="584"/>
                </a:lnTo>
                <a:lnTo>
                  <a:pt x="733" y="552"/>
                </a:lnTo>
                <a:lnTo>
                  <a:pt x="742" y="512"/>
                </a:lnTo>
                <a:lnTo>
                  <a:pt x="750" y="481"/>
                </a:lnTo>
                <a:lnTo>
                  <a:pt x="782" y="457"/>
                </a:lnTo>
                <a:lnTo>
                  <a:pt x="807" y="473"/>
                </a:lnTo>
                <a:lnTo>
                  <a:pt x="888" y="473"/>
                </a:lnTo>
                <a:lnTo>
                  <a:pt x="913" y="465"/>
                </a:lnTo>
                <a:lnTo>
                  <a:pt x="945" y="465"/>
                </a:lnTo>
                <a:lnTo>
                  <a:pt x="929" y="449"/>
                </a:lnTo>
                <a:cubicBezTo>
                  <a:pt x="921" y="449"/>
                  <a:pt x="905" y="433"/>
                  <a:pt x="905" y="433"/>
                </a:cubicBezTo>
                <a:lnTo>
                  <a:pt x="896" y="449"/>
                </a:lnTo>
                <a:cubicBezTo>
                  <a:pt x="888" y="457"/>
                  <a:pt x="864" y="457"/>
                  <a:pt x="864" y="449"/>
                </a:cubicBezTo>
                <a:cubicBezTo>
                  <a:pt x="856" y="449"/>
                  <a:pt x="848" y="425"/>
                  <a:pt x="848" y="425"/>
                </a:cubicBezTo>
                <a:lnTo>
                  <a:pt x="848" y="402"/>
                </a:lnTo>
                <a:lnTo>
                  <a:pt x="864" y="394"/>
                </a:lnTo>
                <a:lnTo>
                  <a:pt x="839" y="370"/>
                </a:lnTo>
                <a:cubicBezTo>
                  <a:pt x="839" y="370"/>
                  <a:pt x="839" y="346"/>
                  <a:pt x="848" y="338"/>
                </a:cubicBezTo>
                <a:cubicBezTo>
                  <a:pt x="856" y="338"/>
                  <a:pt x="856" y="323"/>
                  <a:pt x="856" y="323"/>
                </a:cubicBezTo>
                <a:lnTo>
                  <a:pt x="831" y="323"/>
                </a:lnTo>
                <a:cubicBezTo>
                  <a:pt x="831" y="323"/>
                  <a:pt x="823" y="323"/>
                  <a:pt x="823" y="307"/>
                </a:cubicBezTo>
                <a:cubicBezTo>
                  <a:pt x="831" y="291"/>
                  <a:pt x="831" y="283"/>
                  <a:pt x="831" y="283"/>
                </a:cubicBezTo>
                <a:lnTo>
                  <a:pt x="799" y="283"/>
                </a:lnTo>
                <a:lnTo>
                  <a:pt x="782" y="283"/>
                </a:lnTo>
                <a:lnTo>
                  <a:pt x="758" y="259"/>
                </a:lnTo>
                <a:lnTo>
                  <a:pt x="766" y="237"/>
                </a:lnTo>
                <a:lnTo>
                  <a:pt x="815" y="229"/>
                </a:lnTo>
                <a:lnTo>
                  <a:pt x="872" y="205"/>
                </a:lnTo>
                <a:lnTo>
                  <a:pt x="864" y="189"/>
                </a:lnTo>
                <a:lnTo>
                  <a:pt x="848" y="197"/>
                </a:lnTo>
                <a:lnTo>
                  <a:pt x="839" y="205"/>
                </a:lnTo>
                <a:lnTo>
                  <a:pt x="815" y="205"/>
                </a:lnTo>
                <a:lnTo>
                  <a:pt x="815" y="189"/>
                </a:lnTo>
                <a:lnTo>
                  <a:pt x="839" y="189"/>
                </a:lnTo>
                <a:lnTo>
                  <a:pt x="856" y="181"/>
                </a:lnTo>
                <a:lnTo>
                  <a:pt x="839" y="173"/>
                </a:lnTo>
                <a:lnTo>
                  <a:pt x="815" y="142"/>
                </a:lnTo>
                <a:lnTo>
                  <a:pt x="807" y="118"/>
                </a:lnTo>
                <a:lnTo>
                  <a:pt x="790" y="110"/>
                </a:lnTo>
                <a:lnTo>
                  <a:pt x="774" y="94"/>
                </a:lnTo>
                <a:lnTo>
                  <a:pt x="774" y="71"/>
                </a:lnTo>
                <a:lnTo>
                  <a:pt x="766" y="7"/>
                </a:lnTo>
                <a:lnTo>
                  <a:pt x="790" y="7"/>
                </a:lnTo>
                <a:lnTo>
                  <a:pt x="807" y="0"/>
                </a:lnTo>
                <a:cubicBezTo>
                  <a:pt x="807" y="0"/>
                  <a:pt x="848" y="15"/>
                  <a:pt x="856" y="15"/>
                </a:cubicBezTo>
                <a:cubicBezTo>
                  <a:pt x="864" y="15"/>
                  <a:pt x="880" y="23"/>
                  <a:pt x="880" y="23"/>
                </a:cubicBezTo>
                <a:lnTo>
                  <a:pt x="913" y="39"/>
                </a:lnTo>
                <a:lnTo>
                  <a:pt x="937" y="47"/>
                </a:lnTo>
                <a:lnTo>
                  <a:pt x="945" y="47"/>
                </a:lnTo>
                <a:cubicBezTo>
                  <a:pt x="953" y="47"/>
                  <a:pt x="970" y="39"/>
                  <a:pt x="970" y="39"/>
                </a:cubicBezTo>
                <a:cubicBezTo>
                  <a:pt x="970" y="39"/>
                  <a:pt x="994" y="23"/>
                  <a:pt x="1002" y="23"/>
                </a:cubicBezTo>
                <a:cubicBezTo>
                  <a:pt x="1002" y="15"/>
                  <a:pt x="1010" y="15"/>
                  <a:pt x="1010" y="15"/>
                </a:cubicBezTo>
                <a:lnTo>
                  <a:pt x="1027" y="47"/>
                </a:lnTo>
                <a:lnTo>
                  <a:pt x="1043" y="31"/>
                </a:lnTo>
                <a:lnTo>
                  <a:pt x="1051" y="15"/>
                </a:lnTo>
                <a:lnTo>
                  <a:pt x="1116" y="87"/>
                </a:lnTo>
                <a:lnTo>
                  <a:pt x="1125" y="118"/>
                </a:lnTo>
                <a:lnTo>
                  <a:pt x="1125" y="142"/>
                </a:lnTo>
                <a:cubicBezTo>
                  <a:pt x="1116" y="142"/>
                  <a:pt x="1108" y="173"/>
                  <a:pt x="1108" y="173"/>
                </a:cubicBezTo>
                <a:lnTo>
                  <a:pt x="1108" y="197"/>
                </a:lnTo>
                <a:lnTo>
                  <a:pt x="1125" y="205"/>
                </a:lnTo>
                <a:lnTo>
                  <a:pt x="1149" y="205"/>
                </a:lnTo>
                <a:lnTo>
                  <a:pt x="1165" y="221"/>
                </a:lnTo>
                <a:lnTo>
                  <a:pt x="1173" y="229"/>
                </a:lnTo>
                <a:lnTo>
                  <a:pt x="1198" y="229"/>
                </a:lnTo>
                <a:lnTo>
                  <a:pt x="1206" y="221"/>
                </a:lnTo>
                <a:lnTo>
                  <a:pt x="1239" y="229"/>
                </a:lnTo>
                <a:lnTo>
                  <a:pt x="1263" y="245"/>
                </a:lnTo>
                <a:lnTo>
                  <a:pt x="1288" y="259"/>
                </a:lnTo>
                <a:lnTo>
                  <a:pt x="1328" y="275"/>
                </a:lnTo>
                <a:lnTo>
                  <a:pt x="1336" y="252"/>
                </a:lnTo>
                <a:lnTo>
                  <a:pt x="1345" y="245"/>
                </a:lnTo>
                <a:lnTo>
                  <a:pt x="1369" y="245"/>
                </a:lnTo>
                <a:lnTo>
                  <a:pt x="1385" y="237"/>
                </a:lnTo>
                <a:lnTo>
                  <a:pt x="1394" y="229"/>
                </a:lnTo>
                <a:lnTo>
                  <a:pt x="1369" y="205"/>
                </a:lnTo>
                <a:lnTo>
                  <a:pt x="1369" y="181"/>
                </a:lnTo>
                <a:lnTo>
                  <a:pt x="1385" y="166"/>
                </a:lnTo>
                <a:cubicBezTo>
                  <a:pt x="1394" y="166"/>
                  <a:pt x="1426" y="173"/>
                  <a:pt x="1426" y="173"/>
                </a:cubicBezTo>
                <a:lnTo>
                  <a:pt x="1434" y="197"/>
                </a:lnTo>
                <a:lnTo>
                  <a:pt x="1442" y="221"/>
                </a:lnTo>
                <a:lnTo>
                  <a:pt x="1410" y="229"/>
                </a:lnTo>
                <a:lnTo>
                  <a:pt x="1402" y="245"/>
                </a:lnTo>
                <a:lnTo>
                  <a:pt x="1402" y="275"/>
                </a:lnTo>
                <a:lnTo>
                  <a:pt x="1402" y="307"/>
                </a:lnTo>
                <a:cubicBezTo>
                  <a:pt x="1402" y="307"/>
                  <a:pt x="1402" y="323"/>
                  <a:pt x="1394" y="323"/>
                </a:cubicBezTo>
                <a:cubicBezTo>
                  <a:pt x="1385" y="331"/>
                  <a:pt x="1369" y="331"/>
                  <a:pt x="1369" y="331"/>
                </a:cubicBezTo>
                <a:lnTo>
                  <a:pt x="1369" y="346"/>
                </a:lnTo>
                <a:lnTo>
                  <a:pt x="1345" y="362"/>
                </a:lnTo>
                <a:lnTo>
                  <a:pt x="1320" y="362"/>
                </a:lnTo>
                <a:lnTo>
                  <a:pt x="1312" y="370"/>
                </a:lnTo>
                <a:lnTo>
                  <a:pt x="1320" y="394"/>
                </a:lnTo>
                <a:lnTo>
                  <a:pt x="1336" y="410"/>
                </a:lnTo>
                <a:lnTo>
                  <a:pt x="1361" y="418"/>
                </a:lnTo>
                <a:lnTo>
                  <a:pt x="1377" y="410"/>
                </a:lnTo>
                <a:lnTo>
                  <a:pt x="1385" y="394"/>
                </a:lnTo>
                <a:lnTo>
                  <a:pt x="1410" y="386"/>
                </a:lnTo>
                <a:lnTo>
                  <a:pt x="1442" y="402"/>
                </a:lnTo>
                <a:lnTo>
                  <a:pt x="1451" y="418"/>
                </a:lnTo>
                <a:lnTo>
                  <a:pt x="1483" y="418"/>
                </a:lnTo>
                <a:lnTo>
                  <a:pt x="1491" y="394"/>
                </a:lnTo>
                <a:cubicBezTo>
                  <a:pt x="1491" y="394"/>
                  <a:pt x="1499" y="378"/>
                  <a:pt x="1508" y="378"/>
                </a:cubicBezTo>
                <a:cubicBezTo>
                  <a:pt x="1516" y="378"/>
                  <a:pt x="1524" y="362"/>
                  <a:pt x="1532" y="362"/>
                </a:cubicBezTo>
                <a:cubicBezTo>
                  <a:pt x="1532" y="354"/>
                  <a:pt x="1540" y="338"/>
                  <a:pt x="1540" y="338"/>
                </a:cubicBezTo>
                <a:cubicBezTo>
                  <a:pt x="1540" y="338"/>
                  <a:pt x="1557" y="331"/>
                  <a:pt x="1565" y="331"/>
                </a:cubicBezTo>
                <a:cubicBezTo>
                  <a:pt x="1573" y="331"/>
                  <a:pt x="1622" y="323"/>
                  <a:pt x="1622" y="323"/>
                </a:cubicBezTo>
                <a:cubicBezTo>
                  <a:pt x="1622" y="323"/>
                  <a:pt x="1654" y="315"/>
                  <a:pt x="1662" y="307"/>
                </a:cubicBezTo>
                <a:lnTo>
                  <a:pt x="1695" y="283"/>
                </a:lnTo>
                <a:lnTo>
                  <a:pt x="1703" y="259"/>
                </a:lnTo>
                <a:lnTo>
                  <a:pt x="1728" y="237"/>
                </a:lnTo>
                <a:cubicBezTo>
                  <a:pt x="1728" y="237"/>
                  <a:pt x="1736" y="237"/>
                  <a:pt x="1736" y="229"/>
                </a:cubicBezTo>
                <a:cubicBezTo>
                  <a:pt x="1736" y="221"/>
                  <a:pt x="1744" y="197"/>
                  <a:pt x="1744" y="197"/>
                </a:cubicBezTo>
                <a:lnTo>
                  <a:pt x="1760" y="189"/>
                </a:lnTo>
                <a:cubicBezTo>
                  <a:pt x="1760" y="189"/>
                  <a:pt x="1777" y="197"/>
                  <a:pt x="1777" y="205"/>
                </a:cubicBezTo>
                <a:lnTo>
                  <a:pt x="1768" y="221"/>
                </a:lnTo>
                <a:cubicBezTo>
                  <a:pt x="1768" y="221"/>
                  <a:pt x="1752" y="229"/>
                  <a:pt x="1744" y="237"/>
                </a:cubicBezTo>
                <a:lnTo>
                  <a:pt x="1744" y="252"/>
                </a:lnTo>
                <a:lnTo>
                  <a:pt x="1760" y="237"/>
                </a:lnTo>
                <a:lnTo>
                  <a:pt x="1768" y="229"/>
                </a:lnTo>
                <a:lnTo>
                  <a:pt x="1801" y="221"/>
                </a:lnTo>
                <a:lnTo>
                  <a:pt x="1817" y="229"/>
                </a:lnTo>
                <a:lnTo>
                  <a:pt x="1834" y="237"/>
                </a:lnTo>
                <a:lnTo>
                  <a:pt x="1866" y="229"/>
                </a:lnTo>
                <a:lnTo>
                  <a:pt x="1866" y="213"/>
                </a:lnTo>
                <a:cubicBezTo>
                  <a:pt x="1866" y="213"/>
                  <a:pt x="1866" y="205"/>
                  <a:pt x="1874" y="205"/>
                </a:cubicBezTo>
                <a:cubicBezTo>
                  <a:pt x="1883" y="197"/>
                  <a:pt x="1899" y="189"/>
                  <a:pt x="1899" y="189"/>
                </a:cubicBezTo>
                <a:lnTo>
                  <a:pt x="1899" y="166"/>
                </a:lnTo>
                <a:lnTo>
                  <a:pt x="1907" y="150"/>
                </a:lnTo>
                <a:lnTo>
                  <a:pt x="1923" y="142"/>
                </a:lnTo>
                <a:lnTo>
                  <a:pt x="1931" y="118"/>
                </a:lnTo>
                <a:cubicBezTo>
                  <a:pt x="1931" y="118"/>
                  <a:pt x="1931" y="110"/>
                  <a:pt x="1940" y="110"/>
                </a:cubicBezTo>
                <a:lnTo>
                  <a:pt x="1956" y="94"/>
                </a:lnTo>
                <a:cubicBezTo>
                  <a:pt x="1964" y="87"/>
                  <a:pt x="1964" y="87"/>
                  <a:pt x="1972" y="87"/>
                </a:cubicBezTo>
                <a:lnTo>
                  <a:pt x="1980" y="102"/>
                </a:lnTo>
                <a:cubicBezTo>
                  <a:pt x="1980" y="102"/>
                  <a:pt x="1980" y="110"/>
                  <a:pt x="1972" y="118"/>
                </a:cubicBezTo>
                <a:cubicBezTo>
                  <a:pt x="1964" y="118"/>
                  <a:pt x="1956" y="126"/>
                  <a:pt x="1956" y="126"/>
                </a:cubicBezTo>
                <a:lnTo>
                  <a:pt x="1972" y="142"/>
                </a:lnTo>
                <a:lnTo>
                  <a:pt x="1980" y="150"/>
                </a:lnTo>
                <a:cubicBezTo>
                  <a:pt x="1980" y="158"/>
                  <a:pt x="1972" y="166"/>
                  <a:pt x="1972" y="166"/>
                </a:cubicBezTo>
                <a:cubicBezTo>
                  <a:pt x="1980" y="166"/>
                  <a:pt x="2005" y="158"/>
                  <a:pt x="2005" y="158"/>
                </a:cubicBezTo>
                <a:lnTo>
                  <a:pt x="2005" y="142"/>
                </a:lnTo>
                <a:lnTo>
                  <a:pt x="2021" y="126"/>
                </a:lnTo>
                <a:cubicBezTo>
                  <a:pt x="2029" y="126"/>
                  <a:pt x="2046" y="134"/>
                  <a:pt x="2046" y="134"/>
                </a:cubicBezTo>
                <a:lnTo>
                  <a:pt x="2046" y="150"/>
                </a:lnTo>
                <a:cubicBezTo>
                  <a:pt x="2037" y="150"/>
                  <a:pt x="2021" y="166"/>
                  <a:pt x="2021" y="166"/>
                </a:cubicBezTo>
                <a:cubicBezTo>
                  <a:pt x="2021" y="173"/>
                  <a:pt x="2013" y="173"/>
                  <a:pt x="2021" y="173"/>
                </a:cubicBezTo>
                <a:cubicBezTo>
                  <a:pt x="2021" y="181"/>
                  <a:pt x="2037" y="197"/>
                  <a:pt x="2037" y="197"/>
                </a:cubicBezTo>
                <a:lnTo>
                  <a:pt x="2062" y="213"/>
                </a:lnTo>
                <a:lnTo>
                  <a:pt x="2062" y="229"/>
                </a:lnTo>
                <a:lnTo>
                  <a:pt x="2021" y="229"/>
                </a:lnTo>
                <a:lnTo>
                  <a:pt x="2013" y="237"/>
                </a:lnTo>
                <a:cubicBezTo>
                  <a:pt x="2013" y="237"/>
                  <a:pt x="2005" y="245"/>
                  <a:pt x="1989" y="252"/>
                </a:cubicBezTo>
                <a:cubicBezTo>
                  <a:pt x="1972" y="252"/>
                  <a:pt x="1972" y="252"/>
                  <a:pt x="1972" y="259"/>
                </a:cubicBezTo>
                <a:cubicBezTo>
                  <a:pt x="1972" y="267"/>
                  <a:pt x="1964" y="275"/>
                  <a:pt x="1972" y="283"/>
                </a:cubicBezTo>
                <a:cubicBezTo>
                  <a:pt x="1980" y="291"/>
                  <a:pt x="1997" y="299"/>
                  <a:pt x="1997" y="299"/>
                </a:cubicBezTo>
                <a:cubicBezTo>
                  <a:pt x="1997" y="299"/>
                  <a:pt x="2037" y="315"/>
                  <a:pt x="2037" y="307"/>
                </a:cubicBezTo>
                <a:lnTo>
                  <a:pt x="2119" y="307"/>
                </a:lnTo>
                <a:cubicBezTo>
                  <a:pt x="2119" y="307"/>
                  <a:pt x="2127" y="323"/>
                  <a:pt x="2135" y="331"/>
                </a:cubicBezTo>
                <a:lnTo>
                  <a:pt x="2168" y="354"/>
                </a:lnTo>
                <a:lnTo>
                  <a:pt x="2184" y="354"/>
                </a:lnTo>
                <a:lnTo>
                  <a:pt x="2192" y="386"/>
                </a:lnTo>
                <a:lnTo>
                  <a:pt x="2184" y="410"/>
                </a:lnTo>
                <a:lnTo>
                  <a:pt x="2160" y="418"/>
                </a:lnTo>
                <a:lnTo>
                  <a:pt x="2127" y="441"/>
                </a:lnTo>
                <a:lnTo>
                  <a:pt x="2111" y="433"/>
                </a:lnTo>
                <a:cubicBezTo>
                  <a:pt x="2111" y="433"/>
                  <a:pt x="2127" y="449"/>
                  <a:pt x="2135" y="449"/>
                </a:cubicBezTo>
                <a:cubicBezTo>
                  <a:pt x="2143" y="449"/>
                  <a:pt x="2152" y="457"/>
                  <a:pt x="2152" y="457"/>
                </a:cubicBezTo>
                <a:lnTo>
                  <a:pt x="2225" y="457"/>
                </a:lnTo>
                <a:lnTo>
                  <a:pt x="2225" y="473"/>
                </a:lnTo>
                <a:cubicBezTo>
                  <a:pt x="2233" y="481"/>
                  <a:pt x="2241" y="512"/>
                  <a:pt x="2241" y="520"/>
                </a:cubicBezTo>
                <a:cubicBezTo>
                  <a:pt x="2241" y="520"/>
                  <a:pt x="2249" y="552"/>
                  <a:pt x="2266" y="576"/>
                </a:cubicBezTo>
                <a:cubicBezTo>
                  <a:pt x="2290" y="607"/>
                  <a:pt x="2282" y="615"/>
                  <a:pt x="2282" y="615"/>
                </a:cubicBezTo>
                <a:lnTo>
                  <a:pt x="2282" y="686"/>
                </a:lnTo>
                <a:lnTo>
                  <a:pt x="2282" y="750"/>
                </a:lnTo>
                <a:lnTo>
                  <a:pt x="2241" y="781"/>
                </a:lnTo>
                <a:lnTo>
                  <a:pt x="2225" y="852"/>
                </a:lnTo>
                <a:cubicBezTo>
                  <a:pt x="2225" y="852"/>
                  <a:pt x="2233" y="860"/>
                  <a:pt x="2241" y="860"/>
                </a:cubicBezTo>
                <a:cubicBezTo>
                  <a:pt x="2249" y="868"/>
                  <a:pt x="2274" y="892"/>
                  <a:pt x="2274" y="892"/>
                </a:cubicBezTo>
                <a:cubicBezTo>
                  <a:pt x="2282" y="900"/>
                  <a:pt x="2331" y="923"/>
                  <a:pt x="2355" y="931"/>
                </a:cubicBezTo>
                <a:cubicBezTo>
                  <a:pt x="2380" y="947"/>
                  <a:pt x="2372" y="987"/>
                  <a:pt x="2372" y="987"/>
                </a:cubicBezTo>
                <a:lnTo>
                  <a:pt x="2355" y="1042"/>
                </a:lnTo>
                <a:cubicBezTo>
                  <a:pt x="2355" y="1042"/>
                  <a:pt x="2363" y="1074"/>
                  <a:pt x="2380" y="1074"/>
                </a:cubicBezTo>
                <a:cubicBezTo>
                  <a:pt x="2388" y="1066"/>
                  <a:pt x="2396" y="1113"/>
                  <a:pt x="2396" y="1113"/>
                </a:cubicBezTo>
                <a:cubicBezTo>
                  <a:pt x="2396" y="1113"/>
                  <a:pt x="2404" y="1161"/>
                  <a:pt x="2404" y="1169"/>
                </a:cubicBezTo>
                <a:cubicBezTo>
                  <a:pt x="2396" y="1176"/>
                  <a:pt x="2404" y="1184"/>
                  <a:pt x="2404" y="1184"/>
                </a:cubicBezTo>
                <a:lnTo>
                  <a:pt x="2420" y="1216"/>
                </a:lnTo>
                <a:cubicBezTo>
                  <a:pt x="2420" y="1216"/>
                  <a:pt x="2412" y="1240"/>
                  <a:pt x="2404" y="1248"/>
                </a:cubicBezTo>
                <a:cubicBezTo>
                  <a:pt x="2404" y="1263"/>
                  <a:pt x="2396" y="1279"/>
                  <a:pt x="2396" y="1279"/>
                </a:cubicBezTo>
                <a:lnTo>
                  <a:pt x="2404" y="1303"/>
                </a:lnTo>
                <a:lnTo>
                  <a:pt x="2437" y="1342"/>
                </a:lnTo>
                <a:lnTo>
                  <a:pt x="2437" y="1382"/>
                </a:lnTo>
                <a:lnTo>
                  <a:pt x="2437" y="1406"/>
                </a:lnTo>
                <a:cubicBezTo>
                  <a:pt x="2437" y="1406"/>
                  <a:pt x="2461" y="1414"/>
                  <a:pt x="2469" y="1414"/>
                </a:cubicBezTo>
                <a:cubicBezTo>
                  <a:pt x="2478" y="1414"/>
                  <a:pt x="2494" y="1429"/>
                  <a:pt x="2494" y="1429"/>
                </a:cubicBezTo>
                <a:lnTo>
                  <a:pt x="2494" y="1453"/>
                </a:lnTo>
                <a:lnTo>
                  <a:pt x="2518" y="1485"/>
                </a:lnTo>
                <a:cubicBezTo>
                  <a:pt x="2526" y="1493"/>
                  <a:pt x="2543" y="1516"/>
                  <a:pt x="2543" y="1516"/>
                </a:cubicBezTo>
                <a:cubicBezTo>
                  <a:pt x="2543" y="1516"/>
                  <a:pt x="2543" y="1532"/>
                  <a:pt x="2518" y="1556"/>
                </a:cubicBezTo>
                <a:cubicBezTo>
                  <a:pt x="2502" y="1580"/>
                  <a:pt x="2510" y="1580"/>
                  <a:pt x="2510" y="1587"/>
                </a:cubicBezTo>
                <a:cubicBezTo>
                  <a:pt x="2510" y="1595"/>
                  <a:pt x="2518" y="1611"/>
                  <a:pt x="2518" y="1611"/>
                </a:cubicBezTo>
                <a:cubicBezTo>
                  <a:pt x="2518" y="1611"/>
                  <a:pt x="2510" y="1619"/>
                  <a:pt x="2502" y="1627"/>
                </a:cubicBezTo>
                <a:cubicBezTo>
                  <a:pt x="2502" y="1627"/>
                  <a:pt x="2494" y="1643"/>
                  <a:pt x="2494" y="1659"/>
                </a:cubicBezTo>
                <a:lnTo>
                  <a:pt x="2461" y="1682"/>
                </a:lnTo>
                <a:lnTo>
                  <a:pt x="2453" y="1690"/>
                </a:lnTo>
                <a:cubicBezTo>
                  <a:pt x="2453" y="1682"/>
                  <a:pt x="2445" y="1682"/>
                  <a:pt x="2437" y="1682"/>
                </a:cubicBezTo>
                <a:cubicBezTo>
                  <a:pt x="2429" y="1674"/>
                  <a:pt x="2420" y="1667"/>
                  <a:pt x="2420" y="1667"/>
                </a:cubicBezTo>
                <a:lnTo>
                  <a:pt x="2420" y="1635"/>
                </a:lnTo>
                <a:lnTo>
                  <a:pt x="2420" y="1619"/>
                </a:lnTo>
                <a:cubicBezTo>
                  <a:pt x="2412" y="1611"/>
                  <a:pt x="2396" y="1603"/>
                  <a:pt x="2380" y="1595"/>
                </a:cubicBezTo>
                <a:cubicBezTo>
                  <a:pt x="2363" y="1595"/>
                  <a:pt x="2331" y="1595"/>
                  <a:pt x="2323" y="1603"/>
                </a:cubicBezTo>
                <a:lnTo>
                  <a:pt x="2323" y="1635"/>
                </a:lnTo>
                <a:lnTo>
                  <a:pt x="2339" y="1659"/>
                </a:lnTo>
                <a:lnTo>
                  <a:pt x="2331" y="1674"/>
                </a:lnTo>
                <a:cubicBezTo>
                  <a:pt x="2331" y="1674"/>
                  <a:pt x="2257" y="1690"/>
                  <a:pt x="2233" y="1690"/>
                </a:cubicBezTo>
                <a:cubicBezTo>
                  <a:pt x="2209" y="1690"/>
                  <a:pt x="2217" y="1706"/>
                  <a:pt x="2217" y="1706"/>
                </a:cubicBezTo>
                <a:lnTo>
                  <a:pt x="2200" y="1738"/>
                </a:lnTo>
                <a:lnTo>
                  <a:pt x="2184" y="1754"/>
                </a:lnTo>
                <a:lnTo>
                  <a:pt x="2135" y="1769"/>
                </a:lnTo>
                <a:cubicBezTo>
                  <a:pt x="2135" y="1769"/>
                  <a:pt x="2086" y="1809"/>
                  <a:pt x="2078" y="1809"/>
                </a:cubicBezTo>
                <a:lnTo>
                  <a:pt x="2046" y="1833"/>
                </a:lnTo>
                <a:cubicBezTo>
                  <a:pt x="2046" y="1833"/>
                  <a:pt x="2037" y="1833"/>
                  <a:pt x="2013" y="1848"/>
                </a:cubicBezTo>
                <a:cubicBezTo>
                  <a:pt x="1980" y="1856"/>
                  <a:pt x="1997" y="1872"/>
                  <a:pt x="1989" y="1880"/>
                </a:cubicBezTo>
                <a:cubicBezTo>
                  <a:pt x="1989" y="1896"/>
                  <a:pt x="1980" y="1896"/>
                  <a:pt x="1964" y="1904"/>
                </a:cubicBezTo>
                <a:cubicBezTo>
                  <a:pt x="1956" y="1904"/>
                  <a:pt x="1931" y="1896"/>
                  <a:pt x="1915" y="1896"/>
                </a:cubicBezTo>
                <a:cubicBezTo>
                  <a:pt x="1907" y="1896"/>
                  <a:pt x="1883" y="1912"/>
                  <a:pt x="1866" y="1912"/>
                </a:cubicBezTo>
                <a:lnTo>
                  <a:pt x="1842" y="1912"/>
                </a:lnTo>
                <a:lnTo>
                  <a:pt x="1809" y="1951"/>
                </a:lnTo>
                <a:lnTo>
                  <a:pt x="1785" y="1999"/>
                </a:lnTo>
                <a:lnTo>
                  <a:pt x="1777" y="1975"/>
                </a:lnTo>
                <a:lnTo>
                  <a:pt x="1768" y="1943"/>
                </a:lnTo>
                <a:lnTo>
                  <a:pt x="1728" y="1943"/>
                </a:lnTo>
                <a:lnTo>
                  <a:pt x="1736" y="1967"/>
                </a:lnTo>
                <a:cubicBezTo>
                  <a:pt x="1736" y="1967"/>
                  <a:pt x="1752" y="2022"/>
                  <a:pt x="1760" y="2030"/>
                </a:cubicBezTo>
                <a:cubicBezTo>
                  <a:pt x="1768" y="2038"/>
                  <a:pt x="1777" y="2038"/>
                  <a:pt x="1793" y="2046"/>
                </a:cubicBezTo>
                <a:cubicBezTo>
                  <a:pt x="1817" y="2062"/>
                  <a:pt x="1817" y="2062"/>
                  <a:pt x="1842" y="2078"/>
                </a:cubicBezTo>
                <a:cubicBezTo>
                  <a:pt x="1866" y="2093"/>
                  <a:pt x="1858" y="2109"/>
                  <a:pt x="1858" y="2117"/>
                </a:cubicBezTo>
                <a:cubicBezTo>
                  <a:pt x="1858" y="2133"/>
                  <a:pt x="1858" y="2133"/>
                  <a:pt x="1842" y="2149"/>
                </a:cubicBezTo>
                <a:cubicBezTo>
                  <a:pt x="1826" y="2172"/>
                  <a:pt x="1842" y="2188"/>
                  <a:pt x="1842" y="2188"/>
                </a:cubicBezTo>
                <a:cubicBezTo>
                  <a:pt x="1842" y="2188"/>
                  <a:pt x="1850" y="2204"/>
                  <a:pt x="1866" y="2220"/>
                </a:cubicBezTo>
                <a:cubicBezTo>
                  <a:pt x="1883" y="2236"/>
                  <a:pt x="1874" y="2244"/>
                  <a:pt x="1883" y="2267"/>
                </a:cubicBezTo>
                <a:cubicBezTo>
                  <a:pt x="1883" y="2291"/>
                  <a:pt x="1883" y="2283"/>
                  <a:pt x="1899" y="2307"/>
                </a:cubicBezTo>
                <a:cubicBezTo>
                  <a:pt x="1915" y="2323"/>
                  <a:pt x="1907" y="2315"/>
                  <a:pt x="1923" y="2331"/>
                </a:cubicBezTo>
                <a:cubicBezTo>
                  <a:pt x="1940" y="2346"/>
                  <a:pt x="1940" y="2354"/>
                  <a:pt x="1940" y="2354"/>
                </a:cubicBezTo>
                <a:cubicBezTo>
                  <a:pt x="1940" y="2354"/>
                  <a:pt x="1989" y="2338"/>
                  <a:pt x="2005" y="2354"/>
                </a:cubicBezTo>
                <a:cubicBezTo>
                  <a:pt x="2021" y="2370"/>
                  <a:pt x="2013" y="2362"/>
                  <a:pt x="2046" y="2386"/>
                </a:cubicBezTo>
                <a:cubicBezTo>
                  <a:pt x="2070" y="2418"/>
                  <a:pt x="2046" y="2402"/>
                  <a:pt x="2054" y="2425"/>
                </a:cubicBezTo>
                <a:cubicBezTo>
                  <a:pt x="2062" y="2441"/>
                  <a:pt x="2070" y="2433"/>
                  <a:pt x="2070" y="2433"/>
                </a:cubicBezTo>
                <a:cubicBezTo>
                  <a:pt x="2070" y="2433"/>
                  <a:pt x="2078" y="2441"/>
                  <a:pt x="2094" y="2441"/>
                </a:cubicBezTo>
                <a:cubicBezTo>
                  <a:pt x="2111" y="2441"/>
                  <a:pt x="2111" y="2457"/>
                  <a:pt x="2111" y="2473"/>
                </a:cubicBezTo>
                <a:cubicBezTo>
                  <a:pt x="2119" y="2489"/>
                  <a:pt x="2119" y="2489"/>
                  <a:pt x="2135" y="2504"/>
                </a:cubicBezTo>
                <a:cubicBezTo>
                  <a:pt x="2143" y="2512"/>
                  <a:pt x="2152" y="2504"/>
                  <a:pt x="2176" y="2497"/>
                </a:cubicBezTo>
                <a:cubicBezTo>
                  <a:pt x="2192" y="2497"/>
                  <a:pt x="2184" y="2512"/>
                  <a:pt x="2184" y="2520"/>
                </a:cubicBezTo>
                <a:cubicBezTo>
                  <a:pt x="2184" y="2528"/>
                  <a:pt x="2200" y="2528"/>
                  <a:pt x="2217" y="2536"/>
                </a:cubicBezTo>
                <a:cubicBezTo>
                  <a:pt x="2233" y="2544"/>
                  <a:pt x="2225" y="2544"/>
                  <a:pt x="2241" y="2560"/>
                </a:cubicBezTo>
                <a:lnTo>
                  <a:pt x="2241" y="256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31" name="Freeform 123">
            <a:extLst>
              <a:ext uri="{FF2B5EF4-FFF2-40B4-BE49-F238E27FC236}">
                <a16:creationId xmlns:a16="http://schemas.microsoft.com/office/drawing/2014/main" id="{9E317BBA-EE03-68BC-9AEB-05F9C6A63189}"/>
              </a:ext>
            </a:extLst>
          </p:cNvPr>
          <p:cNvSpPr>
            <a:spLocks noChangeArrowheads="1"/>
          </p:cNvSpPr>
          <p:nvPr>
            <p:custDataLst>
              <p:tags r:id="rId122"/>
            </p:custDataLst>
          </p:nvPr>
        </p:nvSpPr>
        <p:spPr bwMode="auto">
          <a:xfrm>
            <a:off x="6681605" y="4499063"/>
            <a:ext cx="1650019" cy="1818462"/>
          </a:xfrm>
          <a:custGeom>
            <a:avLst/>
            <a:gdLst>
              <a:gd name="T0" fmla="*/ 694 w 4018"/>
              <a:gd name="T1" fmla="*/ 2651 h 4427"/>
              <a:gd name="T2" fmla="*/ 988 w 4018"/>
              <a:gd name="T3" fmla="*/ 2959 h 4427"/>
              <a:gd name="T4" fmla="*/ 792 w 4018"/>
              <a:gd name="T5" fmla="*/ 3409 h 4427"/>
              <a:gd name="T6" fmla="*/ 555 w 4018"/>
              <a:gd name="T7" fmla="*/ 3464 h 4427"/>
              <a:gd name="T8" fmla="*/ 531 w 4018"/>
              <a:gd name="T9" fmla="*/ 3077 h 4427"/>
              <a:gd name="T10" fmla="*/ 457 w 4018"/>
              <a:gd name="T11" fmla="*/ 2754 h 4427"/>
              <a:gd name="T12" fmla="*/ 3290 w 4018"/>
              <a:gd name="T13" fmla="*/ 3772 h 4427"/>
              <a:gd name="T14" fmla="*/ 3609 w 4018"/>
              <a:gd name="T15" fmla="*/ 3330 h 4427"/>
              <a:gd name="T16" fmla="*/ 3356 w 4018"/>
              <a:gd name="T17" fmla="*/ 3038 h 4427"/>
              <a:gd name="T18" fmla="*/ 3715 w 4018"/>
              <a:gd name="T19" fmla="*/ 2762 h 4427"/>
              <a:gd name="T20" fmla="*/ 4001 w 4018"/>
              <a:gd name="T21" fmla="*/ 2770 h 4427"/>
              <a:gd name="T22" fmla="*/ 3094 w 4018"/>
              <a:gd name="T23" fmla="*/ 2328 h 4427"/>
              <a:gd name="T24" fmla="*/ 2776 w 4018"/>
              <a:gd name="T25" fmla="*/ 2138 h 4427"/>
              <a:gd name="T26" fmla="*/ 2246 w 4018"/>
              <a:gd name="T27" fmla="*/ 1468 h 4427"/>
              <a:gd name="T28" fmla="*/ 1781 w 4018"/>
              <a:gd name="T29" fmla="*/ 860 h 4427"/>
              <a:gd name="T30" fmla="*/ 2017 w 4018"/>
              <a:gd name="T31" fmla="*/ 616 h 4427"/>
              <a:gd name="T32" fmla="*/ 2181 w 4018"/>
              <a:gd name="T33" fmla="*/ 482 h 4427"/>
              <a:gd name="T34" fmla="*/ 2132 w 4018"/>
              <a:gd name="T35" fmla="*/ 434 h 4427"/>
              <a:gd name="T36" fmla="*/ 2091 w 4018"/>
              <a:gd name="T37" fmla="*/ 347 h 4427"/>
              <a:gd name="T38" fmla="*/ 2181 w 4018"/>
              <a:gd name="T39" fmla="*/ 213 h 4427"/>
              <a:gd name="T40" fmla="*/ 1731 w 4018"/>
              <a:gd name="T41" fmla="*/ 103 h 4427"/>
              <a:gd name="T42" fmla="*/ 1446 w 4018"/>
              <a:gd name="T43" fmla="*/ 40 h 4427"/>
              <a:gd name="T44" fmla="*/ 1201 w 4018"/>
              <a:gd name="T45" fmla="*/ 119 h 4427"/>
              <a:gd name="T46" fmla="*/ 1209 w 4018"/>
              <a:gd name="T47" fmla="*/ 213 h 4427"/>
              <a:gd name="T48" fmla="*/ 1127 w 4018"/>
              <a:gd name="T49" fmla="*/ 205 h 4427"/>
              <a:gd name="T50" fmla="*/ 1078 w 4018"/>
              <a:gd name="T51" fmla="*/ 284 h 4427"/>
              <a:gd name="T52" fmla="*/ 1103 w 4018"/>
              <a:gd name="T53" fmla="*/ 379 h 4427"/>
              <a:gd name="T54" fmla="*/ 1021 w 4018"/>
              <a:gd name="T55" fmla="*/ 324 h 4427"/>
              <a:gd name="T56" fmla="*/ 898 w 4018"/>
              <a:gd name="T57" fmla="*/ 332 h 4427"/>
              <a:gd name="T58" fmla="*/ 825 w 4018"/>
              <a:gd name="T59" fmla="*/ 284 h 4427"/>
              <a:gd name="T60" fmla="*/ 817 w 4018"/>
              <a:gd name="T61" fmla="*/ 395 h 4427"/>
              <a:gd name="T62" fmla="*/ 760 w 4018"/>
              <a:gd name="T63" fmla="*/ 505 h 4427"/>
              <a:gd name="T64" fmla="*/ 727 w 4018"/>
              <a:gd name="T65" fmla="*/ 529 h 4427"/>
              <a:gd name="T66" fmla="*/ 670 w 4018"/>
              <a:gd name="T67" fmla="*/ 442 h 4427"/>
              <a:gd name="T68" fmla="*/ 564 w 4018"/>
              <a:gd name="T69" fmla="*/ 371 h 4427"/>
              <a:gd name="T70" fmla="*/ 490 w 4018"/>
              <a:gd name="T71" fmla="*/ 347 h 4427"/>
              <a:gd name="T72" fmla="*/ 449 w 4018"/>
              <a:gd name="T73" fmla="*/ 450 h 4427"/>
              <a:gd name="T74" fmla="*/ 359 w 4018"/>
              <a:gd name="T75" fmla="*/ 521 h 4427"/>
              <a:gd name="T76" fmla="*/ 261 w 4018"/>
              <a:gd name="T77" fmla="*/ 529 h 4427"/>
              <a:gd name="T78" fmla="*/ 57 w 4018"/>
              <a:gd name="T79" fmla="*/ 568 h 4427"/>
              <a:gd name="T80" fmla="*/ 8 w 4018"/>
              <a:gd name="T81" fmla="*/ 892 h 4427"/>
              <a:gd name="T82" fmla="*/ 220 w 4018"/>
              <a:gd name="T83" fmla="*/ 1271 h 4427"/>
              <a:gd name="T84" fmla="*/ 416 w 4018"/>
              <a:gd name="T85" fmla="*/ 1389 h 4427"/>
              <a:gd name="T86" fmla="*/ 996 w 4018"/>
              <a:gd name="T87" fmla="*/ 1342 h 4427"/>
              <a:gd name="T88" fmla="*/ 1241 w 4018"/>
              <a:gd name="T89" fmla="*/ 1736 h 4427"/>
              <a:gd name="T90" fmla="*/ 1462 w 4018"/>
              <a:gd name="T91" fmla="*/ 2028 h 4427"/>
              <a:gd name="T92" fmla="*/ 1919 w 4018"/>
              <a:gd name="T93" fmla="*/ 2359 h 4427"/>
              <a:gd name="T94" fmla="*/ 2205 w 4018"/>
              <a:gd name="T95" fmla="*/ 2486 h 4427"/>
              <a:gd name="T96" fmla="*/ 2604 w 4018"/>
              <a:gd name="T97" fmla="*/ 2730 h 4427"/>
              <a:gd name="T98" fmla="*/ 2808 w 4018"/>
              <a:gd name="T99" fmla="*/ 2896 h 4427"/>
              <a:gd name="T100" fmla="*/ 3160 w 4018"/>
              <a:gd name="T101" fmla="*/ 3164 h 4427"/>
              <a:gd name="T102" fmla="*/ 3184 w 4018"/>
              <a:gd name="T103" fmla="*/ 3519 h 4427"/>
              <a:gd name="T104" fmla="*/ 2939 w 4018"/>
              <a:gd name="T105" fmla="*/ 4040 h 4427"/>
              <a:gd name="T106" fmla="*/ 3005 w 4018"/>
              <a:gd name="T107" fmla="*/ 4403 h 4427"/>
              <a:gd name="T108" fmla="*/ 2418 w 4018"/>
              <a:gd name="T109" fmla="*/ 4213 h 4427"/>
              <a:gd name="T110" fmla="*/ 2017 w 4018"/>
              <a:gd name="T111" fmla="*/ 3969 h 4427"/>
              <a:gd name="T112" fmla="*/ 2336 w 4018"/>
              <a:gd name="T113" fmla="*/ 3819 h 4427"/>
              <a:gd name="T114" fmla="*/ 2898 w 4018"/>
              <a:gd name="T115" fmla="*/ 3772 h 4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018" h="4427">
                <a:moveTo>
                  <a:pt x="466" y="2722"/>
                </a:moveTo>
                <a:lnTo>
                  <a:pt x="490" y="2643"/>
                </a:lnTo>
                <a:lnTo>
                  <a:pt x="523" y="2612"/>
                </a:lnTo>
                <a:lnTo>
                  <a:pt x="515" y="2651"/>
                </a:lnTo>
                <a:lnTo>
                  <a:pt x="506" y="2699"/>
                </a:lnTo>
                <a:cubicBezTo>
                  <a:pt x="506" y="2699"/>
                  <a:pt x="572" y="2722"/>
                  <a:pt x="580" y="2722"/>
                </a:cubicBezTo>
                <a:cubicBezTo>
                  <a:pt x="588" y="2722"/>
                  <a:pt x="596" y="2706"/>
                  <a:pt x="613" y="2699"/>
                </a:cubicBezTo>
                <a:cubicBezTo>
                  <a:pt x="621" y="2691"/>
                  <a:pt x="678" y="2691"/>
                  <a:pt x="678" y="2691"/>
                </a:cubicBezTo>
                <a:cubicBezTo>
                  <a:pt x="678" y="2691"/>
                  <a:pt x="686" y="2667"/>
                  <a:pt x="694" y="2651"/>
                </a:cubicBezTo>
                <a:cubicBezTo>
                  <a:pt x="702" y="2635"/>
                  <a:pt x="743" y="2596"/>
                  <a:pt x="751" y="2588"/>
                </a:cubicBezTo>
                <a:cubicBezTo>
                  <a:pt x="760" y="2588"/>
                  <a:pt x="776" y="2572"/>
                  <a:pt x="784" y="2572"/>
                </a:cubicBezTo>
                <a:cubicBezTo>
                  <a:pt x="792" y="2564"/>
                  <a:pt x="833" y="2549"/>
                  <a:pt x="833" y="2549"/>
                </a:cubicBezTo>
                <a:lnTo>
                  <a:pt x="939" y="2588"/>
                </a:lnTo>
                <a:lnTo>
                  <a:pt x="956" y="2651"/>
                </a:lnTo>
                <a:lnTo>
                  <a:pt x="1013" y="2754"/>
                </a:lnTo>
                <a:lnTo>
                  <a:pt x="1029" y="2801"/>
                </a:lnTo>
                <a:cubicBezTo>
                  <a:pt x="1029" y="2801"/>
                  <a:pt x="1054" y="2825"/>
                  <a:pt x="1045" y="2848"/>
                </a:cubicBezTo>
                <a:cubicBezTo>
                  <a:pt x="1037" y="2880"/>
                  <a:pt x="988" y="2959"/>
                  <a:pt x="988" y="2959"/>
                </a:cubicBezTo>
                <a:lnTo>
                  <a:pt x="988" y="3006"/>
                </a:lnTo>
                <a:lnTo>
                  <a:pt x="1021" y="3069"/>
                </a:lnTo>
                <a:lnTo>
                  <a:pt x="972" y="3188"/>
                </a:lnTo>
                <a:lnTo>
                  <a:pt x="996" y="3274"/>
                </a:lnTo>
                <a:lnTo>
                  <a:pt x="980" y="3393"/>
                </a:lnTo>
                <a:lnTo>
                  <a:pt x="972" y="3456"/>
                </a:lnTo>
                <a:cubicBezTo>
                  <a:pt x="972" y="3456"/>
                  <a:pt x="939" y="3488"/>
                  <a:pt x="923" y="3480"/>
                </a:cubicBezTo>
                <a:cubicBezTo>
                  <a:pt x="907" y="3472"/>
                  <a:pt x="825" y="3416"/>
                  <a:pt x="825" y="3416"/>
                </a:cubicBezTo>
                <a:lnTo>
                  <a:pt x="792" y="3409"/>
                </a:lnTo>
                <a:lnTo>
                  <a:pt x="768" y="3464"/>
                </a:lnTo>
                <a:lnTo>
                  <a:pt x="776" y="3503"/>
                </a:lnTo>
                <a:lnTo>
                  <a:pt x="735" y="3574"/>
                </a:lnTo>
                <a:lnTo>
                  <a:pt x="694" y="3574"/>
                </a:lnTo>
                <a:lnTo>
                  <a:pt x="645" y="3559"/>
                </a:lnTo>
                <a:lnTo>
                  <a:pt x="596" y="3495"/>
                </a:lnTo>
                <a:cubicBezTo>
                  <a:pt x="596" y="3495"/>
                  <a:pt x="596" y="3511"/>
                  <a:pt x="580" y="3519"/>
                </a:cubicBezTo>
                <a:cubicBezTo>
                  <a:pt x="564" y="3519"/>
                  <a:pt x="539" y="3511"/>
                  <a:pt x="539" y="3511"/>
                </a:cubicBezTo>
                <a:lnTo>
                  <a:pt x="555" y="3464"/>
                </a:lnTo>
                <a:lnTo>
                  <a:pt x="539" y="3409"/>
                </a:lnTo>
                <a:lnTo>
                  <a:pt x="555" y="3353"/>
                </a:lnTo>
                <a:lnTo>
                  <a:pt x="555" y="3274"/>
                </a:lnTo>
                <a:lnTo>
                  <a:pt x="572" y="3243"/>
                </a:lnTo>
                <a:lnTo>
                  <a:pt x="580" y="3203"/>
                </a:lnTo>
                <a:lnTo>
                  <a:pt x="604" y="3156"/>
                </a:lnTo>
                <a:lnTo>
                  <a:pt x="596" y="3117"/>
                </a:lnTo>
                <a:lnTo>
                  <a:pt x="580" y="3125"/>
                </a:lnTo>
                <a:lnTo>
                  <a:pt x="531" y="3077"/>
                </a:lnTo>
                <a:cubicBezTo>
                  <a:pt x="531" y="3077"/>
                  <a:pt x="547" y="3061"/>
                  <a:pt x="564" y="3046"/>
                </a:cubicBezTo>
                <a:cubicBezTo>
                  <a:pt x="580" y="3030"/>
                  <a:pt x="580" y="3022"/>
                  <a:pt x="580" y="3006"/>
                </a:cubicBezTo>
                <a:cubicBezTo>
                  <a:pt x="580" y="2990"/>
                  <a:pt x="572" y="2951"/>
                  <a:pt x="564" y="2951"/>
                </a:cubicBezTo>
                <a:cubicBezTo>
                  <a:pt x="555" y="2943"/>
                  <a:pt x="539" y="2927"/>
                  <a:pt x="539" y="2927"/>
                </a:cubicBezTo>
                <a:lnTo>
                  <a:pt x="539" y="2880"/>
                </a:lnTo>
                <a:cubicBezTo>
                  <a:pt x="539" y="2880"/>
                  <a:pt x="531" y="2856"/>
                  <a:pt x="523" y="2856"/>
                </a:cubicBezTo>
                <a:cubicBezTo>
                  <a:pt x="506" y="2848"/>
                  <a:pt x="466" y="2825"/>
                  <a:pt x="466" y="2825"/>
                </a:cubicBezTo>
                <a:lnTo>
                  <a:pt x="474" y="2770"/>
                </a:lnTo>
                <a:lnTo>
                  <a:pt x="457" y="2754"/>
                </a:lnTo>
                <a:lnTo>
                  <a:pt x="466" y="2722"/>
                </a:lnTo>
                <a:close/>
                <a:moveTo>
                  <a:pt x="3168" y="3701"/>
                </a:moveTo>
                <a:lnTo>
                  <a:pt x="3135" y="3732"/>
                </a:lnTo>
                <a:lnTo>
                  <a:pt x="3103" y="3756"/>
                </a:lnTo>
                <a:cubicBezTo>
                  <a:pt x="3103" y="3756"/>
                  <a:pt x="3111" y="3787"/>
                  <a:pt x="3111" y="3803"/>
                </a:cubicBezTo>
                <a:cubicBezTo>
                  <a:pt x="3119" y="3819"/>
                  <a:pt x="3143" y="3858"/>
                  <a:pt x="3143" y="3858"/>
                </a:cubicBezTo>
                <a:lnTo>
                  <a:pt x="3225" y="3858"/>
                </a:lnTo>
                <a:lnTo>
                  <a:pt x="3282" y="3827"/>
                </a:lnTo>
                <a:lnTo>
                  <a:pt x="3290" y="3772"/>
                </a:lnTo>
                <a:lnTo>
                  <a:pt x="3315" y="3716"/>
                </a:lnTo>
                <a:lnTo>
                  <a:pt x="3364" y="3685"/>
                </a:lnTo>
                <a:lnTo>
                  <a:pt x="3405" y="3645"/>
                </a:lnTo>
                <a:lnTo>
                  <a:pt x="3429" y="3606"/>
                </a:lnTo>
                <a:lnTo>
                  <a:pt x="3437" y="3503"/>
                </a:lnTo>
                <a:lnTo>
                  <a:pt x="3462" y="3424"/>
                </a:lnTo>
                <a:lnTo>
                  <a:pt x="3593" y="3377"/>
                </a:lnTo>
                <a:lnTo>
                  <a:pt x="3617" y="3361"/>
                </a:lnTo>
                <a:cubicBezTo>
                  <a:pt x="3617" y="3361"/>
                  <a:pt x="3617" y="3346"/>
                  <a:pt x="3609" y="3330"/>
                </a:cubicBezTo>
                <a:cubicBezTo>
                  <a:pt x="3609" y="3322"/>
                  <a:pt x="3584" y="3298"/>
                  <a:pt x="3584" y="3298"/>
                </a:cubicBezTo>
                <a:cubicBezTo>
                  <a:pt x="3584" y="3298"/>
                  <a:pt x="3593" y="3275"/>
                  <a:pt x="3593" y="3267"/>
                </a:cubicBezTo>
                <a:cubicBezTo>
                  <a:pt x="3593" y="3259"/>
                  <a:pt x="3584" y="3203"/>
                  <a:pt x="3584" y="3203"/>
                </a:cubicBezTo>
                <a:lnTo>
                  <a:pt x="3568" y="3148"/>
                </a:lnTo>
                <a:cubicBezTo>
                  <a:pt x="3568" y="3148"/>
                  <a:pt x="3552" y="3148"/>
                  <a:pt x="3527" y="3132"/>
                </a:cubicBezTo>
                <a:cubicBezTo>
                  <a:pt x="3503" y="3125"/>
                  <a:pt x="3462" y="3101"/>
                  <a:pt x="3462" y="3101"/>
                </a:cubicBezTo>
                <a:lnTo>
                  <a:pt x="3421" y="3085"/>
                </a:lnTo>
                <a:lnTo>
                  <a:pt x="3372" y="3077"/>
                </a:lnTo>
                <a:lnTo>
                  <a:pt x="3356" y="3038"/>
                </a:lnTo>
                <a:lnTo>
                  <a:pt x="3388" y="2927"/>
                </a:lnTo>
                <a:lnTo>
                  <a:pt x="3364" y="2872"/>
                </a:lnTo>
                <a:lnTo>
                  <a:pt x="3437" y="2793"/>
                </a:lnTo>
                <a:lnTo>
                  <a:pt x="3470" y="2738"/>
                </a:lnTo>
                <a:lnTo>
                  <a:pt x="3511" y="2706"/>
                </a:lnTo>
                <a:lnTo>
                  <a:pt x="3576" y="2722"/>
                </a:lnTo>
                <a:lnTo>
                  <a:pt x="3601" y="2754"/>
                </a:lnTo>
                <a:lnTo>
                  <a:pt x="3642" y="2762"/>
                </a:lnTo>
                <a:lnTo>
                  <a:pt x="3715" y="2762"/>
                </a:lnTo>
                <a:lnTo>
                  <a:pt x="3797" y="2777"/>
                </a:lnTo>
                <a:lnTo>
                  <a:pt x="3829" y="2825"/>
                </a:lnTo>
                <a:lnTo>
                  <a:pt x="3862" y="2880"/>
                </a:lnTo>
                <a:cubicBezTo>
                  <a:pt x="3862" y="2880"/>
                  <a:pt x="3878" y="2904"/>
                  <a:pt x="3887" y="2912"/>
                </a:cubicBezTo>
                <a:cubicBezTo>
                  <a:pt x="3887" y="2912"/>
                  <a:pt x="3919" y="2935"/>
                  <a:pt x="3927" y="2935"/>
                </a:cubicBezTo>
                <a:cubicBezTo>
                  <a:pt x="3936" y="2943"/>
                  <a:pt x="3985" y="2951"/>
                  <a:pt x="3985" y="2951"/>
                </a:cubicBezTo>
                <a:cubicBezTo>
                  <a:pt x="3985" y="2951"/>
                  <a:pt x="3985" y="2896"/>
                  <a:pt x="3993" y="2880"/>
                </a:cubicBezTo>
                <a:cubicBezTo>
                  <a:pt x="4001" y="2872"/>
                  <a:pt x="4017" y="2841"/>
                  <a:pt x="4017" y="2833"/>
                </a:cubicBezTo>
                <a:cubicBezTo>
                  <a:pt x="4017" y="2825"/>
                  <a:pt x="4001" y="2770"/>
                  <a:pt x="4001" y="2770"/>
                </a:cubicBezTo>
                <a:lnTo>
                  <a:pt x="3944" y="2706"/>
                </a:lnTo>
                <a:lnTo>
                  <a:pt x="3887" y="2667"/>
                </a:lnTo>
                <a:lnTo>
                  <a:pt x="3748" y="2580"/>
                </a:lnTo>
                <a:lnTo>
                  <a:pt x="3552" y="2517"/>
                </a:lnTo>
                <a:lnTo>
                  <a:pt x="3421" y="2438"/>
                </a:lnTo>
                <a:lnTo>
                  <a:pt x="3315" y="2415"/>
                </a:lnTo>
                <a:cubicBezTo>
                  <a:pt x="3315" y="2415"/>
                  <a:pt x="3201" y="2359"/>
                  <a:pt x="3192" y="2359"/>
                </a:cubicBezTo>
                <a:cubicBezTo>
                  <a:pt x="3184" y="2359"/>
                  <a:pt x="3160" y="2351"/>
                  <a:pt x="3160" y="2351"/>
                </a:cubicBezTo>
                <a:cubicBezTo>
                  <a:pt x="3160" y="2351"/>
                  <a:pt x="3094" y="2336"/>
                  <a:pt x="3094" y="2328"/>
                </a:cubicBezTo>
                <a:cubicBezTo>
                  <a:pt x="3086" y="2320"/>
                  <a:pt x="3078" y="2296"/>
                  <a:pt x="3070" y="2288"/>
                </a:cubicBezTo>
                <a:cubicBezTo>
                  <a:pt x="3070" y="2280"/>
                  <a:pt x="3078" y="2257"/>
                  <a:pt x="3078" y="2257"/>
                </a:cubicBezTo>
                <a:lnTo>
                  <a:pt x="3111" y="2225"/>
                </a:lnTo>
                <a:cubicBezTo>
                  <a:pt x="3111" y="2225"/>
                  <a:pt x="3143" y="2194"/>
                  <a:pt x="3143" y="2186"/>
                </a:cubicBezTo>
                <a:cubicBezTo>
                  <a:pt x="3143" y="2178"/>
                  <a:pt x="3152" y="2131"/>
                  <a:pt x="3152" y="2131"/>
                </a:cubicBezTo>
                <a:lnTo>
                  <a:pt x="3111" y="2115"/>
                </a:lnTo>
                <a:lnTo>
                  <a:pt x="3013" y="2123"/>
                </a:lnTo>
                <a:lnTo>
                  <a:pt x="2858" y="2138"/>
                </a:lnTo>
                <a:lnTo>
                  <a:pt x="2776" y="2138"/>
                </a:lnTo>
                <a:lnTo>
                  <a:pt x="2670" y="2075"/>
                </a:lnTo>
                <a:lnTo>
                  <a:pt x="2580" y="2004"/>
                </a:lnTo>
                <a:lnTo>
                  <a:pt x="2524" y="1973"/>
                </a:lnTo>
                <a:lnTo>
                  <a:pt x="2442" y="1886"/>
                </a:lnTo>
                <a:lnTo>
                  <a:pt x="2401" y="1831"/>
                </a:lnTo>
                <a:cubicBezTo>
                  <a:pt x="2401" y="1831"/>
                  <a:pt x="2377" y="1752"/>
                  <a:pt x="2369" y="1720"/>
                </a:cubicBezTo>
                <a:cubicBezTo>
                  <a:pt x="2360" y="1697"/>
                  <a:pt x="2295" y="1610"/>
                  <a:pt x="2295" y="1610"/>
                </a:cubicBezTo>
                <a:cubicBezTo>
                  <a:pt x="2295" y="1610"/>
                  <a:pt x="2262" y="1539"/>
                  <a:pt x="2262" y="1531"/>
                </a:cubicBezTo>
                <a:cubicBezTo>
                  <a:pt x="2262" y="1523"/>
                  <a:pt x="2246" y="1468"/>
                  <a:pt x="2246" y="1468"/>
                </a:cubicBezTo>
                <a:lnTo>
                  <a:pt x="2140" y="1420"/>
                </a:lnTo>
                <a:lnTo>
                  <a:pt x="2001" y="1342"/>
                </a:lnTo>
                <a:lnTo>
                  <a:pt x="1887" y="1271"/>
                </a:lnTo>
                <a:lnTo>
                  <a:pt x="1830" y="1192"/>
                </a:lnTo>
                <a:lnTo>
                  <a:pt x="1781" y="1065"/>
                </a:lnTo>
                <a:lnTo>
                  <a:pt x="1772" y="963"/>
                </a:lnTo>
                <a:lnTo>
                  <a:pt x="1830" y="939"/>
                </a:lnTo>
                <a:lnTo>
                  <a:pt x="1830" y="892"/>
                </a:lnTo>
                <a:lnTo>
                  <a:pt x="1781" y="860"/>
                </a:lnTo>
                <a:lnTo>
                  <a:pt x="1781" y="813"/>
                </a:lnTo>
                <a:lnTo>
                  <a:pt x="1756" y="797"/>
                </a:lnTo>
                <a:lnTo>
                  <a:pt x="1723" y="758"/>
                </a:lnTo>
                <a:lnTo>
                  <a:pt x="1789" y="726"/>
                </a:lnTo>
                <a:cubicBezTo>
                  <a:pt x="1789" y="726"/>
                  <a:pt x="1813" y="695"/>
                  <a:pt x="1846" y="695"/>
                </a:cubicBezTo>
                <a:cubicBezTo>
                  <a:pt x="1879" y="695"/>
                  <a:pt x="1903" y="663"/>
                  <a:pt x="1903" y="663"/>
                </a:cubicBezTo>
                <a:cubicBezTo>
                  <a:pt x="1903" y="663"/>
                  <a:pt x="1927" y="639"/>
                  <a:pt x="1936" y="639"/>
                </a:cubicBezTo>
                <a:cubicBezTo>
                  <a:pt x="1952" y="639"/>
                  <a:pt x="1968" y="631"/>
                  <a:pt x="1985" y="624"/>
                </a:cubicBezTo>
                <a:cubicBezTo>
                  <a:pt x="1993" y="624"/>
                  <a:pt x="2017" y="616"/>
                  <a:pt x="2017" y="616"/>
                </a:cubicBezTo>
                <a:cubicBezTo>
                  <a:pt x="2017" y="608"/>
                  <a:pt x="2026" y="553"/>
                  <a:pt x="2034" y="553"/>
                </a:cubicBezTo>
                <a:cubicBezTo>
                  <a:pt x="2042" y="553"/>
                  <a:pt x="2058" y="584"/>
                  <a:pt x="2083" y="584"/>
                </a:cubicBezTo>
                <a:cubicBezTo>
                  <a:pt x="2091" y="584"/>
                  <a:pt x="2107" y="600"/>
                  <a:pt x="2115" y="592"/>
                </a:cubicBezTo>
                <a:cubicBezTo>
                  <a:pt x="2132" y="584"/>
                  <a:pt x="2140" y="560"/>
                  <a:pt x="2140" y="560"/>
                </a:cubicBezTo>
                <a:cubicBezTo>
                  <a:pt x="2148" y="553"/>
                  <a:pt x="2156" y="545"/>
                  <a:pt x="2181" y="537"/>
                </a:cubicBezTo>
                <a:lnTo>
                  <a:pt x="2164" y="529"/>
                </a:lnTo>
                <a:cubicBezTo>
                  <a:pt x="2164" y="521"/>
                  <a:pt x="2164" y="521"/>
                  <a:pt x="2173" y="513"/>
                </a:cubicBezTo>
                <a:cubicBezTo>
                  <a:pt x="2173" y="505"/>
                  <a:pt x="2173" y="505"/>
                  <a:pt x="2181" y="497"/>
                </a:cubicBezTo>
                <a:lnTo>
                  <a:pt x="2181" y="482"/>
                </a:lnTo>
                <a:cubicBezTo>
                  <a:pt x="2181" y="482"/>
                  <a:pt x="2189" y="474"/>
                  <a:pt x="2181" y="474"/>
                </a:cubicBezTo>
                <a:cubicBezTo>
                  <a:pt x="2181" y="466"/>
                  <a:pt x="2173" y="458"/>
                  <a:pt x="2173" y="458"/>
                </a:cubicBezTo>
                <a:lnTo>
                  <a:pt x="2164" y="458"/>
                </a:lnTo>
                <a:lnTo>
                  <a:pt x="2164" y="466"/>
                </a:lnTo>
                <a:lnTo>
                  <a:pt x="2148" y="474"/>
                </a:lnTo>
                <a:lnTo>
                  <a:pt x="2140" y="458"/>
                </a:lnTo>
                <a:cubicBezTo>
                  <a:pt x="2132" y="458"/>
                  <a:pt x="2132" y="458"/>
                  <a:pt x="2132" y="450"/>
                </a:cubicBezTo>
                <a:lnTo>
                  <a:pt x="2140" y="442"/>
                </a:lnTo>
                <a:lnTo>
                  <a:pt x="2132" y="434"/>
                </a:lnTo>
                <a:cubicBezTo>
                  <a:pt x="2132" y="434"/>
                  <a:pt x="2140" y="418"/>
                  <a:pt x="2148" y="418"/>
                </a:cubicBezTo>
                <a:cubicBezTo>
                  <a:pt x="2156" y="410"/>
                  <a:pt x="2173" y="395"/>
                  <a:pt x="2173" y="395"/>
                </a:cubicBezTo>
                <a:lnTo>
                  <a:pt x="2181" y="379"/>
                </a:lnTo>
                <a:lnTo>
                  <a:pt x="2173" y="371"/>
                </a:lnTo>
                <a:lnTo>
                  <a:pt x="2164" y="379"/>
                </a:lnTo>
                <a:lnTo>
                  <a:pt x="2148" y="371"/>
                </a:lnTo>
                <a:lnTo>
                  <a:pt x="2132" y="363"/>
                </a:lnTo>
                <a:lnTo>
                  <a:pt x="2107" y="363"/>
                </a:lnTo>
                <a:lnTo>
                  <a:pt x="2091" y="347"/>
                </a:lnTo>
                <a:lnTo>
                  <a:pt x="2099" y="332"/>
                </a:lnTo>
                <a:lnTo>
                  <a:pt x="2099" y="316"/>
                </a:lnTo>
                <a:lnTo>
                  <a:pt x="2115" y="300"/>
                </a:lnTo>
                <a:cubicBezTo>
                  <a:pt x="2124" y="292"/>
                  <a:pt x="2140" y="284"/>
                  <a:pt x="2140" y="284"/>
                </a:cubicBezTo>
                <a:lnTo>
                  <a:pt x="2148" y="268"/>
                </a:lnTo>
                <a:cubicBezTo>
                  <a:pt x="2148" y="268"/>
                  <a:pt x="2156" y="261"/>
                  <a:pt x="2164" y="261"/>
                </a:cubicBezTo>
                <a:cubicBezTo>
                  <a:pt x="2173" y="261"/>
                  <a:pt x="2173" y="268"/>
                  <a:pt x="2173" y="261"/>
                </a:cubicBezTo>
                <a:cubicBezTo>
                  <a:pt x="2181" y="261"/>
                  <a:pt x="2181" y="245"/>
                  <a:pt x="2181" y="237"/>
                </a:cubicBezTo>
                <a:lnTo>
                  <a:pt x="2181" y="213"/>
                </a:lnTo>
                <a:lnTo>
                  <a:pt x="2140" y="221"/>
                </a:lnTo>
                <a:cubicBezTo>
                  <a:pt x="2140" y="221"/>
                  <a:pt x="2099" y="213"/>
                  <a:pt x="2075" y="213"/>
                </a:cubicBezTo>
                <a:cubicBezTo>
                  <a:pt x="2042" y="213"/>
                  <a:pt x="1977" y="198"/>
                  <a:pt x="1977" y="198"/>
                </a:cubicBezTo>
                <a:lnTo>
                  <a:pt x="1895" y="174"/>
                </a:lnTo>
                <a:lnTo>
                  <a:pt x="1846" y="174"/>
                </a:lnTo>
                <a:lnTo>
                  <a:pt x="1772" y="166"/>
                </a:lnTo>
                <a:cubicBezTo>
                  <a:pt x="1772" y="166"/>
                  <a:pt x="1764" y="150"/>
                  <a:pt x="1756" y="142"/>
                </a:cubicBezTo>
                <a:cubicBezTo>
                  <a:pt x="1756" y="134"/>
                  <a:pt x="1731" y="119"/>
                  <a:pt x="1731" y="119"/>
                </a:cubicBezTo>
                <a:lnTo>
                  <a:pt x="1731" y="103"/>
                </a:lnTo>
                <a:lnTo>
                  <a:pt x="1715" y="63"/>
                </a:lnTo>
                <a:lnTo>
                  <a:pt x="1699" y="32"/>
                </a:lnTo>
                <a:lnTo>
                  <a:pt x="1715" y="8"/>
                </a:lnTo>
                <a:lnTo>
                  <a:pt x="1699" y="0"/>
                </a:lnTo>
                <a:cubicBezTo>
                  <a:pt x="1699" y="0"/>
                  <a:pt x="1666" y="8"/>
                  <a:pt x="1650" y="8"/>
                </a:cubicBezTo>
                <a:cubicBezTo>
                  <a:pt x="1642" y="16"/>
                  <a:pt x="1593" y="24"/>
                  <a:pt x="1593" y="24"/>
                </a:cubicBezTo>
                <a:lnTo>
                  <a:pt x="1576" y="32"/>
                </a:lnTo>
                <a:lnTo>
                  <a:pt x="1511" y="32"/>
                </a:lnTo>
                <a:lnTo>
                  <a:pt x="1446" y="40"/>
                </a:lnTo>
                <a:lnTo>
                  <a:pt x="1421" y="56"/>
                </a:lnTo>
                <a:lnTo>
                  <a:pt x="1372" y="79"/>
                </a:lnTo>
                <a:lnTo>
                  <a:pt x="1372" y="111"/>
                </a:lnTo>
                <a:lnTo>
                  <a:pt x="1348" y="142"/>
                </a:lnTo>
                <a:lnTo>
                  <a:pt x="1307" y="142"/>
                </a:lnTo>
                <a:lnTo>
                  <a:pt x="1266" y="111"/>
                </a:lnTo>
                <a:lnTo>
                  <a:pt x="1250" y="127"/>
                </a:lnTo>
                <a:lnTo>
                  <a:pt x="1209" y="119"/>
                </a:lnTo>
                <a:lnTo>
                  <a:pt x="1201" y="119"/>
                </a:lnTo>
                <a:lnTo>
                  <a:pt x="1192" y="119"/>
                </a:lnTo>
                <a:lnTo>
                  <a:pt x="1184" y="127"/>
                </a:lnTo>
                <a:lnTo>
                  <a:pt x="1192" y="142"/>
                </a:lnTo>
                <a:lnTo>
                  <a:pt x="1184" y="150"/>
                </a:lnTo>
                <a:lnTo>
                  <a:pt x="1192" y="166"/>
                </a:lnTo>
                <a:cubicBezTo>
                  <a:pt x="1192" y="166"/>
                  <a:pt x="1184" y="174"/>
                  <a:pt x="1176" y="182"/>
                </a:cubicBezTo>
                <a:cubicBezTo>
                  <a:pt x="1168" y="182"/>
                  <a:pt x="1184" y="198"/>
                  <a:pt x="1184" y="198"/>
                </a:cubicBezTo>
                <a:cubicBezTo>
                  <a:pt x="1184" y="198"/>
                  <a:pt x="1192" y="198"/>
                  <a:pt x="1209" y="205"/>
                </a:cubicBezTo>
                <a:cubicBezTo>
                  <a:pt x="1217" y="213"/>
                  <a:pt x="1209" y="213"/>
                  <a:pt x="1209" y="213"/>
                </a:cubicBezTo>
                <a:cubicBezTo>
                  <a:pt x="1209" y="221"/>
                  <a:pt x="1209" y="229"/>
                  <a:pt x="1201" y="229"/>
                </a:cubicBezTo>
                <a:lnTo>
                  <a:pt x="1201" y="237"/>
                </a:lnTo>
                <a:lnTo>
                  <a:pt x="1192" y="237"/>
                </a:lnTo>
                <a:cubicBezTo>
                  <a:pt x="1192" y="237"/>
                  <a:pt x="1168" y="245"/>
                  <a:pt x="1168" y="237"/>
                </a:cubicBezTo>
                <a:cubicBezTo>
                  <a:pt x="1160" y="237"/>
                  <a:pt x="1168" y="237"/>
                  <a:pt x="1168" y="237"/>
                </a:cubicBezTo>
                <a:lnTo>
                  <a:pt x="1160" y="237"/>
                </a:lnTo>
                <a:lnTo>
                  <a:pt x="1135" y="221"/>
                </a:lnTo>
                <a:lnTo>
                  <a:pt x="1135" y="213"/>
                </a:lnTo>
                <a:lnTo>
                  <a:pt x="1127" y="205"/>
                </a:lnTo>
                <a:cubicBezTo>
                  <a:pt x="1119" y="205"/>
                  <a:pt x="1119" y="213"/>
                  <a:pt x="1119" y="213"/>
                </a:cubicBezTo>
                <a:lnTo>
                  <a:pt x="1094" y="213"/>
                </a:lnTo>
                <a:cubicBezTo>
                  <a:pt x="1094" y="213"/>
                  <a:pt x="1094" y="221"/>
                  <a:pt x="1086" y="221"/>
                </a:cubicBezTo>
                <a:lnTo>
                  <a:pt x="1086" y="237"/>
                </a:lnTo>
                <a:cubicBezTo>
                  <a:pt x="1078" y="237"/>
                  <a:pt x="1078" y="245"/>
                  <a:pt x="1078" y="245"/>
                </a:cubicBezTo>
                <a:lnTo>
                  <a:pt x="1078" y="253"/>
                </a:lnTo>
                <a:lnTo>
                  <a:pt x="1070" y="268"/>
                </a:lnTo>
                <a:lnTo>
                  <a:pt x="1078" y="268"/>
                </a:lnTo>
                <a:lnTo>
                  <a:pt x="1078" y="284"/>
                </a:lnTo>
                <a:lnTo>
                  <a:pt x="1078" y="292"/>
                </a:lnTo>
                <a:cubicBezTo>
                  <a:pt x="1086" y="300"/>
                  <a:pt x="1094" y="292"/>
                  <a:pt x="1094" y="292"/>
                </a:cubicBezTo>
                <a:cubicBezTo>
                  <a:pt x="1094" y="292"/>
                  <a:pt x="1103" y="300"/>
                  <a:pt x="1103" y="308"/>
                </a:cubicBezTo>
                <a:cubicBezTo>
                  <a:pt x="1111" y="308"/>
                  <a:pt x="1103" y="316"/>
                  <a:pt x="1103" y="316"/>
                </a:cubicBezTo>
                <a:lnTo>
                  <a:pt x="1094" y="324"/>
                </a:lnTo>
                <a:cubicBezTo>
                  <a:pt x="1086" y="324"/>
                  <a:pt x="1086" y="324"/>
                  <a:pt x="1094" y="332"/>
                </a:cubicBezTo>
                <a:cubicBezTo>
                  <a:pt x="1094" y="340"/>
                  <a:pt x="1103" y="340"/>
                  <a:pt x="1103" y="340"/>
                </a:cubicBezTo>
                <a:cubicBezTo>
                  <a:pt x="1111" y="340"/>
                  <a:pt x="1111" y="363"/>
                  <a:pt x="1111" y="363"/>
                </a:cubicBezTo>
                <a:cubicBezTo>
                  <a:pt x="1111" y="371"/>
                  <a:pt x="1103" y="379"/>
                  <a:pt x="1103" y="379"/>
                </a:cubicBezTo>
                <a:cubicBezTo>
                  <a:pt x="1094" y="379"/>
                  <a:pt x="1094" y="379"/>
                  <a:pt x="1094" y="387"/>
                </a:cubicBezTo>
                <a:lnTo>
                  <a:pt x="1078" y="387"/>
                </a:lnTo>
                <a:cubicBezTo>
                  <a:pt x="1078" y="387"/>
                  <a:pt x="1086" y="371"/>
                  <a:pt x="1078" y="371"/>
                </a:cubicBezTo>
                <a:cubicBezTo>
                  <a:pt x="1078" y="363"/>
                  <a:pt x="1070" y="363"/>
                  <a:pt x="1062" y="355"/>
                </a:cubicBezTo>
                <a:cubicBezTo>
                  <a:pt x="1054" y="340"/>
                  <a:pt x="1062" y="340"/>
                  <a:pt x="1062" y="340"/>
                </a:cubicBezTo>
                <a:lnTo>
                  <a:pt x="1054" y="332"/>
                </a:lnTo>
                <a:lnTo>
                  <a:pt x="1054" y="316"/>
                </a:lnTo>
                <a:lnTo>
                  <a:pt x="1029" y="316"/>
                </a:lnTo>
                <a:cubicBezTo>
                  <a:pt x="1013" y="316"/>
                  <a:pt x="1021" y="324"/>
                  <a:pt x="1021" y="324"/>
                </a:cubicBezTo>
                <a:lnTo>
                  <a:pt x="1005" y="324"/>
                </a:lnTo>
                <a:lnTo>
                  <a:pt x="996" y="332"/>
                </a:lnTo>
                <a:cubicBezTo>
                  <a:pt x="988" y="340"/>
                  <a:pt x="988" y="332"/>
                  <a:pt x="980" y="332"/>
                </a:cubicBezTo>
                <a:lnTo>
                  <a:pt x="972" y="332"/>
                </a:lnTo>
                <a:cubicBezTo>
                  <a:pt x="972" y="332"/>
                  <a:pt x="964" y="340"/>
                  <a:pt x="972" y="347"/>
                </a:cubicBezTo>
                <a:cubicBezTo>
                  <a:pt x="972" y="355"/>
                  <a:pt x="972" y="355"/>
                  <a:pt x="964" y="355"/>
                </a:cubicBezTo>
                <a:cubicBezTo>
                  <a:pt x="964" y="363"/>
                  <a:pt x="947" y="355"/>
                  <a:pt x="931" y="355"/>
                </a:cubicBezTo>
                <a:cubicBezTo>
                  <a:pt x="907" y="355"/>
                  <a:pt x="923" y="347"/>
                  <a:pt x="915" y="347"/>
                </a:cubicBezTo>
                <a:cubicBezTo>
                  <a:pt x="915" y="340"/>
                  <a:pt x="898" y="340"/>
                  <a:pt x="898" y="332"/>
                </a:cubicBezTo>
                <a:lnTo>
                  <a:pt x="898" y="308"/>
                </a:lnTo>
                <a:cubicBezTo>
                  <a:pt x="898" y="300"/>
                  <a:pt x="890" y="292"/>
                  <a:pt x="890" y="292"/>
                </a:cubicBezTo>
                <a:cubicBezTo>
                  <a:pt x="882" y="284"/>
                  <a:pt x="890" y="276"/>
                  <a:pt x="898" y="276"/>
                </a:cubicBezTo>
                <a:cubicBezTo>
                  <a:pt x="898" y="268"/>
                  <a:pt x="890" y="268"/>
                  <a:pt x="890" y="268"/>
                </a:cubicBezTo>
                <a:lnTo>
                  <a:pt x="874" y="276"/>
                </a:lnTo>
                <a:lnTo>
                  <a:pt x="866" y="276"/>
                </a:lnTo>
                <a:cubicBezTo>
                  <a:pt x="866" y="276"/>
                  <a:pt x="858" y="268"/>
                  <a:pt x="849" y="268"/>
                </a:cubicBezTo>
                <a:cubicBezTo>
                  <a:pt x="849" y="261"/>
                  <a:pt x="841" y="268"/>
                  <a:pt x="841" y="268"/>
                </a:cubicBezTo>
                <a:lnTo>
                  <a:pt x="825" y="284"/>
                </a:lnTo>
                <a:lnTo>
                  <a:pt x="825" y="292"/>
                </a:lnTo>
                <a:lnTo>
                  <a:pt x="833" y="308"/>
                </a:lnTo>
                <a:lnTo>
                  <a:pt x="833" y="324"/>
                </a:lnTo>
                <a:lnTo>
                  <a:pt x="833" y="340"/>
                </a:lnTo>
                <a:lnTo>
                  <a:pt x="833" y="347"/>
                </a:lnTo>
                <a:lnTo>
                  <a:pt x="833" y="355"/>
                </a:lnTo>
                <a:cubicBezTo>
                  <a:pt x="833" y="355"/>
                  <a:pt x="825" y="363"/>
                  <a:pt x="825" y="371"/>
                </a:cubicBezTo>
                <a:lnTo>
                  <a:pt x="825" y="387"/>
                </a:lnTo>
                <a:lnTo>
                  <a:pt x="817" y="395"/>
                </a:lnTo>
                <a:cubicBezTo>
                  <a:pt x="817" y="395"/>
                  <a:pt x="809" y="403"/>
                  <a:pt x="809" y="410"/>
                </a:cubicBezTo>
                <a:lnTo>
                  <a:pt x="792" y="410"/>
                </a:lnTo>
                <a:cubicBezTo>
                  <a:pt x="792" y="410"/>
                  <a:pt x="784" y="426"/>
                  <a:pt x="776" y="426"/>
                </a:cubicBezTo>
                <a:lnTo>
                  <a:pt x="776" y="450"/>
                </a:lnTo>
                <a:lnTo>
                  <a:pt x="776" y="458"/>
                </a:lnTo>
                <a:lnTo>
                  <a:pt x="760" y="466"/>
                </a:lnTo>
                <a:lnTo>
                  <a:pt x="768" y="482"/>
                </a:lnTo>
                <a:cubicBezTo>
                  <a:pt x="768" y="489"/>
                  <a:pt x="760" y="489"/>
                  <a:pt x="760" y="489"/>
                </a:cubicBezTo>
                <a:cubicBezTo>
                  <a:pt x="751" y="497"/>
                  <a:pt x="760" y="497"/>
                  <a:pt x="760" y="505"/>
                </a:cubicBezTo>
                <a:cubicBezTo>
                  <a:pt x="751" y="513"/>
                  <a:pt x="760" y="513"/>
                  <a:pt x="760" y="513"/>
                </a:cubicBezTo>
                <a:cubicBezTo>
                  <a:pt x="760" y="521"/>
                  <a:pt x="784" y="529"/>
                  <a:pt x="784" y="529"/>
                </a:cubicBezTo>
                <a:lnTo>
                  <a:pt x="776" y="537"/>
                </a:lnTo>
                <a:cubicBezTo>
                  <a:pt x="760" y="545"/>
                  <a:pt x="768" y="560"/>
                  <a:pt x="768" y="560"/>
                </a:cubicBezTo>
                <a:lnTo>
                  <a:pt x="760" y="568"/>
                </a:lnTo>
                <a:cubicBezTo>
                  <a:pt x="760" y="568"/>
                  <a:pt x="751" y="560"/>
                  <a:pt x="743" y="560"/>
                </a:cubicBezTo>
                <a:lnTo>
                  <a:pt x="727" y="560"/>
                </a:lnTo>
                <a:cubicBezTo>
                  <a:pt x="711" y="560"/>
                  <a:pt x="727" y="553"/>
                  <a:pt x="727" y="553"/>
                </a:cubicBezTo>
                <a:lnTo>
                  <a:pt x="727" y="529"/>
                </a:lnTo>
                <a:cubicBezTo>
                  <a:pt x="727" y="529"/>
                  <a:pt x="727" y="521"/>
                  <a:pt x="719" y="513"/>
                </a:cubicBezTo>
                <a:cubicBezTo>
                  <a:pt x="719" y="505"/>
                  <a:pt x="711" y="505"/>
                  <a:pt x="711" y="505"/>
                </a:cubicBezTo>
                <a:lnTo>
                  <a:pt x="686" y="489"/>
                </a:lnTo>
                <a:cubicBezTo>
                  <a:pt x="686" y="489"/>
                  <a:pt x="694" y="474"/>
                  <a:pt x="702" y="466"/>
                </a:cubicBezTo>
                <a:lnTo>
                  <a:pt x="711" y="458"/>
                </a:lnTo>
                <a:cubicBezTo>
                  <a:pt x="711" y="450"/>
                  <a:pt x="702" y="450"/>
                  <a:pt x="702" y="450"/>
                </a:cubicBezTo>
                <a:lnTo>
                  <a:pt x="694" y="450"/>
                </a:lnTo>
                <a:lnTo>
                  <a:pt x="686" y="442"/>
                </a:lnTo>
                <a:cubicBezTo>
                  <a:pt x="686" y="442"/>
                  <a:pt x="670" y="450"/>
                  <a:pt x="670" y="442"/>
                </a:cubicBezTo>
                <a:cubicBezTo>
                  <a:pt x="662" y="442"/>
                  <a:pt x="645" y="442"/>
                  <a:pt x="645" y="434"/>
                </a:cubicBezTo>
                <a:lnTo>
                  <a:pt x="629" y="434"/>
                </a:lnTo>
                <a:lnTo>
                  <a:pt x="621" y="434"/>
                </a:lnTo>
                <a:cubicBezTo>
                  <a:pt x="613" y="426"/>
                  <a:pt x="604" y="418"/>
                  <a:pt x="604" y="418"/>
                </a:cubicBezTo>
                <a:cubicBezTo>
                  <a:pt x="604" y="410"/>
                  <a:pt x="596" y="403"/>
                  <a:pt x="596" y="403"/>
                </a:cubicBezTo>
                <a:lnTo>
                  <a:pt x="588" y="403"/>
                </a:lnTo>
                <a:cubicBezTo>
                  <a:pt x="588" y="403"/>
                  <a:pt x="580" y="387"/>
                  <a:pt x="572" y="387"/>
                </a:cubicBezTo>
                <a:lnTo>
                  <a:pt x="572" y="379"/>
                </a:lnTo>
                <a:lnTo>
                  <a:pt x="564" y="371"/>
                </a:lnTo>
                <a:lnTo>
                  <a:pt x="564" y="355"/>
                </a:lnTo>
                <a:lnTo>
                  <a:pt x="572" y="340"/>
                </a:lnTo>
                <a:cubicBezTo>
                  <a:pt x="572" y="340"/>
                  <a:pt x="564" y="324"/>
                  <a:pt x="564" y="316"/>
                </a:cubicBezTo>
                <a:cubicBezTo>
                  <a:pt x="564" y="308"/>
                  <a:pt x="572" y="292"/>
                  <a:pt x="572" y="292"/>
                </a:cubicBezTo>
                <a:cubicBezTo>
                  <a:pt x="572" y="292"/>
                  <a:pt x="539" y="300"/>
                  <a:pt x="531" y="308"/>
                </a:cubicBezTo>
                <a:cubicBezTo>
                  <a:pt x="523" y="308"/>
                  <a:pt x="523" y="316"/>
                  <a:pt x="523" y="316"/>
                </a:cubicBezTo>
                <a:lnTo>
                  <a:pt x="523" y="332"/>
                </a:lnTo>
                <a:lnTo>
                  <a:pt x="514" y="332"/>
                </a:lnTo>
                <a:cubicBezTo>
                  <a:pt x="514" y="332"/>
                  <a:pt x="498" y="347"/>
                  <a:pt x="490" y="347"/>
                </a:cubicBezTo>
                <a:cubicBezTo>
                  <a:pt x="490" y="355"/>
                  <a:pt x="490" y="355"/>
                  <a:pt x="482" y="355"/>
                </a:cubicBezTo>
                <a:cubicBezTo>
                  <a:pt x="474" y="355"/>
                  <a:pt x="465" y="363"/>
                  <a:pt x="465" y="363"/>
                </a:cubicBezTo>
                <a:lnTo>
                  <a:pt x="457" y="371"/>
                </a:lnTo>
                <a:lnTo>
                  <a:pt x="465" y="379"/>
                </a:lnTo>
                <a:lnTo>
                  <a:pt x="474" y="403"/>
                </a:lnTo>
                <a:lnTo>
                  <a:pt x="465" y="418"/>
                </a:lnTo>
                <a:lnTo>
                  <a:pt x="465" y="426"/>
                </a:lnTo>
                <a:lnTo>
                  <a:pt x="457" y="442"/>
                </a:lnTo>
                <a:lnTo>
                  <a:pt x="449" y="450"/>
                </a:lnTo>
                <a:lnTo>
                  <a:pt x="441" y="458"/>
                </a:lnTo>
                <a:lnTo>
                  <a:pt x="441" y="474"/>
                </a:lnTo>
                <a:cubicBezTo>
                  <a:pt x="441" y="474"/>
                  <a:pt x="441" y="482"/>
                  <a:pt x="433" y="489"/>
                </a:cubicBezTo>
                <a:lnTo>
                  <a:pt x="425" y="497"/>
                </a:lnTo>
                <a:lnTo>
                  <a:pt x="408" y="497"/>
                </a:lnTo>
                <a:cubicBezTo>
                  <a:pt x="400" y="497"/>
                  <a:pt x="400" y="505"/>
                  <a:pt x="392" y="505"/>
                </a:cubicBezTo>
                <a:cubicBezTo>
                  <a:pt x="376" y="505"/>
                  <a:pt x="384" y="513"/>
                  <a:pt x="384" y="521"/>
                </a:cubicBezTo>
                <a:lnTo>
                  <a:pt x="384" y="529"/>
                </a:lnTo>
                <a:cubicBezTo>
                  <a:pt x="376" y="529"/>
                  <a:pt x="359" y="529"/>
                  <a:pt x="359" y="521"/>
                </a:cubicBezTo>
                <a:lnTo>
                  <a:pt x="343" y="521"/>
                </a:lnTo>
                <a:cubicBezTo>
                  <a:pt x="343" y="529"/>
                  <a:pt x="335" y="513"/>
                  <a:pt x="335" y="513"/>
                </a:cubicBezTo>
                <a:lnTo>
                  <a:pt x="327" y="505"/>
                </a:lnTo>
                <a:cubicBezTo>
                  <a:pt x="327" y="497"/>
                  <a:pt x="310" y="505"/>
                  <a:pt x="310" y="505"/>
                </a:cubicBezTo>
                <a:cubicBezTo>
                  <a:pt x="302" y="497"/>
                  <a:pt x="286" y="497"/>
                  <a:pt x="286" y="497"/>
                </a:cubicBezTo>
                <a:cubicBezTo>
                  <a:pt x="278" y="497"/>
                  <a:pt x="286" y="505"/>
                  <a:pt x="286" y="505"/>
                </a:cubicBezTo>
                <a:lnTo>
                  <a:pt x="269" y="505"/>
                </a:lnTo>
                <a:cubicBezTo>
                  <a:pt x="261" y="505"/>
                  <a:pt x="261" y="513"/>
                  <a:pt x="261" y="513"/>
                </a:cubicBezTo>
                <a:lnTo>
                  <a:pt x="261" y="529"/>
                </a:lnTo>
                <a:lnTo>
                  <a:pt x="229" y="529"/>
                </a:lnTo>
                <a:cubicBezTo>
                  <a:pt x="220" y="529"/>
                  <a:pt x="212" y="521"/>
                  <a:pt x="204" y="521"/>
                </a:cubicBezTo>
                <a:cubicBezTo>
                  <a:pt x="196" y="521"/>
                  <a:pt x="188" y="529"/>
                  <a:pt x="188" y="529"/>
                </a:cubicBezTo>
                <a:lnTo>
                  <a:pt x="171" y="537"/>
                </a:lnTo>
                <a:cubicBezTo>
                  <a:pt x="171" y="537"/>
                  <a:pt x="163" y="545"/>
                  <a:pt x="155" y="545"/>
                </a:cubicBezTo>
                <a:cubicBezTo>
                  <a:pt x="147" y="545"/>
                  <a:pt x="147" y="537"/>
                  <a:pt x="147" y="537"/>
                </a:cubicBezTo>
                <a:lnTo>
                  <a:pt x="131" y="521"/>
                </a:lnTo>
                <a:lnTo>
                  <a:pt x="98" y="537"/>
                </a:lnTo>
                <a:lnTo>
                  <a:pt x="57" y="568"/>
                </a:lnTo>
                <a:lnTo>
                  <a:pt x="57" y="608"/>
                </a:lnTo>
                <a:cubicBezTo>
                  <a:pt x="90" y="624"/>
                  <a:pt x="73" y="639"/>
                  <a:pt x="147" y="671"/>
                </a:cubicBezTo>
                <a:cubicBezTo>
                  <a:pt x="155" y="671"/>
                  <a:pt x="171" y="710"/>
                  <a:pt x="171" y="710"/>
                </a:cubicBezTo>
                <a:cubicBezTo>
                  <a:pt x="171" y="718"/>
                  <a:pt x="155" y="781"/>
                  <a:pt x="147" y="789"/>
                </a:cubicBezTo>
                <a:cubicBezTo>
                  <a:pt x="131" y="797"/>
                  <a:pt x="114" y="829"/>
                  <a:pt x="114" y="829"/>
                </a:cubicBezTo>
                <a:cubicBezTo>
                  <a:pt x="114" y="829"/>
                  <a:pt x="82" y="860"/>
                  <a:pt x="73" y="860"/>
                </a:cubicBezTo>
                <a:cubicBezTo>
                  <a:pt x="65" y="860"/>
                  <a:pt x="41" y="868"/>
                  <a:pt x="33" y="868"/>
                </a:cubicBezTo>
                <a:cubicBezTo>
                  <a:pt x="33" y="868"/>
                  <a:pt x="0" y="868"/>
                  <a:pt x="8" y="876"/>
                </a:cubicBezTo>
                <a:lnTo>
                  <a:pt x="8" y="892"/>
                </a:lnTo>
                <a:cubicBezTo>
                  <a:pt x="16" y="900"/>
                  <a:pt x="41" y="931"/>
                  <a:pt x="41" y="931"/>
                </a:cubicBezTo>
                <a:lnTo>
                  <a:pt x="82" y="955"/>
                </a:lnTo>
                <a:lnTo>
                  <a:pt x="106" y="979"/>
                </a:lnTo>
                <a:lnTo>
                  <a:pt x="114" y="1058"/>
                </a:lnTo>
                <a:lnTo>
                  <a:pt x="82" y="1105"/>
                </a:lnTo>
                <a:cubicBezTo>
                  <a:pt x="49" y="1144"/>
                  <a:pt x="65" y="1121"/>
                  <a:pt x="73" y="1176"/>
                </a:cubicBezTo>
                <a:lnTo>
                  <a:pt x="98" y="1176"/>
                </a:lnTo>
                <a:lnTo>
                  <a:pt x="139" y="1239"/>
                </a:lnTo>
                <a:lnTo>
                  <a:pt x="220" y="1271"/>
                </a:lnTo>
                <a:lnTo>
                  <a:pt x="294" y="1271"/>
                </a:lnTo>
                <a:lnTo>
                  <a:pt x="327" y="1294"/>
                </a:lnTo>
                <a:lnTo>
                  <a:pt x="302" y="1381"/>
                </a:lnTo>
                <a:lnTo>
                  <a:pt x="253" y="1420"/>
                </a:lnTo>
                <a:lnTo>
                  <a:pt x="245" y="1420"/>
                </a:lnTo>
                <a:cubicBezTo>
                  <a:pt x="245" y="1420"/>
                  <a:pt x="253" y="1428"/>
                  <a:pt x="278" y="1436"/>
                </a:cubicBezTo>
                <a:cubicBezTo>
                  <a:pt x="294" y="1436"/>
                  <a:pt x="294" y="1452"/>
                  <a:pt x="318" y="1444"/>
                </a:cubicBezTo>
                <a:cubicBezTo>
                  <a:pt x="343" y="1436"/>
                  <a:pt x="376" y="1428"/>
                  <a:pt x="384" y="1420"/>
                </a:cubicBezTo>
                <a:cubicBezTo>
                  <a:pt x="392" y="1405"/>
                  <a:pt x="408" y="1397"/>
                  <a:pt x="416" y="1389"/>
                </a:cubicBezTo>
                <a:cubicBezTo>
                  <a:pt x="425" y="1373"/>
                  <a:pt x="474" y="1318"/>
                  <a:pt x="482" y="1318"/>
                </a:cubicBezTo>
                <a:cubicBezTo>
                  <a:pt x="482" y="1318"/>
                  <a:pt x="531" y="1255"/>
                  <a:pt x="539" y="1247"/>
                </a:cubicBezTo>
                <a:cubicBezTo>
                  <a:pt x="547" y="1239"/>
                  <a:pt x="612" y="1192"/>
                  <a:pt x="612" y="1192"/>
                </a:cubicBezTo>
                <a:lnTo>
                  <a:pt x="702" y="1160"/>
                </a:lnTo>
                <a:cubicBezTo>
                  <a:pt x="702" y="1160"/>
                  <a:pt x="743" y="1200"/>
                  <a:pt x="751" y="1207"/>
                </a:cubicBezTo>
                <a:cubicBezTo>
                  <a:pt x="759" y="1207"/>
                  <a:pt x="849" y="1247"/>
                  <a:pt x="849" y="1247"/>
                </a:cubicBezTo>
                <a:cubicBezTo>
                  <a:pt x="849" y="1247"/>
                  <a:pt x="907" y="1271"/>
                  <a:pt x="915" y="1278"/>
                </a:cubicBezTo>
                <a:cubicBezTo>
                  <a:pt x="915" y="1286"/>
                  <a:pt x="964" y="1326"/>
                  <a:pt x="964" y="1326"/>
                </a:cubicBezTo>
                <a:lnTo>
                  <a:pt x="996" y="1342"/>
                </a:lnTo>
                <a:lnTo>
                  <a:pt x="1021" y="1318"/>
                </a:lnTo>
                <a:lnTo>
                  <a:pt x="1054" y="1334"/>
                </a:lnTo>
                <a:lnTo>
                  <a:pt x="1111" y="1365"/>
                </a:lnTo>
                <a:lnTo>
                  <a:pt x="1135" y="1413"/>
                </a:lnTo>
                <a:cubicBezTo>
                  <a:pt x="1135" y="1413"/>
                  <a:pt x="1152" y="1476"/>
                  <a:pt x="1152" y="1499"/>
                </a:cubicBezTo>
                <a:cubicBezTo>
                  <a:pt x="1152" y="1523"/>
                  <a:pt x="1160" y="1562"/>
                  <a:pt x="1160" y="1562"/>
                </a:cubicBezTo>
                <a:lnTo>
                  <a:pt x="1233" y="1594"/>
                </a:lnTo>
                <a:lnTo>
                  <a:pt x="1233" y="1673"/>
                </a:lnTo>
                <a:cubicBezTo>
                  <a:pt x="1233" y="1689"/>
                  <a:pt x="1241" y="1712"/>
                  <a:pt x="1241" y="1736"/>
                </a:cubicBezTo>
                <a:lnTo>
                  <a:pt x="1241" y="1783"/>
                </a:lnTo>
                <a:lnTo>
                  <a:pt x="1274" y="1807"/>
                </a:lnTo>
                <a:lnTo>
                  <a:pt x="1315" y="1831"/>
                </a:lnTo>
                <a:lnTo>
                  <a:pt x="1323" y="1870"/>
                </a:lnTo>
                <a:lnTo>
                  <a:pt x="1388" y="1894"/>
                </a:lnTo>
                <a:lnTo>
                  <a:pt x="1405" y="1941"/>
                </a:lnTo>
                <a:lnTo>
                  <a:pt x="1446" y="1981"/>
                </a:lnTo>
                <a:lnTo>
                  <a:pt x="1446" y="2012"/>
                </a:lnTo>
                <a:cubicBezTo>
                  <a:pt x="1446" y="2012"/>
                  <a:pt x="1446" y="2028"/>
                  <a:pt x="1462" y="2028"/>
                </a:cubicBezTo>
                <a:cubicBezTo>
                  <a:pt x="1478" y="2028"/>
                  <a:pt x="1535" y="2020"/>
                  <a:pt x="1535" y="2020"/>
                </a:cubicBezTo>
                <a:lnTo>
                  <a:pt x="1593" y="2067"/>
                </a:lnTo>
                <a:lnTo>
                  <a:pt x="1658" y="2123"/>
                </a:lnTo>
                <a:lnTo>
                  <a:pt x="1691" y="2178"/>
                </a:lnTo>
                <a:lnTo>
                  <a:pt x="1740" y="2194"/>
                </a:lnTo>
                <a:lnTo>
                  <a:pt x="1805" y="2233"/>
                </a:lnTo>
                <a:lnTo>
                  <a:pt x="1829" y="2288"/>
                </a:lnTo>
                <a:lnTo>
                  <a:pt x="1887" y="2344"/>
                </a:lnTo>
                <a:lnTo>
                  <a:pt x="1919" y="2359"/>
                </a:lnTo>
                <a:lnTo>
                  <a:pt x="1936" y="2391"/>
                </a:lnTo>
                <a:lnTo>
                  <a:pt x="1968" y="2407"/>
                </a:lnTo>
                <a:lnTo>
                  <a:pt x="2001" y="2415"/>
                </a:lnTo>
                <a:lnTo>
                  <a:pt x="2050" y="2422"/>
                </a:lnTo>
                <a:lnTo>
                  <a:pt x="2083" y="2454"/>
                </a:lnTo>
                <a:cubicBezTo>
                  <a:pt x="2083" y="2454"/>
                  <a:pt x="2099" y="2470"/>
                  <a:pt x="2099" y="2478"/>
                </a:cubicBezTo>
                <a:cubicBezTo>
                  <a:pt x="2099" y="2493"/>
                  <a:pt x="2083" y="2501"/>
                  <a:pt x="2107" y="2501"/>
                </a:cubicBezTo>
                <a:cubicBezTo>
                  <a:pt x="2132" y="2501"/>
                  <a:pt x="2156" y="2493"/>
                  <a:pt x="2156" y="2493"/>
                </a:cubicBezTo>
                <a:lnTo>
                  <a:pt x="2205" y="2486"/>
                </a:lnTo>
                <a:lnTo>
                  <a:pt x="2270" y="2486"/>
                </a:lnTo>
                <a:lnTo>
                  <a:pt x="2328" y="2478"/>
                </a:lnTo>
                <a:lnTo>
                  <a:pt x="2360" y="2501"/>
                </a:lnTo>
                <a:lnTo>
                  <a:pt x="2450" y="2604"/>
                </a:lnTo>
                <a:cubicBezTo>
                  <a:pt x="2450" y="2604"/>
                  <a:pt x="2475" y="2643"/>
                  <a:pt x="2475" y="2659"/>
                </a:cubicBezTo>
                <a:cubicBezTo>
                  <a:pt x="2475" y="2667"/>
                  <a:pt x="2507" y="2659"/>
                  <a:pt x="2515" y="2659"/>
                </a:cubicBezTo>
                <a:lnTo>
                  <a:pt x="2588" y="2659"/>
                </a:lnTo>
                <a:lnTo>
                  <a:pt x="2637" y="2691"/>
                </a:lnTo>
                <a:lnTo>
                  <a:pt x="2604" y="2730"/>
                </a:lnTo>
                <a:lnTo>
                  <a:pt x="2653" y="2754"/>
                </a:lnTo>
                <a:lnTo>
                  <a:pt x="2678" y="2722"/>
                </a:lnTo>
                <a:lnTo>
                  <a:pt x="2727" y="2730"/>
                </a:lnTo>
                <a:lnTo>
                  <a:pt x="2768" y="2762"/>
                </a:lnTo>
                <a:lnTo>
                  <a:pt x="2776" y="2785"/>
                </a:lnTo>
                <a:lnTo>
                  <a:pt x="2800" y="2801"/>
                </a:lnTo>
                <a:lnTo>
                  <a:pt x="2792" y="2841"/>
                </a:lnTo>
                <a:lnTo>
                  <a:pt x="2792" y="2864"/>
                </a:lnTo>
                <a:lnTo>
                  <a:pt x="2808" y="2896"/>
                </a:lnTo>
                <a:lnTo>
                  <a:pt x="2849" y="2912"/>
                </a:lnTo>
                <a:lnTo>
                  <a:pt x="2890" y="2935"/>
                </a:lnTo>
                <a:lnTo>
                  <a:pt x="2915" y="2951"/>
                </a:lnTo>
                <a:lnTo>
                  <a:pt x="2947" y="2951"/>
                </a:lnTo>
                <a:lnTo>
                  <a:pt x="2996" y="2943"/>
                </a:lnTo>
                <a:lnTo>
                  <a:pt x="3053" y="2951"/>
                </a:lnTo>
                <a:lnTo>
                  <a:pt x="3102" y="3030"/>
                </a:lnTo>
                <a:lnTo>
                  <a:pt x="3127" y="3101"/>
                </a:lnTo>
                <a:lnTo>
                  <a:pt x="3160" y="3164"/>
                </a:lnTo>
                <a:lnTo>
                  <a:pt x="3184" y="3203"/>
                </a:lnTo>
                <a:lnTo>
                  <a:pt x="3200" y="3267"/>
                </a:lnTo>
                <a:lnTo>
                  <a:pt x="3225" y="3298"/>
                </a:lnTo>
                <a:lnTo>
                  <a:pt x="3266" y="3377"/>
                </a:lnTo>
                <a:lnTo>
                  <a:pt x="3282" y="3409"/>
                </a:lnTo>
                <a:lnTo>
                  <a:pt x="3266" y="3448"/>
                </a:lnTo>
                <a:cubicBezTo>
                  <a:pt x="3266" y="3448"/>
                  <a:pt x="3249" y="3488"/>
                  <a:pt x="3241" y="3488"/>
                </a:cubicBezTo>
                <a:cubicBezTo>
                  <a:pt x="3241" y="3495"/>
                  <a:pt x="3217" y="3503"/>
                  <a:pt x="3209" y="3503"/>
                </a:cubicBezTo>
                <a:cubicBezTo>
                  <a:pt x="3200" y="3511"/>
                  <a:pt x="3192" y="3511"/>
                  <a:pt x="3184" y="3519"/>
                </a:cubicBezTo>
                <a:cubicBezTo>
                  <a:pt x="3176" y="3527"/>
                  <a:pt x="3168" y="3551"/>
                  <a:pt x="3168" y="3551"/>
                </a:cubicBezTo>
                <a:lnTo>
                  <a:pt x="3192" y="3598"/>
                </a:lnTo>
                <a:lnTo>
                  <a:pt x="3184" y="3653"/>
                </a:lnTo>
                <a:lnTo>
                  <a:pt x="3168" y="3701"/>
                </a:lnTo>
                <a:close/>
                <a:moveTo>
                  <a:pt x="3070" y="3756"/>
                </a:moveTo>
                <a:lnTo>
                  <a:pt x="3078" y="3811"/>
                </a:lnTo>
                <a:cubicBezTo>
                  <a:pt x="3078" y="3811"/>
                  <a:pt x="3029" y="3890"/>
                  <a:pt x="3029" y="3898"/>
                </a:cubicBezTo>
                <a:cubicBezTo>
                  <a:pt x="3029" y="3906"/>
                  <a:pt x="3013" y="3937"/>
                  <a:pt x="2996" y="3961"/>
                </a:cubicBezTo>
                <a:cubicBezTo>
                  <a:pt x="2988" y="3977"/>
                  <a:pt x="2939" y="4040"/>
                  <a:pt x="2939" y="4040"/>
                </a:cubicBezTo>
                <a:cubicBezTo>
                  <a:pt x="2939" y="4040"/>
                  <a:pt x="2939" y="4063"/>
                  <a:pt x="2956" y="4079"/>
                </a:cubicBezTo>
                <a:cubicBezTo>
                  <a:pt x="2964" y="4095"/>
                  <a:pt x="2988" y="4119"/>
                  <a:pt x="2988" y="4142"/>
                </a:cubicBezTo>
                <a:cubicBezTo>
                  <a:pt x="2988" y="4158"/>
                  <a:pt x="3029" y="4182"/>
                  <a:pt x="3029" y="4182"/>
                </a:cubicBezTo>
                <a:lnTo>
                  <a:pt x="3037" y="4229"/>
                </a:lnTo>
                <a:cubicBezTo>
                  <a:pt x="3037" y="4229"/>
                  <a:pt x="3062" y="4253"/>
                  <a:pt x="3062" y="4261"/>
                </a:cubicBezTo>
                <a:cubicBezTo>
                  <a:pt x="3054" y="4269"/>
                  <a:pt x="3013" y="4308"/>
                  <a:pt x="3013" y="4308"/>
                </a:cubicBezTo>
                <a:lnTo>
                  <a:pt x="3005" y="4355"/>
                </a:lnTo>
                <a:lnTo>
                  <a:pt x="3005" y="4379"/>
                </a:lnTo>
                <a:cubicBezTo>
                  <a:pt x="3005" y="4379"/>
                  <a:pt x="3013" y="4379"/>
                  <a:pt x="3005" y="4403"/>
                </a:cubicBezTo>
                <a:cubicBezTo>
                  <a:pt x="2996" y="4419"/>
                  <a:pt x="2996" y="4419"/>
                  <a:pt x="2988" y="4419"/>
                </a:cubicBezTo>
                <a:cubicBezTo>
                  <a:pt x="2980" y="4426"/>
                  <a:pt x="2898" y="4419"/>
                  <a:pt x="2898" y="4419"/>
                </a:cubicBezTo>
                <a:lnTo>
                  <a:pt x="2817" y="4403"/>
                </a:lnTo>
                <a:cubicBezTo>
                  <a:pt x="2817" y="4403"/>
                  <a:pt x="2776" y="4395"/>
                  <a:pt x="2760" y="4387"/>
                </a:cubicBezTo>
                <a:cubicBezTo>
                  <a:pt x="2751" y="4379"/>
                  <a:pt x="2735" y="4371"/>
                  <a:pt x="2735" y="4371"/>
                </a:cubicBezTo>
                <a:lnTo>
                  <a:pt x="2711" y="4300"/>
                </a:lnTo>
                <a:lnTo>
                  <a:pt x="2645" y="4292"/>
                </a:lnTo>
                <a:lnTo>
                  <a:pt x="2483" y="4269"/>
                </a:lnTo>
                <a:cubicBezTo>
                  <a:pt x="2483" y="4269"/>
                  <a:pt x="2426" y="4221"/>
                  <a:pt x="2418" y="4213"/>
                </a:cubicBezTo>
                <a:cubicBezTo>
                  <a:pt x="2401" y="4205"/>
                  <a:pt x="2385" y="4182"/>
                  <a:pt x="2385" y="4182"/>
                </a:cubicBezTo>
                <a:lnTo>
                  <a:pt x="2352" y="4174"/>
                </a:lnTo>
                <a:lnTo>
                  <a:pt x="2287" y="4111"/>
                </a:lnTo>
                <a:lnTo>
                  <a:pt x="2222" y="4111"/>
                </a:lnTo>
                <a:lnTo>
                  <a:pt x="2173" y="4079"/>
                </a:lnTo>
                <a:lnTo>
                  <a:pt x="2115" y="4079"/>
                </a:lnTo>
                <a:cubicBezTo>
                  <a:pt x="2115" y="4079"/>
                  <a:pt x="2074" y="4071"/>
                  <a:pt x="2074" y="4063"/>
                </a:cubicBezTo>
                <a:cubicBezTo>
                  <a:pt x="2066" y="4048"/>
                  <a:pt x="2017" y="4024"/>
                  <a:pt x="2017" y="4024"/>
                </a:cubicBezTo>
                <a:lnTo>
                  <a:pt x="2017" y="3969"/>
                </a:lnTo>
                <a:cubicBezTo>
                  <a:pt x="2017" y="3961"/>
                  <a:pt x="2025" y="3882"/>
                  <a:pt x="2025" y="3882"/>
                </a:cubicBezTo>
                <a:lnTo>
                  <a:pt x="2058" y="3843"/>
                </a:lnTo>
                <a:lnTo>
                  <a:pt x="2107" y="3827"/>
                </a:lnTo>
                <a:lnTo>
                  <a:pt x="2124" y="3858"/>
                </a:lnTo>
                <a:lnTo>
                  <a:pt x="2181" y="3882"/>
                </a:lnTo>
                <a:lnTo>
                  <a:pt x="2213" y="3858"/>
                </a:lnTo>
                <a:lnTo>
                  <a:pt x="2230" y="3811"/>
                </a:lnTo>
                <a:lnTo>
                  <a:pt x="2279" y="3795"/>
                </a:lnTo>
                <a:lnTo>
                  <a:pt x="2336" y="3819"/>
                </a:lnTo>
                <a:lnTo>
                  <a:pt x="2377" y="3858"/>
                </a:lnTo>
                <a:lnTo>
                  <a:pt x="2458" y="3882"/>
                </a:lnTo>
                <a:lnTo>
                  <a:pt x="2532" y="3866"/>
                </a:lnTo>
                <a:lnTo>
                  <a:pt x="2596" y="3858"/>
                </a:lnTo>
                <a:lnTo>
                  <a:pt x="2645" y="3858"/>
                </a:lnTo>
                <a:cubicBezTo>
                  <a:pt x="2653" y="3850"/>
                  <a:pt x="2702" y="3835"/>
                  <a:pt x="2702" y="3835"/>
                </a:cubicBezTo>
                <a:lnTo>
                  <a:pt x="2784" y="3811"/>
                </a:lnTo>
                <a:lnTo>
                  <a:pt x="2833" y="3748"/>
                </a:lnTo>
                <a:lnTo>
                  <a:pt x="2898" y="3772"/>
                </a:lnTo>
                <a:lnTo>
                  <a:pt x="2956" y="3779"/>
                </a:lnTo>
                <a:lnTo>
                  <a:pt x="2980" y="3740"/>
                </a:lnTo>
                <a:lnTo>
                  <a:pt x="3037" y="3708"/>
                </a:lnTo>
                <a:lnTo>
                  <a:pt x="3070" y="3756"/>
                </a:ln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32" name="Freeform 124">
            <a:extLst>
              <a:ext uri="{FF2B5EF4-FFF2-40B4-BE49-F238E27FC236}">
                <a16:creationId xmlns:a16="http://schemas.microsoft.com/office/drawing/2014/main" id="{B19DFCA5-CEA9-70DA-6E55-3F7EC918D146}"/>
              </a:ext>
            </a:extLst>
          </p:cNvPr>
          <p:cNvSpPr>
            <a:spLocks noChangeArrowheads="1"/>
          </p:cNvSpPr>
          <p:nvPr>
            <p:custDataLst>
              <p:tags r:id="rId123"/>
            </p:custDataLst>
          </p:nvPr>
        </p:nvSpPr>
        <p:spPr bwMode="auto">
          <a:xfrm>
            <a:off x="6869972" y="5545947"/>
            <a:ext cx="246325" cy="422013"/>
          </a:xfrm>
          <a:custGeom>
            <a:avLst/>
            <a:gdLst>
              <a:gd name="T0" fmla="*/ 9 w 598"/>
              <a:gd name="T1" fmla="*/ 173 h 1026"/>
              <a:gd name="T2" fmla="*/ 33 w 598"/>
              <a:gd name="T3" fmla="*/ 94 h 1026"/>
              <a:gd name="T4" fmla="*/ 66 w 598"/>
              <a:gd name="T5" fmla="*/ 63 h 1026"/>
              <a:gd name="T6" fmla="*/ 58 w 598"/>
              <a:gd name="T7" fmla="*/ 102 h 1026"/>
              <a:gd name="T8" fmla="*/ 49 w 598"/>
              <a:gd name="T9" fmla="*/ 150 h 1026"/>
              <a:gd name="T10" fmla="*/ 123 w 598"/>
              <a:gd name="T11" fmla="*/ 173 h 1026"/>
              <a:gd name="T12" fmla="*/ 156 w 598"/>
              <a:gd name="T13" fmla="*/ 150 h 1026"/>
              <a:gd name="T14" fmla="*/ 221 w 598"/>
              <a:gd name="T15" fmla="*/ 142 h 1026"/>
              <a:gd name="T16" fmla="*/ 237 w 598"/>
              <a:gd name="T17" fmla="*/ 102 h 1026"/>
              <a:gd name="T18" fmla="*/ 294 w 598"/>
              <a:gd name="T19" fmla="*/ 39 h 1026"/>
              <a:gd name="T20" fmla="*/ 327 w 598"/>
              <a:gd name="T21" fmla="*/ 23 h 1026"/>
              <a:gd name="T22" fmla="*/ 376 w 598"/>
              <a:gd name="T23" fmla="*/ 0 h 1026"/>
              <a:gd name="T24" fmla="*/ 482 w 598"/>
              <a:gd name="T25" fmla="*/ 39 h 1026"/>
              <a:gd name="T26" fmla="*/ 499 w 598"/>
              <a:gd name="T27" fmla="*/ 102 h 1026"/>
              <a:gd name="T28" fmla="*/ 556 w 598"/>
              <a:gd name="T29" fmla="*/ 205 h 1026"/>
              <a:gd name="T30" fmla="*/ 572 w 598"/>
              <a:gd name="T31" fmla="*/ 252 h 1026"/>
              <a:gd name="T32" fmla="*/ 588 w 598"/>
              <a:gd name="T33" fmla="*/ 299 h 1026"/>
              <a:gd name="T34" fmla="*/ 531 w 598"/>
              <a:gd name="T35" fmla="*/ 410 h 1026"/>
              <a:gd name="T36" fmla="*/ 531 w 598"/>
              <a:gd name="T37" fmla="*/ 457 h 1026"/>
              <a:gd name="T38" fmla="*/ 564 w 598"/>
              <a:gd name="T39" fmla="*/ 520 h 1026"/>
              <a:gd name="T40" fmla="*/ 515 w 598"/>
              <a:gd name="T41" fmla="*/ 639 h 1026"/>
              <a:gd name="T42" fmla="*/ 539 w 598"/>
              <a:gd name="T43" fmla="*/ 725 h 1026"/>
              <a:gd name="T44" fmla="*/ 523 w 598"/>
              <a:gd name="T45" fmla="*/ 844 h 1026"/>
              <a:gd name="T46" fmla="*/ 515 w 598"/>
              <a:gd name="T47" fmla="*/ 907 h 1026"/>
              <a:gd name="T48" fmla="*/ 466 w 598"/>
              <a:gd name="T49" fmla="*/ 931 h 1026"/>
              <a:gd name="T50" fmla="*/ 368 w 598"/>
              <a:gd name="T51" fmla="*/ 867 h 1026"/>
              <a:gd name="T52" fmla="*/ 335 w 598"/>
              <a:gd name="T53" fmla="*/ 860 h 1026"/>
              <a:gd name="T54" fmla="*/ 311 w 598"/>
              <a:gd name="T55" fmla="*/ 915 h 1026"/>
              <a:gd name="T56" fmla="*/ 319 w 598"/>
              <a:gd name="T57" fmla="*/ 954 h 1026"/>
              <a:gd name="T58" fmla="*/ 278 w 598"/>
              <a:gd name="T59" fmla="*/ 1025 h 1026"/>
              <a:gd name="T60" fmla="*/ 237 w 598"/>
              <a:gd name="T61" fmla="*/ 1025 h 1026"/>
              <a:gd name="T62" fmla="*/ 188 w 598"/>
              <a:gd name="T63" fmla="*/ 1010 h 1026"/>
              <a:gd name="T64" fmla="*/ 139 w 598"/>
              <a:gd name="T65" fmla="*/ 946 h 1026"/>
              <a:gd name="T66" fmla="*/ 123 w 598"/>
              <a:gd name="T67" fmla="*/ 970 h 1026"/>
              <a:gd name="T68" fmla="*/ 82 w 598"/>
              <a:gd name="T69" fmla="*/ 962 h 1026"/>
              <a:gd name="T70" fmla="*/ 98 w 598"/>
              <a:gd name="T71" fmla="*/ 915 h 1026"/>
              <a:gd name="T72" fmla="*/ 82 w 598"/>
              <a:gd name="T73" fmla="*/ 860 h 1026"/>
              <a:gd name="T74" fmla="*/ 98 w 598"/>
              <a:gd name="T75" fmla="*/ 804 h 1026"/>
              <a:gd name="T76" fmla="*/ 98 w 598"/>
              <a:gd name="T77" fmla="*/ 725 h 1026"/>
              <a:gd name="T78" fmla="*/ 115 w 598"/>
              <a:gd name="T79" fmla="*/ 694 h 1026"/>
              <a:gd name="T80" fmla="*/ 123 w 598"/>
              <a:gd name="T81" fmla="*/ 654 h 1026"/>
              <a:gd name="T82" fmla="*/ 147 w 598"/>
              <a:gd name="T83" fmla="*/ 607 h 1026"/>
              <a:gd name="T84" fmla="*/ 139 w 598"/>
              <a:gd name="T85" fmla="*/ 568 h 1026"/>
              <a:gd name="T86" fmla="*/ 123 w 598"/>
              <a:gd name="T87" fmla="*/ 576 h 1026"/>
              <a:gd name="T88" fmla="*/ 74 w 598"/>
              <a:gd name="T89" fmla="*/ 528 h 1026"/>
              <a:gd name="T90" fmla="*/ 107 w 598"/>
              <a:gd name="T91" fmla="*/ 497 h 1026"/>
              <a:gd name="T92" fmla="*/ 123 w 598"/>
              <a:gd name="T93" fmla="*/ 457 h 1026"/>
              <a:gd name="T94" fmla="*/ 107 w 598"/>
              <a:gd name="T95" fmla="*/ 402 h 1026"/>
              <a:gd name="T96" fmla="*/ 82 w 598"/>
              <a:gd name="T97" fmla="*/ 378 h 1026"/>
              <a:gd name="T98" fmla="*/ 82 w 598"/>
              <a:gd name="T99" fmla="*/ 331 h 1026"/>
              <a:gd name="T100" fmla="*/ 66 w 598"/>
              <a:gd name="T101" fmla="*/ 307 h 1026"/>
              <a:gd name="T102" fmla="*/ 9 w 598"/>
              <a:gd name="T103" fmla="*/ 276 h 1026"/>
              <a:gd name="T104" fmla="*/ 17 w 598"/>
              <a:gd name="T105" fmla="*/ 221 h 1026"/>
              <a:gd name="T106" fmla="*/ 0 w 598"/>
              <a:gd name="T107" fmla="*/ 205 h 1026"/>
              <a:gd name="T108" fmla="*/ 9 w 598"/>
              <a:gd name="T109" fmla="*/ 173 h 10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98" h="1026">
                <a:moveTo>
                  <a:pt x="9" y="173"/>
                </a:moveTo>
                <a:lnTo>
                  <a:pt x="33" y="94"/>
                </a:lnTo>
                <a:lnTo>
                  <a:pt x="66" y="63"/>
                </a:lnTo>
                <a:lnTo>
                  <a:pt x="58" y="102"/>
                </a:lnTo>
                <a:lnTo>
                  <a:pt x="49" y="150"/>
                </a:lnTo>
                <a:cubicBezTo>
                  <a:pt x="49" y="150"/>
                  <a:pt x="115" y="173"/>
                  <a:pt x="123" y="173"/>
                </a:cubicBezTo>
                <a:cubicBezTo>
                  <a:pt x="131" y="173"/>
                  <a:pt x="139" y="157"/>
                  <a:pt x="156" y="150"/>
                </a:cubicBezTo>
                <a:cubicBezTo>
                  <a:pt x="164" y="142"/>
                  <a:pt x="221" y="142"/>
                  <a:pt x="221" y="142"/>
                </a:cubicBezTo>
                <a:cubicBezTo>
                  <a:pt x="221" y="142"/>
                  <a:pt x="229" y="118"/>
                  <a:pt x="237" y="102"/>
                </a:cubicBezTo>
                <a:cubicBezTo>
                  <a:pt x="245" y="86"/>
                  <a:pt x="286" y="47"/>
                  <a:pt x="294" y="39"/>
                </a:cubicBezTo>
                <a:cubicBezTo>
                  <a:pt x="303" y="39"/>
                  <a:pt x="319" y="23"/>
                  <a:pt x="327" y="23"/>
                </a:cubicBezTo>
                <a:cubicBezTo>
                  <a:pt x="335" y="15"/>
                  <a:pt x="376" y="0"/>
                  <a:pt x="376" y="0"/>
                </a:cubicBezTo>
                <a:lnTo>
                  <a:pt x="482" y="39"/>
                </a:lnTo>
                <a:lnTo>
                  <a:pt x="499" y="102"/>
                </a:lnTo>
                <a:lnTo>
                  <a:pt x="556" y="205"/>
                </a:lnTo>
                <a:lnTo>
                  <a:pt x="572" y="252"/>
                </a:lnTo>
                <a:cubicBezTo>
                  <a:pt x="572" y="252"/>
                  <a:pt x="597" y="276"/>
                  <a:pt x="588" y="299"/>
                </a:cubicBezTo>
                <a:cubicBezTo>
                  <a:pt x="580" y="331"/>
                  <a:pt x="531" y="410"/>
                  <a:pt x="531" y="410"/>
                </a:cubicBezTo>
                <a:lnTo>
                  <a:pt x="531" y="457"/>
                </a:lnTo>
                <a:lnTo>
                  <a:pt x="564" y="520"/>
                </a:lnTo>
                <a:lnTo>
                  <a:pt x="515" y="639"/>
                </a:lnTo>
                <a:lnTo>
                  <a:pt x="539" y="725"/>
                </a:lnTo>
                <a:lnTo>
                  <a:pt x="523" y="844"/>
                </a:lnTo>
                <a:lnTo>
                  <a:pt x="515" y="907"/>
                </a:lnTo>
                <a:cubicBezTo>
                  <a:pt x="515" y="907"/>
                  <a:pt x="482" y="939"/>
                  <a:pt x="466" y="931"/>
                </a:cubicBezTo>
                <a:cubicBezTo>
                  <a:pt x="450" y="923"/>
                  <a:pt x="368" y="867"/>
                  <a:pt x="368" y="867"/>
                </a:cubicBezTo>
                <a:lnTo>
                  <a:pt x="335" y="860"/>
                </a:lnTo>
                <a:lnTo>
                  <a:pt x="311" y="915"/>
                </a:lnTo>
                <a:lnTo>
                  <a:pt x="319" y="954"/>
                </a:lnTo>
                <a:lnTo>
                  <a:pt x="278" y="1025"/>
                </a:lnTo>
                <a:lnTo>
                  <a:pt x="237" y="1025"/>
                </a:lnTo>
                <a:lnTo>
                  <a:pt x="188" y="1010"/>
                </a:lnTo>
                <a:lnTo>
                  <a:pt x="139" y="946"/>
                </a:lnTo>
                <a:cubicBezTo>
                  <a:pt x="139" y="946"/>
                  <a:pt x="139" y="962"/>
                  <a:pt x="123" y="970"/>
                </a:cubicBezTo>
                <a:cubicBezTo>
                  <a:pt x="107" y="970"/>
                  <a:pt x="82" y="962"/>
                  <a:pt x="82" y="962"/>
                </a:cubicBezTo>
                <a:lnTo>
                  <a:pt x="98" y="915"/>
                </a:lnTo>
                <a:lnTo>
                  <a:pt x="82" y="860"/>
                </a:lnTo>
                <a:lnTo>
                  <a:pt x="98" y="804"/>
                </a:lnTo>
                <a:lnTo>
                  <a:pt x="98" y="725"/>
                </a:lnTo>
                <a:lnTo>
                  <a:pt x="115" y="694"/>
                </a:lnTo>
                <a:lnTo>
                  <a:pt x="123" y="654"/>
                </a:lnTo>
                <a:lnTo>
                  <a:pt x="147" y="607"/>
                </a:lnTo>
                <a:lnTo>
                  <a:pt x="139" y="568"/>
                </a:lnTo>
                <a:lnTo>
                  <a:pt x="123" y="576"/>
                </a:lnTo>
                <a:lnTo>
                  <a:pt x="74" y="528"/>
                </a:lnTo>
                <a:cubicBezTo>
                  <a:pt x="74" y="528"/>
                  <a:pt x="90" y="512"/>
                  <a:pt x="107" y="497"/>
                </a:cubicBezTo>
                <a:cubicBezTo>
                  <a:pt x="123" y="481"/>
                  <a:pt x="123" y="473"/>
                  <a:pt x="123" y="457"/>
                </a:cubicBezTo>
                <a:cubicBezTo>
                  <a:pt x="123" y="441"/>
                  <a:pt x="115" y="402"/>
                  <a:pt x="107" y="402"/>
                </a:cubicBezTo>
                <a:cubicBezTo>
                  <a:pt x="98" y="394"/>
                  <a:pt x="82" y="378"/>
                  <a:pt x="82" y="378"/>
                </a:cubicBezTo>
                <a:lnTo>
                  <a:pt x="82" y="331"/>
                </a:lnTo>
                <a:cubicBezTo>
                  <a:pt x="82" y="331"/>
                  <a:pt x="74" y="307"/>
                  <a:pt x="66" y="307"/>
                </a:cubicBezTo>
                <a:cubicBezTo>
                  <a:pt x="49" y="299"/>
                  <a:pt x="9" y="276"/>
                  <a:pt x="9" y="276"/>
                </a:cubicBezTo>
                <a:lnTo>
                  <a:pt x="17" y="221"/>
                </a:lnTo>
                <a:lnTo>
                  <a:pt x="0" y="205"/>
                </a:lnTo>
                <a:lnTo>
                  <a:pt x="9" y="173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33" name="Freeform 125">
            <a:extLst>
              <a:ext uri="{FF2B5EF4-FFF2-40B4-BE49-F238E27FC236}">
                <a16:creationId xmlns:a16="http://schemas.microsoft.com/office/drawing/2014/main" id="{1A3BE759-ADCC-9BAC-B7A0-72C19EF26CE5}"/>
              </a:ext>
            </a:extLst>
          </p:cNvPr>
          <p:cNvSpPr>
            <a:spLocks noChangeArrowheads="1"/>
          </p:cNvSpPr>
          <p:nvPr>
            <p:custDataLst>
              <p:tags r:id="rId124"/>
            </p:custDataLst>
          </p:nvPr>
        </p:nvSpPr>
        <p:spPr bwMode="auto">
          <a:xfrm>
            <a:off x="6681605" y="4499063"/>
            <a:ext cx="1650019" cy="1584814"/>
          </a:xfrm>
          <a:custGeom>
            <a:avLst/>
            <a:gdLst>
              <a:gd name="T0" fmla="*/ 3282 w 4018"/>
              <a:gd name="T1" fmla="*/ 3827 h 3859"/>
              <a:gd name="T2" fmla="*/ 3462 w 4018"/>
              <a:gd name="T3" fmla="*/ 3424 h 3859"/>
              <a:gd name="T4" fmla="*/ 3568 w 4018"/>
              <a:gd name="T5" fmla="*/ 3148 h 3859"/>
              <a:gd name="T6" fmla="*/ 3364 w 4018"/>
              <a:gd name="T7" fmla="*/ 2872 h 3859"/>
              <a:gd name="T8" fmla="*/ 3715 w 4018"/>
              <a:gd name="T9" fmla="*/ 2762 h 3859"/>
              <a:gd name="T10" fmla="*/ 3993 w 4018"/>
              <a:gd name="T11" fmla="*/ 2880 h 3859"/>
              <a:gd name="T12" fmla="*/ 3421 w 4018"/>
              <a:gd name="T13" fmla="*/ 2438 h 3859"/>
              <a:gd name="T14" fmla="*/ 3111 w 4018"/>
              <a:gd name="T15" fmla="*/ 2225 h 3859"/>
              <a:gd name="T16" fmla="*/ 2670 w 4018"/>
              <a:gd name="T17" fmla="*/ 2075 h 3859"/>
              <a:gd name="T18" fmla="*/ 2262 w 4018"/>
              <a:gd name="T19" fmla="*/ 1531 h 3859"/>
              <a:gd name="T20" fmla="*/ 1772 w 4018"/>
              <a:gd name="T21" fmla="*/ 963 h 3859"/>
              <a:gd name="T22" fmla="*/ 1789 w 4018"/>
              <a:gd name="T23" fmla="*/ 726 h 3859"/>
              <a:gd name="T24" fmla="*/ 2083 w 4018"/>
              <a:gd name="T25" fmla="*/ 584 h 3859"/>
              <a:gd name="T26" fmla="*/ 2181 w 4018"/>
              <a:gd name="T27" fmla="*/ 482 h 3859"/>
              <a:gd name="T28" fmla="*/ 2132 w 4018"/>
              <a:gd name="T29" fmla="*/ 450 h 3859"/>
              <a:gd name="T30" fmla="*/ 2164 w 4018"/>
              <a:gd name="T31" fmla="*/ 379 h 3859"/>
              <a:gd name="T32" fmla="*/ 2115 w 4018"/>
              <a:gd name="T33" fmla="*/ 300 h 3859"/>
              <a:gd name="T34" fmla="*/ 2140 w 4018"/>
              <a:gd name="T35" fmla="*/ 221 h 3859"/>
              <a:gd name="T36" fmla="*/ 1731 w 4018"/>
              <a:gd name="T37" fmla="*/ 119 h 3859"/>
              <a:gd name="T38" fmla="*/ 1593 w 4018"/>
              <a:gd name="T39" fmla="*/ 24 h 3859"/>
              <a:gd name="T40" fmla="*/ 1348 w 4018"/>
              <a:gd name="T41" fmla="*/ 142 h 3859"/>
              <a:gd name="T42" fmla="*/ 1184 w 4018"/>
              <a:gd name="T43" fmla="*/ 127 h 3859"/>
              <a:gd name="T44" fmla="*/ 1209 w 4018"/>
              <a:gd name="T45" fmla="*/ 213 h 3859"/>
              <a:gd name="T46" fmla="*/ 1135 w 4018"/>
              <a:gd name="T47" fmla="*/ 221 h 3859"/>
              <a:gd name="T48" fmla="*/ 1078 w 4018"/>
              <a:gd name="T49" fmla="*/ 245 h 3859"/>
              <a:gd name="T50" fmla="*/ 1103 w 4018"/>
              <a:gd name="T51" fmla="*/ 308 h 3859"/>
              <a:gd name="T52" fmla="*/ 1094 w 4018"/>
              <a:gd name="T53" fmla="*/ 387 h 3859"/>
              <a:gd name="T54" fmla="*/ 1029 w 4018"/>
              <a:gd name="T55" fmla="*/ 316 h 3859"/>
              <a:gd name="T56" fmla="*/ 964 w 4018"/>
              <a:gd name="T57" fmla="*/ 355 h 3859"/>
              <a:gd name="T58" fmla="*/ 890 w 4018"/>
              <a:gd name="T59" fmla="*/ 268 h 3859"/>
              <a:gd name="T60" fmla="*/ 833 w 4018"/>
              <a:gd name="T61" fmla="*/ 308 h 3859"/>
              <a:gd name="T62" fmla="*/ 817 w 4018"/>
              <a:gd name="T63" fmla="*/ 395 h 3859"/>
              <a:gd name="T64" fmla="*/ 768 w 4018"/>
              <a:gd name="T65" fmla="*/ 482 h 3859"/>
              <a:gd name="T66" fmla="*/ 760 w 4018"/>
              <a:gd name="T67" fmla="*/ 568 h 3859"/>
              <a:gd name="T68" fmla="*/ 686 w 4018"/>
              <a:gd name="T69" fmla="*/ 489 h 3859"/>
              <a:gd name="T70" fmla="*/ 645 w 4018"/>
              <a:gd name="T71" fmla="*/ 434 h 3859"/>
              <a:gd name="T72" fmla="*/ 572 w 4018"/>
              <a:gd name="T73" fmla="*/ 379 h 3859"/>
              <a:gd name="T74" fmla="*/ 523 w 4018"/>
              <a:gd name="T75" fmla="*/ 316 h 3859"/>
              <a:gd name="T76" fmla="*/ 465 w 4018"/>
              <a:gd name="T77" fmla="*/ 379 h 3859"/>
              <a:gd name="T78" fmla="*/ 441 w 4018"/>
              <a:gd name="T79" fmla="*/ 474 h 3859"/>
              <a:gd name="T80" fmla="*/ 359 w 4018"/>
              <a:gd name="T81" fmla="*/ 521 h 3859"/>
              <a:gd name="T82" fmla="*/ 269 w 4018"/>
              <a:gd name="T83" fmla="*/ 505 h 3859"/>
              <a:gd name="T84" fmla="*/ 155 w 4018"/>
              <a:gd name="T85" fmla="*/ 545 h 3859"/>
              <a:gd name="T86" fmla="*/ 171 w 4018"/>
              <a:gd name="T87" fmla="*/ 710 h 3859"/>
              <a:gd name="T88" fmla="*/ 41 w 4018"/>
              <a:gd name="T89" fmla="*/ 931 h 3859"/>
              <a:gd name="T90" fmla="*/ 139 w 4018"/>
              <a:gd name="T91" fmla="*/ 1239 h 3859"/>
              <a:gd name="T92" fmla="*/ 278 w 4018"/>
              <a:gd name="T93" fmla="*/ 1436 h 3859"/>
              <a:gd name="T94" fmla="*/ 702 w 4018"/>
              <a:gd name="T95" fmla="*/ 1160 h 3859"/>
              <a:gd name="T96" fmla="*/ 1054 w 4018"/>
              <a:gd name="T97" fmla="*/ 1334 h 3859"/>
              <a:gd name="T98" fmla="*/ 1241 w 4018"/>
              <a:gd name="T99" fmla="*/ 1736 h 3859"/>
              <a:gd name="T100" fmla="*/ 1446 w 4018"/>
              <a:gd name="T101" fmla="*/ 1981 h 3859"/>
              <a:gd name="T102" fmla="*/ 1740 w 4018"/>
              <a:gd name="T103" fmla="*/ 2194 h 3859"/>
              <a:gd name="T104" fmla="*/ 2001 w 4018"/>
              <a:gd name="T105" fmla="*/ 2415 h 3859"/>
              <a:gd name="T106" fmla="*/ 2270 w 4018"/>
              <a:gd name="T107" fmla="*/ 2486 h 3859"/>
              <a:gd name="T108" fmla="*/ 2637 w 4018"/>
              <a:gd name="T109" fmla="*/ 2691 h 3859"/>
              <a:gd name="T110" fmla="*/ 2800 w 4018"/>
              <a:gd name="T111" fmla="*/ 2801 h 3859"/>
              <a:gd name="T112" fmla="*/ 2947 w 4018"/>
              <a:gd name="T113" fmla="*/ 2951 h 3859"/>
              <a:gd name="T114" fmla="*/ 3200 w 4018"/>
              <a:gd name="T115" fmla="*/ 3267 h 3859"/>
              <a:gd name="T116" fmla="*/ 3184 w 4018"/>
              <a:gd name="T117" fmla="*/ 3519 h 3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018" h="3859">
                <a:moveTo>
                  <a:pt x="3168" y="3701"/>
                </a:moveTo>
                <a:lnTo>
                  <a:pt x="3135" y="3732"/>
                </a:lnTo>
                <a:lnTo>
                  <a:pt x="3103" y="3756"/>
                </a:lnTo>
                <a:cubicBezTo>
                  <a:pt x="3103" y="3756"/>
                  <a:pt x="3111" y="3787"/>
                  <a:pt x="3111" y="3803"/>
                </a:cubicBezTo>
                <a:cubicBezTo>
                  <a:pt x="3119" y="3819"/>
                  <a:pt x="3143" y="3858"/>
                  <a:pt x="3143" y="3858"/>
                </a:cubicBezTo>
                <a:lnTo>
                  <a:pt x="3225" y="3858"/>
                </a:lnTo>
                <a:lnTo>
                  <a:pt x="3282" y="3827"/>
                </a:lnTo>
                <a:lnTo>
                  <a:pt x="3290" y="3772"/>
                </a:lnTo>
                <a:lnTo>
                  <a:pt x="3315" y="3716"/>
                </a:lnTo>
                <a:lnTo>
                  <a:pt x="3364" y="3685"/>
                </a:lnTo>
                <a:lnTo>
                  <a:pt x="3405" y="3645"/>
                </a:lnTo>
                <a:lnTo>
                  <a:pt x="3429" y="3606"/>
                </a:lnTo>
                <a:lnTo>
                  <a:pt x="3437" y="3503"/>
                </a:lnTo>
                <a:lnTo>
                  <a:pt x="3462" y="3424"/>
                </a:lnTo>
                <a:lnTo>
                  <a:pt x="3593" y="3377"/>
                </a:lnTo>
                <a:lnTo>
                  <a:pt x="3617" y="3361"/>
                </a:lnTo>
                <a:cubicBezTo>
                  <a:pt x="3617" y="3361"/>
                  <a:pt x="3617" y="3346"/>
                  <a:pt x="3609" y="3330"/>
                </a:cubicBezTo>
                <a:cubicBezTo>
                  <a:pt x="3609" y="3322"/>
                  <a:pt x="3584" y="3298"/>
                  <a:pt x="3584" y="3298"/>
                </a:cubicBezTo>
                <a:cubicBezTo>
                  <a:pt x="3584" y="3298"/>
                  <a:pt x="3593" y="3275"/>
                  <a:pt x="3593" y="3267"/>
                </a:cubicBezTo>
                <a:cubicBezTo>
                  <a:pt x="3593" y="3259"/>
                  <a:pt x="3584" y="3203"/>
                  <a:pt x="3584" y="3203"/>
                </a:cubicBezTo>
                <a:lnTo>
                  <a:pt x="3568" y="3148"/>
                </a:lnTo>
                <a:cubicBezTo>
                  <a:pt x="3568" y="3148"/>
                  <a:pt x="3552" y="3148"/>
                  <a:pt x="3527" y="3132"/>
                </a:cubicBezTo>
                <a:cubicBezTo>
                  <a:pt x="3503" y="3125"/>
                  <a:pt x="3462" y="3101"/>
                  <a:pt x="3462" y="3101"/>
                </a:cubicBezTo>
                <a:lnTo>
                  <a:pt x="3421" y="3085"/>
                </a:lnTo>
                <a:lnTo>
                  <a:pt x="3372" y="3077"/>
                </a:lnTo>
                <a:lnTo>
                  <a:pt x="3356" y="3038"/>
                </a:lnTo>
                <a:lnTo>
                  <a:pt x="3388" y="2927"/>
                </a:lnTo>
                <a:lnTo>
                  <a:pt x="3364" y="2872"/>
                </a:lnTo>
                <a:lnTo>
                  <a:pt x="3437" y="2793"/>
                </a:lnTo>
                <a:lnTo>
                  <a:pt x="3470" y="2738"/>
                </a:lnTo>
                <a:lnTo>
                  <a:pt x="3511" y="2706"/>
                </a:lnTo>
                <a:lnTo>
                  <a:pt x="3576" y="2722"/>
                </a:lnTo>
                <a:lnTo>
                  <a:pt x="3601" y="2754"/>
                </a:lnTo>
                <a:lnTo>
                  <a:pt x="3642" y="2762"/>
                </a:lnTo>
                <a:lnTo>
                  <a:pt x="3715" y="2762"/>
                </a:lnTo>
                <a:lnTo>
                  <a:pt x="3797" y="2777"/>
                </a:lnTo>
                <a:lnTo>
                  <a:pt x="3829" y="2825"/>
                </a:lnTo>
                <a:lnTo>
                  <a:pt x="3862" y="2880"/>
                </a:lnTo>
                <a:cubicBezTo>
                  <a:pt x="3862" y="2880"/>
                  <a:pt x="3878" y="2904"/>
                  <a:pt x="3887" y="2912"/>
                </a:cubicBezTo>
                <a:cubicBezTo>
                  <a:pt x="3887" y="2912"/>
                  <a:pt x="3919" y="2935"/>
                  <a:pt x="3927" y="2935"/>
                </a:cubicBezTo>
                <a:cubicBezTo>
                  <a:pt x="3936" y="2943"/>
                  <a:pt x="3985" y="2951"/>
                  <a:pt x="3985" y="2951"/>
                </a:cubicBezTo>
                <a:cubicBezTo>
                  <a:pt x="3985" y="2951"/>
                  <a:pt x="3985" y="2896"/>
                  <a:pt x="3993" y="2880"/>
                </a:cubicBezTo>
                <a:cubicBezTo>
                  <a:pt x="4001" y="2872"/>
                  <a:pt x="4017" y="2841"/>
                  <a:pt x="4017" y="2833"/>
                </a:cubicBezTo>
                <a:cubicBezTo>
                  <a:pt x="4017" y="2825"/>
                  <a:pt x="4001" y="2770"/>
                  <a:pt x="4001" y="2770"/>
                </a:cubicBezTo>
                <a:lnTo>
                  <a:pt x="3944" y="2706"/>
                </a:lnTo>
                <a:lnTo>
                  <a:pt x="3887" y="2667"/>
                </a:lnTo>
                <a:lnTo>
                  <a:pt x="3748" y="2580"/>
                </a:lnTo>
                <a:lnTo>
                  <a:pt x="3552" y="2517"/>
                </a:lnTo>
                <a:lnTo>
                  <a:pt x="3421" y="2438"/>
                </a:lnTo>
                <a:lnTo>
                  <a:pt x="3315" y="2415"/>
                </a:lnTo>
                <a:cubicBezTo>
                  <a:pt x="3315" y="2415"/>
                  <a:pt x="3201" y="2359"/>
                  <a:pt x="3192" y="2359"/>
                </a:cubicBezTo>
                <a:cubicBezTo>
                  <a:pt x="3184" y="2359"/>
                  <a:pt x="3160" y="2351"/>
                  <a:pt x="3160" y="2351"/>
                </a:cubicBezTo>
                <a:cubicBezTo>
                  <a:pt x="3160" y="2351"/>
                  <a:pt x="3094" y="2336"/>
                  <a:pt x="3094" y="2328"/>
                </a:cubicBezTo>
                <a:cubicBezTo>
                  <a:pt x="3086" y="2320"/>
                  <a:pt x="3078" y="2296"/>
                  <a:pt x="3070" y="2288"/>
                </a:cubicBezTo>
                <a:cubicBezTo>
                  <a:pt x="3070" y="2280"/>
                  <a:pt x="3078" y="2257"/>
                  <a:pt x="3078" y="2257"/>
                </a:cubicBezTo>
                <a:lnTo>
                  <a:pt x="3111" y="2225"/>
                </a:lnTo>
                <a:cubicBezTo>
                  <a:pt x="3111" y="2225"/>
                  <a:pt x="3143" y="2194"/>
                  <a:pt x="3143" y="2186"/>
                </a:cubicBezTo>
                <a:cubicBezTo>
                  <a:pt x="3143" y="2178"/>
                  <a:pt x="3152" y="2131"/>
                  <a:pt x="3152" y="2131"/>
                </a:cubicBezTo>
                <a:lnTo>
                  <a:pt x="3111" y="2115"/>
                </a:lnTo>
                <a:lnTo>
                  <a:pt x="3013" y="2123"/>
                </a:lnTo>
                <a:lnTo>
                  <a:pt x="2858" y="2138"/>
                </a:lnTo>
                <a:lnTo>
                  <a:pt x="2776" y="2138"/>
                </a:lnTo>
                <a:lnTo>
                  <a:pt x="2670" y="2075"/>
                </a:lnTo>
                <a:lnTo>
                  <a:pt x="2580" y="2004"/>
                </a:lnTo>
                <a:lnTo>
                  <a:pt x="2524" y="1973"/>
                </a:lnTo>
                <a:lnTo>
                  <a:pt x="2442" y="1886"/>
                </a:lnTo>
                <a:lnTo>
                  <a:pt x="2401" y="1831"/>
                </a:lnTo>
                <a:cubicBezTo>
                  <a:pt x="2401" y="1831"/>
                  <a:pt x="2377" y="1752"/>
                  <a:pt x="2369" y="1720"/>
                </a:cubicBezTo>
                <a:cubicBezTo>
                  <a:pt x="2360" y="1697"/>
                  <a:pt x="2295" y="1610"/>
                  <a:pt x="2295" y="1610"/>
                </a:cubicBezTo>
                <a:cubicBezTo>
                  <a:pt x="2295" y="1610"/>
                  <a:pt x="2262" y="1539"/>
                  <a:pt x="2262" y="1531"/>
                </a:cubicBezTo>
                <a:cubicBezTo>
                  <a:pt x="2262" y="1523"/>
                  <a:pt x="2246" y="1468"/>
                  <a:pt x="2246" y="1468"/>
                </a:cubicBezTo>
                <a:lnTo>
                  <a:pt x="2140" y="1420"/>
                </a:lnTo>
                <a:lnTo>
                  <a:pt x="2001" y="1342"/>
                </a:lnTo>
                <a:lnTo>
                  <a:pt x="1887" y="1271"/>
                </a:lnTo>
                <a:lnTo>
                  <a:pt x="1830" y="1192"/>
                </a:lnTo>
                <a:lnTo>
                  <a:pt x="1781" y="1065"/>
                </a:lnTo>
                <a:lnTo>
                  <a:pt x="1772" y="963"/>
                </a:lnTo>
                <a:lnTo>
                  <a:pt x="1830" y="939"/>
                </a:lnTo>
                <a:lnTo>
                  <a:pt x="1830" y="892"/>
                </a:lnTo>
                <a:lnTo>
                  <a:pt x="1781" y="860"/>
                </a:lnTo>
                <a:lnTo>
                  <a:pt x="1781" y="813"/>
                </a:lnTo>
                <a:lnTo>
                  <a:pt x="1756" y="797"/>
                </a:lnTo>
                <a:lnTo>
                  <a:pt x="1723" y="758"/>
                </a:lnTo>
                <a:lnTo>
                  <a:pt x="1789" y="726"/>
                </a:lnTo>
                <a:cubicBezTo>
                  <a:pt x="1789" y="726"/>
                  <a:pt x="1813" y="695"/>
                  <a:pt x="1846" y="695"/>
                </a:cubicBezTo>
                <a:cubicBezTo>
                  <a:pt x="1879" y="695"/>
                  <a:pt x="1903" y="663"/>
                  <a:pt x="1903" y="663"/>
                </a:cubicBezTo>
                <a:cubicBezTo>
                  <a:pt x="1903" y="663"/>
                  <a:pt x="1927" y="639"/>
                  <a:pt x="1936" y="639"/>
                </a:cubicBezTo>
                <a:cubicBezTo>
                  <a:pt x="1952" y="639"/>
                  <a:pt x="1968" y="631"/>
                  <a:pt x="1985" y="624"/>
                </a:cubicBezTo>
                <a:cubicBezTo>
                  <a:pt x="1993" y="624"/>
                  <a:pt x="2017" y="616"/>
                  <a:pt x="2017" y="616"/>
                </a:cubicBezTo>
                <a:cubicBezTo>
                  <a:pt x="2017" y="608"/>
                  <a:pt x="2026" y="553"/>
                  <a:pt x="2034" y="553"/>
                </a:cubicBezTo>
                <a:cubicBezTo>
                  <a:pt x="2042" y="553"/>
                  <a:pt x="2058" y="584"/>
                  <a:pt x="2083" y="584"/>
                </a:cubicBezTo>
                <a:cubicBezTo>
                  <a:pt x="2091" y="584"/>
                  <a:pt x="2107" y="600"/>
                  <a:pt x="2115" y="592"/>
                </a:cubicBezTo>
                <a:cubicBezTo>
                  <a:pt x="2132" y="584"/>
                  <a:pt x="2140" y="560"/>
                  <a:pt x="2140" y="560"/>
                </a:cubicBezTo>
                <a:cubicBezTo>
                  <a:pt x="2148" y="553"/>
                  <a:pt x="2156" y="545"/>
                  <a:pt x="2181" y="537"/>
                </a:cubicBezTo>
                <a:lnTo>
                  <a:pt x="2164" y="529"/>
                </a:lnTo>
                <a:cubicBezTo>
                  <a:pt x="2164" y="521"/>
                  <a:pt x="2164" y="521"/>
                  <a:pt x="2173" y="513"/>
                </a:cubicBezTo>
                <a:cubicBezTo>
                  <a:pt x="2173" y="505"/>
                  <a:pt x="2173" y="505"/>
                  <a:pt x="2181" y="497"/>
                </a:cubicBezTo>
                <a:lnTo>
                  <a:pt x="2181" y="482"/>
                </a:lnTo>
                <a:cubicBezTo>
                  <a:pt x="2181" y="482"/>
                  <a:pt x="2189" y="474"/>
                  <a:pt x="2181" y="474"/>
                </a:cubicBezTo>
                <a:cubicBezTo>
                  <a:pt x="2181" y="466"/>
                  <a:pt x="2173" y="458"/>
                  <a:pt x="2173" y="458"/>
                </a:cubicBezTo>
                <a:lnTo>
                  <a:pt x="2164" y="458"/>
                </a:lnTo>
                <a:lnTo>
                  <a:pt x="2164" y="466"/>
                </a:lnTo>
                <a:lnTo>
                  <a:pt x="2148" y="474"/>
                </a:lnTo>
                <a:lnTo>
                  <a:pt x="2140" y="458"/>
                </a:lnTo>
                <a:cubicBezTo>
                  <a:pt x="2132" y="458"/>
                  <a:pt x="2132" y="458"/>
                  <a:pt x="2132" y="450"/>
                </a:cubicBezTo>
                <a:lnTo>
                  <a:pt x="2140" y="442"/>
                </a:lnTo>
                <a:lnTo>
                  <a:pt x="2132" y="434"/>
                </a:lnTo>
                <a:cubicBezTo>
                  <a:pt x="2132" y="434"/>
                  <a:pt x="2140" y="418"/>
                  <a:pt x="2148" y="418"/>
                </a:cubicBezTo>
                <a:cubicBezTo>
                  <a:pt x="2156" y="410"/>
                  <a:pt x="2173" y="395"/>
                  <a:pt x="2173" y="395"/>
                </a:cubicBezTo>
                <a:lnTo>
                  <a:pt x="2181" y="379"/>
                </a:lnTo>
                <a:lnTo>
                  <a:pt x="2173" y="371"/>
                </a:lnTo>
                <a:lnTo>
                  <a:pt x="2164" y="379"/>
                </a:lnTo>
                <a:lnTo>
                  <a:pt x="2148" y="371"/>
                </a:lnTo>
                <a:lnTo>
                  <a:pt x="2132" y="363"/>
                </a:lnTo>
                <a:lnTo>
                  <a:pt x="2107" y="363"/>
                </a:lnTo>
                <a:lnTo>
                  <a:pt x="2091" y="347"/>
                </a:lnTo>
                <a:lnTo>
                  <a:pt x="2099" y="332"/>
                </a:lnTo>
                <a:lnTo>
                  <a:pt x="2099" y="316"/>
                </a:lnTo>
                <a:lnTo>
                  <a:pt x="2115" y="300"/>
                </a:lnTo>
                <a:cubicBezTo>
                  <a:pt x="2124" y="292"/>
                  <a:pt x="2140" y="284"/>
                  <a:pt x="2140" y="284"/>
                </a:cubicBezTo>
                <a:lnTo>
                  <a:pt x="2148" y="268"/>
                </a:lnTo>
                <a:cubicBezTo>
                  <a:pt x="2148" y="268"/>
                  <a:pt x="2156" y="261"/>
                  <a:pt x="2164" y="261"/>
                </a:cubicBezTo>
                <a:cubicBezTo>
                  <a:pt x="2173" y="261"/>
                  <a:pt x="2173" y="268"/>
                  <a:pt x="2173" y="261"/>
                </a:cubicBezTo>
                <a:cubicBezTo>
                  <a:pt x="2181" y="261"/>
                  <a:pt x="2181" y="245"/>
                  <a:pt x="2181" y="237"/>
                </a:cubicBezTo>
                <a:lnTo>
                  <a:pt x="2181" y="213"/>
                </a:lnTo>
                <a:lnTo>
                  <a:pt x="2140" y="221"/>
                </a:lnTo>
                <a:cubicBezTo>
                  <a:pt x="2140" y="221"/>
                  <a:pt x="2099" y="213"/>
                  <a:pt x="2075" y="213"/>
                </a:cubicBezTo>
                <a:cubicBezTo>
                  <a:pt x="2042" y="213"/>
                  <a:pt x="1977" y="198"/>
                  <a:pt x="1977" y="198"/>
                </a:cubicBezTo>
                <a:lnTo>
                  <a:pt x="1895" y="174"/>
                </a:lnTo>
                <a:lnTo>
                  <a:pt x="1846" y="174"/>
                </a:lnTo>
                <a:lnTo>
                  <a:pt x="1772" y="166"/>
                </a:lnTo>
                <a:cubicBezTo>
                  <a:pt x="1772" y="166"/>
                  <a:pt x="1764" y="150"/>
                  <a:pt x="1756" y="142"/>
                </a:cubicBezTo>
                <a:cubicBezTo>
                  <a:pt x="1756" y="134"/>
                  <a:pt x="1731" y="119"/>
                  <a:pt x="1731" y="119"/>
                </a:cubicBezTo>
                <a:lnTo>
                  <a:pt x="1731" y="103"/>
                </a:lnTo>
                <a:lnTo>
                  <a:pt x="1715" y="63"/>
                </a:lnTo>
                <a:lnTo>
                  <a:pt x="1699" y="32"/>
                </a:lnTo>
                <a:lnTo>
                  <a:pt x="1715" y="8"/>
                </a:lnTo>
                <a:lnTo>
                  <a:pt x="1699" y="0"/>
                </a:lnTo>
                <a:cubicBezTo>
                  <a:pt x="1699" y="0"/>
                  <a:pt x="1666" y="8"/>
                  <a:pt x="1650" y="8"/>
                </a:cubicBezTo>
                <a:cubicBezTo>
                  <a:pt x="1642" y="16"/>
                  <a:pt x="1593" y="24"/>
                  <a:pt x="1593" y="24"/>
                </a:cubicBezTo>
                <a:lnTo>
                  <a:pt x="1576" y="32"/>
                </a:lnTo>
                <a:lnTo>
                  <a:pt x="1511" y="32"/>
                </a:lnTo>
                <a:lnTo>
                  <a:pt x="1446" y="40"/>
                </a:lnTo>
                <a:lnTo>
                  <a:pt x="1421" y="56"/>
                </a:lnTo>
                <a:lnTo>
                  <a:pt x="1372" y="79"/>
                </a:lnTo>
                <a:lnTo>
                  <a:pt x="1372" y="111"/>
                </a:lnTo>
                <a:lnTo>
                  <a:pt x="1348" y="142"/>
                </a:lnTo>
                <a:lnTo>
                  <a:pt x="1307" y="142"/>
                </a:lnTo>
                <a:lnTo>
                  <a:pt x="1266" y="111"/>
                </a:lnTo>
                <a:lnTo>
                  <a:pt x="1250" y="127"/>
                </a:lnTo>
                <a:lnTo>
                  <a:pt x="1209" y="119"/>
                </a:lnTo>
                <a:lnTo>
                  <a:pt x="1201" y="119"/>
                </a:lnTo>
                <a:lnTo>
                  <a:pt x="1192" y="119"/>
                </a:lnTo>
                <a:lnTo>
                  <a:pt x="1184" y="127"/>
                </a:lnTo>
                <a:lnTo>
                  <a:pt x="1192" y="142"/>
                </a:lnTo>
                <a:lnTo>
                  <a:pt x="1184" y="150"/>
                </a:lnTo>
                <a:lnTo>
                  <a:pt x="1192" y="166"/>
                </a:lnTo>
                <a:cubicBezTo>
                  <a:pt x="1192" y="166"/>
                  <a:pt x="1184" y="174"/>
                  <a:pt x="1176" y="182"/>
                </a:cubicBezTo>
                <a:cubicBezTo>
                  <a:pt x="1168" y="182"/>
                  <a:pt x="1184" y="198"/>
                  <a:pt x="1184" y="198"/>
                </a:cubicBezTo>
                <a:cubicBezTo>
                  <a:pt x="1184" y="198"/>
                  <a:pt x="1192" y="198"/>
                  <a:pt x="1209" y="205"/>
                </a:cubicBezTo>
                <a:cubicBezTo>
                  <a:pt x="1217" y="213"/>
                  <a:pt x="1209" y="213"/>
                  <a:pt x="1209" y="213"/>
                </a:cubicBezTo>
                <a:cubicBezTo>
                  <a:pt x="1209" y="221"/>
                  <a:pt x="1209" y="229"/>
                  <a:pt x="1201" y="229"/>
                </a:cubicBezTo>
                <a:lnTo>
                  <a:pt x="1201" y="237"/>
                </a:lnTo>
                <a:lnTo>
                  <a:pt x="1192" y="237"/>
                </a:lnTo>
                <a:cubicBezTo>
                  <a:pt x="1192" y="237"/>
                  <a:pt x="1168" y="245"/>
                  <a:pt x="1168" y="237"/>
                </a:cubicBezTo>
                <a:cubicBezTo>
                  <a:pt x="1160" y="237"/>
                  <a:pt x="1168" y="237"/>
                  <a:pt x="1168" y="237"/>
                </a:cubicBezTo>
                <a:lnTo>
                  <a:pt x="1160" y="237"/>
                </a:lnTo>
                <a:lnTo>
                  <a:pt x="1135" y="221"/>
                </a:lnTo>
                <a:lnTo>
                  <a:pt x="1135" y="213"/>
                </a:lnTo>
                <a:lnTo>
                  <a:pt x="1127" y="205"/>
                </a:lnTo>
                <a:cubicBezTo>
                  <a:pt x="1119" y="205"/>
                  <a:pt x="1119" y="213"/>
                  <a:pt x="1119" y="213"/>
                </a:cubicBezTo>
                <a:lnTo>
                  <a:pt x="1094" y="213"/>
                </a:lnTo>
                <a:cubicBezTo>
                  <a:pt x="1094" y="213"/>
                  <a:pt x="1094" y="221"/>
                  <a:pt x="1086" y="221"/>
                </a:cubicBezTo>
                <a:lnTo>
                  <a:pt x="1086" y="237"/>
                </a:lnTo>
                <a:cubicBezTo>
                  <a:pt x="1078" y="237"/>
                  <a:pt x="1078" y="245"/>
                  <a:pt x="1078" y="245"/>
                </a:cubicBezTo>
                <a:lnTo>
                  <a:pt x="1078" y="253"/>
                </a:lnTo>
                <a:lnTo>
                  <a:pt x="1070" y="268"/>
                </a:lnTo>
                <a:lnTo>
                  <a:pt x="1078" y="268"/>
                </a:lnTo>
                <a:lnTo>
                  <a:pt x="1078" y="284"/>
                </a:lnTo>
                <a:lnTo>
                  <a:pt x="1078" y="292"/>
                </a:lnTo>
                <a:cubicBezTo>
                  <a:pt x="1086" y="300"/>
                  <a:pt x="1094" y="292"/>
                  <a:pt x="1094" y="292"/>
                </a:cubicBezTo>
                <a:cubicBezTo>
                  <a:pt x="1094" y="292"/>
                  <a:pt x="1103" y="300"/>
                  <a:pt x="1103" y="308"/>
                </a:cubicBezTo>
                <a:cubicBezTo>
                  <a:pt x="1111" y="308"/>
                  <a:pt x="1103" y="316"/>
                  <a:pt x="1103" y="316"/>
                </a:cubicBezTo>
                <a:lnTo>
                  <a:pt x="1094" y="324"/>
                </a:lnTo>
                <a:cubicBezTo>
                  <a:pt x="1086" y="324"/>
                  <a:pt x="1086" y="324"/>
                  <a:pt x="1094" y="332"/>
                </a:cubicBezTo>
                <a:cubicBezTo>
                  <a:pt x="1094" y="340"/>
                  <a:pt x="1103" y="340"/>
                  <a:pt x="1103" y="340"/>
                </a:cubicBezTo>
                <a:cubicBezTo>
                  <a:pt x="1111" y="340"/>
                  <a:pt x="1111" y="363"/>
                  <a:pt x="1111" y="363"/>
                </a:cubicBezTo>
                <a:cubicBezTo>
                  <a:pt x="1111" y="371"/>
                  <a:pt x="1103" y="379"/>
                  <a:pt x="1103" y="379"/>
                </a:cubicBezTo>
                <a:cubicBezTo>
                  <a:pt x="1094" y="379"/>
                  <a:pt x="1094" y="379"/>
                  <a:pt x="1094" y="387"/>
                </a:cubicBezTo>
                <a:lnTo>
                  <a:pt x="1078" y="387"/>
                </a:lnTo>
                <a:cubicBezTo>
                  <a:pt x="1078" y="387"/>
                  <a:pt x="1086" y="371"/>
                  <a:pt x="1078" y="371"/>
                </a:cubicBezTo>
                <a:cubicBezTo>
                  <a:pt x="1078" y="363"/>
                  <a:pt x="1070" y="363"/>
                  <a:pt x="1062" y="355"/>
                </a:cubicBezTo>
                <a:cubicBezTo>
                  <a:pt x="1054" y="340"/>
                  <a:pt x="1062" y="340"/>
                  <a:pt x="1062" y="340"/>
                </a:cubicBezTo>
                <a:lnTo>
                  <a:pt x="1054" y="332"/>
                </a:lnTo>
                <a:lnTo>
                  <a:pt x="1054" y="316"/>
                </a:lnTo>
                <a:lnTo>
                  <a:pt x="1029" y="316"/>
                </a:lnTo>
                <a:cubicBezTo>
                  <a:pt x="1013" y="316"/>
                  <a:pt x="1021" y="324"/>
                  <a:pt x="1021" y="324"/>
                </a:cubicBezTo>
                <a:lnTo>
                  <a:pt x="1005" y="324"/>
                </a:lnTo>
                <a:lnTo>
                  <a:pt x="996" y="332"/>
                </a:lnTo>
                <a:cubicBezTo>
                  <a:pt x="988" y="340"/>
                  <a:pt x="988" y="332"/>
                  <a:pt x="980" y="332"/>
                </a:cubicBezTo>
                <a:lnTo>
                  <a:pt x="972" y="332"/>
                </a:lnTo>
                <a:cubicBezTo>
                  <a:pt x="972" y="332"/>
                  <a:pt x="964" y="340"/>
                  <a:pt x="972" y="347"/>
                </a:cubicBezTo>
                <a:cubicBezTo>
                  <a:pt x="972" y="355"/>
                  <a:pt x="972" y="355"/>
                  <a:pt x="964" y="355"/>
                </a:cubicBezTo>
                <a:cubicBezTo>
                  <a:pt x="964" y="363"/>
                  <a:pt x="947" y="355"/>
                  <a:pt x="931" y="355"/>
                </a:cubicBezTo>
                <a:cubicBezTo>
                  <a:pt x="907" y="355"/>
                  <a:pt x="923" y="347"/>
                  <a:pt x="915" y="347"/>
                </a:cubicBezTo>
                <a:cubicBezTo>
                  <a:pt x="915" y="340"/>
                  <a:pt x="898" y="340"/>
                  <a:pt x="898" y="332"/>
                </a:cubicBezTo>
                <a:lnTo>
                  <a:pt x="898" y="308"/>
                </a:lnTo>
                <a:cubicBezTo>
                  <a:pt x="898" y="300"/>
                  <a:pt x="890" y="292"/>
                  <a:pt x="890" y="292"/>
                </a:cubicBezTo>
                <a:cubicBezTo>
                  <a:pt x="882" y="284"/>
                  <a:pt x="890" y="276"/>
                  <a:pt x="898" y="276"/>
                </a:cubicBezTo>
                <a:cubicBezTo>
                  <a:pt x="898" y="268"/>
                  <a:pt x="890" y="268"/>
                  <a:pt x="890" y="268"/>
                </a:cubicBezTo>
                <a:lnTo>
                  <a:pt x="874" y="276"/>
                </a:lnTo>
                <a:lnTo>
                  <a:pt x="866" y="276"/>
                </a:lnTo>
                <a:cubicBezTo>
                  <a:pt x="866" y="276"/>
                  <a:pt x="858" y="268"/>
                  <a:pt x="849" y="268"/>
                </a:cubicBezTo>
                <a:cubicBezTo>
                  <a:pt x="849" y="261"/>
                  <a:pt x="841" y="268"/>
                  <a:pt x="841" y="268"/>
                </a:cubicBezTo>
                <a:lnTo>
                  <a:pt x="825" y="284"/>
                </a:lnTo>
                <a:lnTo>
                  <a:pt x="825" y="292"/>
                </a:lnTo>
                <a:lnTo>
                  <a:pt x="833" y="308"/>
                </a:lnTo>
                <a:lnTo>
                  <a:pt x="833" y="324"/>
                </a:lnTo>
                <a:lnTo>
                  <a:pt x="833" y="340"/>
                </a:lnTo>
                <a:lnTo>
                  <a:pt x="833" y="347"/>
                </a:lnTo>
                <a:lnTo>
                  <a:pt x="833" y="355"/>
                </a:lnTo>
                <a:cubicBezTo>
                  <a:pt x="833" y="355"/>
                  <a:pt x="825" y="363"/>
                  <a:pt x="825" y="371"/>
                </a:cubicBezTo>
                <a:lnTo>
                  <a:pt x="825" y="387"/>
                </a:lnTo>
                <a:lnTo>
                  <a:pt x="817" y="395"/>
                </a:lnTo>
                <a:cubicBezTo>
                  <a:pt x="817" y="395"/>
                  <a:pt x="809" y="403"/>
                  <a:pt x="809" y="410"/>
                </a:cubicBezTo>
                <a:lnTo>
                  <a:pt x="792" y="410"/>
                </a:lnTo>
                <a:cubicBezTo>
                  <a:pt x="792" y="410"/>
                  <a:pt x="784" y="426"/>
                  <a:pt x="776" y="426"/>
                </a:cubicBezTo>
                <a:lnTo>
                  <a:pt x="776" y="450"/>
                </a:lnTo>
                <a:lnTo>
                  <a:pt x="776" y="458"/>
                </a:lnTo>
                <a:lnTo>
                  <a:pt x="760" y="466"/>
                </a:lnTo>
                <a:lnTo>
                  <a:pt x="768" y="482"/>
                </a:lnTo>
                <a:cubicBezTo>
                  <a:pt x="768" y="489"/>
                  <a:pt x="760" y="489"/>
                  <a:pt x="760" y="489"/>
                </a:cubicBezTo>
                <a:cubicBezTo>
                  <a:pt x="751" y="497"/>
                  <a:pt x="760" y="497"/>
                  <a:pt x="760" y="505"/>
                </a:cubicBezTo>
                <a:cubicBezTo>
                  <a:pt x="751" y="513"/>
                  <a:pt x="760" y="513"/>
                  <a:pt x="760" y="513"/>
                </a:cubicBezTo>
                <a:cubicBezTo>
                  <a:pt x="760" y="521"/>
                  <a:pt x="784" y="529"/>
                  <a:pt x="784" y="529"/>
                </a:cubicBezTo>
                <a:lnTo>
                  <a:pt x="776" y="537"/>
                </a:lnTo>
                <a:cubicBezTo>
                  <a:pt x="760" y="545"/>
                  <a:pt x="768" y="560"/>
                  <a:pt x="768" y="560"/>
                </a:cubicBezTo>
                <a:lnTo>
                  <a:pt x="760" y="568"/>
                </a:lnTo>
                <a:cubicBezTo>
                  <a:pt x="760" y="568"/>
                  <a:pt x="751" y="560"/>
                  <a:pt x="743" y="560"/>
                </a:cubicBezTo>
                <a:lnTo>
                  <a:pt x="727" y="560"/>
                </a:lnTo>
                <a:cubicBezTo>
                  <a:pt x="711" y="560"/>
                  <a:pt x="727" y="553"/>
                  <a:pt x="727" y="553"/>
                </a:cubicBezTo>
                <a:lnTo>
                  <a:pt x="727" y="529"/>
                </a:lnTo>
                <a:cubicBezTo>
                  <a:pt x="727" y="529"/>
                  <a:pt x="727" y="521"/>
                  <a:pt x="719" y="513"/>
                </a:cubicBezTo>
                <a:cubicBezTo>
                  <a:pt x="719" y="505"/>
                  <a:pt x="711" y="505"/>
                  <a:pt x="711" y="505"/>
                </a:cubicBezTo>
                <a:lnTo>
                  <a:pt x="686" y="489"/>
                </a:lnTo>
                <a:cubicBezTo>
                  <a:pt x="686" y="489"/>
                  <a:pt x="694" y="474"/>
                  <a:pt x="702" y="466"/>
                </a:cubicBezTo>
                <a:lnTo>
                  <a:pt x="711" y="458"/>
                </a:lnTo>
                <a:cubicBezTo>
                  <a:pt x="711" y="450"/>
                  <a:pt x="702" y="450"/>
                  <a:pt x="702" y="450"/>
                </a:cubicBezTo>
                <a:lnTo>
                  <a:pt x="694" y="450"/>
                </a:lnTo>
                <a:lnTo>
                  <a:pt x="686" y="442"/>
                </a:lnTo>
                <a:cubicBezTo>
                  <a:pt x="686" y="442"/>
                  <a:pt x="670" y="450"/>
                  <a:pt x="670" y="442"/>
                </a:cubicBezTo>
                <a:cubicBezTo>
                  <a:pt x="662" y="442"/>
                  <a:pt x="645" y="442"/>
                  <a:pt x="645" y="434"/>
                </a:cubicBezTo>
                <a:lnTo>
                  <a:pt x="629" y="434"/>
                </a:lnTo>
                <a:lnTo>
                  <a:pt x="621" y="434"/>
                </a:lnTo>
                <a:cubicBezTo>
                  <a:pt x="613" y="426"/>
                  <a:pt x="604" y="418"/>
                  <a:pt x="604" y="418"/>
                </a:cubicBezTo>
                <a:cubicBezTo>
                  <a:pt x="604" y="410"/>
                  <a:pt x="596" y="403"/>
                  <a:pt x="596" y="403"/>
                </a:cubicBezTo>
                <a:lnTo>
                  <a:pt x="588" y="403"/>
                </a:lnTo>
                <a:cubicBezTo>
                  <a:pt x="588" y="403"/>
                  <a:pt x="580" y="387"/>
                  <a:pt x="572" y="387"/>
                </a:cubicBezTo>
                <a:lnTo>
                  <a:pt x="572" y="379"/>
                </a:lnTo>
                <a:lnTo>
                  <a:pt x="564" y="371"/>
                </a:lnTo>
                <a:lnTo>
                  <a:pt x="564" y="355"/>
                </a:lnTo>
                <a:lnTo>
                  <a:pt x="572" y="340"/>
                </a:lnTo>
                <a:cubicBezTo>
                  <a:pt x="572" y="340"/>
                  <a:pt x="564" y="324"/>
                  <a:pt x="564" y="316"/>
                </a:cubicBezTo>
                <a:cubicBezTo>
                  <a:pt x="564" y="308"/>
                  <a:pt x="572" y="292"/>
                  <a:pt x="572" y="292"/>
                </a:cubicBezTo>
                <a:cubicBezTo>
                  <a:pt x="572" y="292"/>
                  <a:pt x="539" y="300"/>
                  <a:pt x="531" y="308"/>
                </a:cubicBezTo>
                <a:cubicBezTo>
                  <a:pt x="523" y="308"/>
                  <a:pt x="523" y="316"/>
                  <a:pt x="523" y="316"/>
                </a:cubicBezTo>
                <a:lnTo>
                  <a:pt x="523" y="332"/>
                </a:lnTo>
                <a:lnTo>
                  <a:pt x="514" y="332"/>
                </a:lnTo>
                <a:cubicBezTo>
                  <a:pt x="514" y="332"/>
                  <a:pt x="498" y="347"/>
                  <a:pt x="490" y="347"/>
                </a:cubicBezTo>
                <a:cubicBezTo>
                  <a:pt x="490" y="355"/>
                  <a:pt x="490" y="355"/>
                  <a:pt x="482" y="355"/>
                </a:cubicBezTo>
                <a:cubicBezTo>
                  <a:pt x="474" y="355"/>
                  <a:pt x="465" y="363"/>
                  <a:pt x="465" y="363"/>
                </a:cubicBezTo>
                <a:lnTo>
                  <a:pt x="457" y="371"/>
                </a:lnTo>
                <a:lnTo>
                  <a:pt x="465" y="379"/>
                </a:lnTo>
                <a:lnTo>
                  <a:pt x="474" y="403"/>
                </a:lnTo>
                <a:lnTo>
                  <a:pt x="465" y="418"/>
                </a:lnTo>
                <a:lnTo>
                  <a:pt x="465" y="426"/>
                </a:lnTo>
                <a:lnTo>
                  <a:pt x="457" y="442"/>
                </a:lnTo>
                <a:lnTo>
                  <a:pt x="449" y="450"/>
                </a:lnTo>
                <a:lnTo>
                  <a:pt x="441" y="458"/>
                </a:lnTo>
                <a:lnTo>
                  <a:pt x="441" y="474"/>
                </a:lnTo>
                <a:cubicBezTo>
                  <a:pt x="441" y="474"/>
                  <a:pt x="441" y="482"/>
                  <a:pt x="433" y="489"/>
                </a:cubicBezTo>
                <a:lnTo>
                  <a:pt x="425" y="497"/>
                </a:lnTo>
                <a:lnTo>
                  <a:pt x="408" y="497"/>
                </a:lnTo>
                <a:cubicBezTo>
                  <a:pt x="400" y="497"/>
                  <a:pt x="400" y="505"/>
                  <a:pt x="392" y="505"/>
                </a:cubicBezTo>
                <a:cubicBezTo>
                  <a:pt x="376" y="505"/>
                  <a:pt x="384" y="513"/>
                  <a:pt x="384" y="521"/>
                </a:cubicBezTo>
                <a:lnTo>
                  <a:pt x="384" y="529"/>
                </a:lnTo>
                <a:cubicBezTo>
                  <a:pt x="376" y="529"/>
                  <a:pt x="359" y="529"/>
                  <a:pt x="359" y="521"/>
                </a:cubicBezTo>
                <a:lnTo>
                  <a:pt x="343" y="521"/>
                </a:lnTo>
                <a:cubicBezTo>
                  <a:pt x="343" y="529"/>
                  <a:pt x="335" y="513"/>
                  <a:pt x="335" y="513"/>
                </a:cubicBezTo>
                <a:lnTo>
                  <a:pt x="327" y="505"/>
                </a:lnTo>
                <a:cubicBezTo>
                  <a:pt x="327" y="497"/>
                  <a:pt x="310" y="505"/>
                  <a:pt x="310" y="505"/>
                </a:cubicBezTo>
                <a:cubicBezTo>
                  <a:pt x="302" y="497"/>
                  <a:pt x="286" y="497"/>
                  <a:pt x="286" y="497"/>
                </a:cubicBezTo>
                <a:cubicBezTo>
                  <a:pt x="278" y="497"/>
                  <a:pt x="286" y="505"/>
                  <a:pt x="286" y="505"/>
                </a:cubicBezTo>
                <a:lnTo>
                  <a:pt x="269" y="505"/>
                </a:lnTo>
                <a:cubicBezTo>
                  <a:pt x="261" y="505"/>
                  <a:pt x="261" y="513"/>
                  <a:pt x="261" y="513"/>
                </a:cubicBezTo>
                <a:lnTo>
                  <a:pt x="261" y="529"/>
                </a:lnTo>
                <a:lnTo>
                  <a:pt x="229" y="529"/>
                </a:lnTo>
                <a:cubicBezTo>
                  <a:pt x="220" y="529"/>
                  <a:pt x="212" y="521"/>
                  <a:pt x="204" y="521"/>
                </a:cubicBezTo>
                <a:cubicBezTo>
                  <a:pt x="196" y="521"/>
                  <a:pt x="188" y="529"/>
                  <a:pt x="188" y="529"/>
                </a:cubicBezTo>
                <a:lnTo>
                  <a:pt x="171" y="537"/>
                </a:lnTo>
                <a:cubicBezTo>
                  <a:pt x="171" y="537"/>
                  <a:pt x="163" y="545"/>
                  <a:pt x="155" y="545"/>
                </a:cubicBezTo>
                <a:cubicBezTo>
                  <a:pt x="147" y="545"/>
                  <a:pt x="147" y="537"/>
                  <a:pt x="147" y="537"/>
                </a:cubicBezTo>
                <a:lnTo>
                  <a:pt x="131" y="521"/>
                </a:lnTo>
                <a:lnTo>
                  <a:pt x="98" y="537"/>
                </a:lnTo>
                <a:lnTo>
                  <a:pt x="57" y="568"/>
                </a:lnTo>
                <a:lnTo>
                  <a:pt x="57" y="608"/>
                </a:lnTo>
                <a:cubicBezTo>
                  <a:pt x="90" y="624"/>
                  <a:pt x="73" y="639"/>
                  <a:pt x="147" y="671"/>
                </a:cubicBezTo>
                <a:cubicBezTo>
                  <a:pt x="155" y="671"/>
                  <a:pt x="171" y="710"/>
                  <a:pt x="171" y="710"/>
                </a:cubicBezTo>
                <a:cubicBezTo>
                  <a:pt x="171" y="718"/>
                  <a:pt x="155" y="781"/>
                  <a:pt x="147" y="789"/>
                </a:cubicBezTo>
                <a:cubicBezTo>
                  <a:pt x="131" y="797"/>
                  <a:pt x="114" y="829"/>
                  <a:pt x="114" y="829"/>
                </a:cubicBezTo>
                <a:cubicBezTo>
                  <a:pt x="114" y="829"/>
                  <a:pt x="82" y="860"/>
                  <a:pt x="73" y="860"/>
                </a:cubicBezTo>
                <a:cubicBezTo>
                  <a:pt x="65" y="860"/>
                  <a:pt x="41" y="868"/>
                  <a:pt x="33" y="868"/>
                </a:cubicBezTo>
                <a:cubicBezTo>
                  <a:pt x="33" y="868"/>
                  <a:pt x="0" y="868"/>
                  <a:pt x="8" y="876"/>
                </a:cubicBezTo>
                <a:lnTo>
                  <a:pt x="8" y="892"/>
                </a:lnTo>
                <a:cubicBezTo>
                  <a:pt x="16" y="900"/>
                  <a:pt x="41" y="931"/>
                  <a:pt x="41" y="931"/>
                </a:cubicBezTo>
                <a:lnTo>
                  <a:pt x="82" y="955"/>
                </a:lnTo>
                <a:lnTo>
                  <a:pt x="106" y="979"/>
                </a:lnTo>
                <a:lnTo>
                  <a:pt x="114" y="1058"/>
                </a:lnTo>
                <a:lnTo>
                  <a:pt x="82" y="1105"/>
                </a:lnTo>
                <a:cubicBezTo>
                  <a:pt x="49" y="1144"/>
                  <a:pt x="65" y="1121"/>
                  <a:pt x="73" y="1176"/>
                </a:cubicBezTo>
                <a:lnTo>
                  <a:pt x="98" y="1176"/>
                </a:lnTo>
                <a:lnTo>
                  <a:pt x="139" y="1239"/>
                </a:lnTo>
                <a:lnTo>
                  <a:pt x="220" y="1271"/>
                </a:lnTo>
                <a:lnTo>
                  <a:pt x="294" y="1271"/>
                </a:lnTo>
                <a:lnTo>
                  <a:pt x="327" y="1294"/>
                </a:lnTo>
                <a:lnTo>
                  <a:pt x="302" y="1381"/>
                </a:lnTo>
                <a:lnTo>
                  <a:pt x="253" y="1420"/>
                </a:lnTo>
                <a:lnTo>
                  <a:pt x="245" y="1420"/>
                </a:lnTo>
                <a:cubicBezTo>
                  <a:pt x="245" y="1420"/>
                  <a:pt x="253" y="1428"/>
                  <a:pt x="278" y="1436"/>
                </a:cubicBezTo>
                <a:cubicBezTo>
                  <a:pt x="294" y="1436"/>
                  <a:pt x="294" y="1452"/>
                  <a:pt x="318" y="1444"/>
                </a:cubicBezTo>
                <a:cubicBezTo>
                  <a:pt x="343" y="1436"/>
                  <a:pt x="376" y="1428"/>
                  <a:pt x="384" y="1420"/>
                </a:cubicBezTo>
                <a:cubicBezTo>
                  <a:pt x="392" y="1405"/>
                  <a:pt x="408" y="1397"/>
                  <a:pt x="416" y="1389"/>
                </a:cubicBezTo>
                <a:cubicBezTo>
                  <a:pt x="425" y="1373"/>
                  <a:pt x="474" y="1318"/>
                  <a:pt x="482" y="1318"/>
                </a:cubicBezTo>
                <a:cubicBezTo>
                  <a:pt x="482" y="1318"/>
                  <a:pt x="531" y="1255"/>
                  <a:pt x="539" y="1247"/>
                </a:cubicBezTo>
                <a:cubicBezTo>
                  <a:pt x="547" y="1239"/>
                  <a:pt x="612" y="1192"/>
                  <a:pt x="612" y="1192"/>
                </a:cubicBezTo>
                <a:lnTo>
                  <a:pt x="702" y="1160"/>
                </a:lnTo>
                <a:cubicBezTo>
                  <a:pt x="702" y="1160"/>
                  <a:pt x="743" y="1200"/>
                  <a:pt x="751" y="1207"/>
                </a:cubicBezTo>
                <a:cubicBezTo>
                  <a:pt x="759" y="1207"/>
                  <a:pt x="849" y="1247"/>
                  <a:pt x="849" y="1247"/>
                </a:cubicBezTo>
                <a:cubicBezTo>
                  <a:pt x="849" y="1247"/>
                  <a:pt x="907" y="1271"/>
                  <a:pt x="915" y="1278"/>
                </a:cubicBezTo>
                <a:cubicBezTo>
                  <a:pt x="915" y="1286"/>
                  <a:pt x="964" y="1326"/>
                  <a:pt x="964" y="1326"/>
                </a:cubicBezTo>
                <a:lnTo>
                  <a:pt x="996" y="1342"/>
                </a:lnTo>
                <a:lnTo>
                  <a:pt x="1021" y="1318"/>
                </a:lnTo>
                <a:lnTo>
                  <a:pt x="1054" y="1334"/>
                </a:lnTo>
                <a:lnTo>
                  <a:pt x="1111" y="1365"/>
                </a:lnTo>
                <a:lnTo>
                  <a:pt x="1135" y="1413"/>
                </a:lnTo>
                <a:cubicBezTo>
                  <a:pt x="1135" y="1413"/>
                  <a:pt x="1152" y="1476"/>
                  <a:pt x="1152" y="1499"/>
                </a:cubicBezTo>
                <a:cubicBezTo>
                  <a:pt x="1152" y="1523"/>
                  <a:pt x="1160" y="1562"/>
                  <a:pt x="1160" y="1562"/>
                </a:cubicBezTo>
                <a:lnTo>
                  <a:pt x="1233" y="1594"/>
                </a:lnTo>
                <a:lnTo>
                  <a:pt x="1233" y="1673"/>
                </a:lnTo>
                <a:cubicBezTo>
                  <a:pt x="1233" y="1689"/>
                  <a:pt x="1241" y="1712"/>
                  <a:pt x="1241" y="1736"/>
                </a:cubicBezTo>
                <a:lnTo>
                  <a:pt x="1241" y="1783"/>
                </a:lnTo>
                <a:lnTo>
                  <a:pt x="1274" y="1807"/>
                </a:lnTo>
                <a:lnTo>
                  <a:pt x="1315" y="1831"/>
                </a:lnTo>
                <a:lnTo>
                  <a:pt x="1323" y="1870"/>
                </a:lnTo>
                <a:lnTo>
                  <a:pt x="1388" y="1894"/>
                </a:lnTo>
                <a:lnTo>
                  <a:pt x="1405" y="1941"/>
                </a:lnTo>
                <a:lnTo>
                  <a:pt x="1446" y="1981"/>
                </a:lnTo>
                <a:lnTo>
                  <a:pt x="1446" y="2012"/>
                </a:lnTo>
                <a:cubicBezTo>
                  <a:pt x="1446" y="2012"/>
                  <a:pt x="1446" y="2028"/>
                  <a:pt x="1462" y="2028"/>
                </a:cubicBezTo>
                <a:cubicBezTo>
                  <a:pt x="1478" y="2028"/>
                  <a:pt x="1535" y="2020"/>
                  <a:pt x="1535" y="2020"/>
                </a:cubicBezTo>
                <a:lnTo>
                  <a:pt x="1593" y="2067"/>
                </a:lnTo>
                <a:lnTo>
                  <a:pt x="1658" y="2123"/>
                </a:lnTo>
                <a:lnTo>
                  <a:pt x="1691" y="2178"/>
                </a:lnTo>
                <a:lnTo>
                  <a:pt x="1740" y="2194"/>
                </a:lnTo>
                <a:lnTo>
                  <a:pt x="1805" y="2233"/>
                </a:lnTo>
                <a:lnTo>
                  <a:pt x="1829" y="2288"/>
                </a:lnTo>
                <a:lnTo>
                  <a:pt x="1887" y="2344"/>
                </a:lnTo>
                <a:lnTo>
                  <a:pt x="1919" y="2359"/>
                </a:lnTo>
                <a:lnTo>
                  <a:pt x="1936" y="2391"/>
                </a:lnTo>
                <a:lnTo>
                  <a:pt x="1968" y="2407"/>
                </a:lnTo>
                <a:lnTo>
                  <a:pt x="2001" y="2415"/>
                </a:lnTo>
                <a:lnTo>
                  <a:pt x="2050" y="2422"/>
                </a:lnTo>
                <a:lnTo>
                  <a:pt x="2083" y="2454"/>
                </a:lnTo>
                <a:cubicBezTo>
                  <a:pt x="2083" y="2454"/>
                  <a:pt x="2099" y="2470"/>
                  <a:pt x="2099" y="2478"/>
                </a:cubicBezTo>
                <a:cubicBezTo>
                  <a:pt x="2099" y="2493"/>
                  <a:pt x="2083" y="2501"/>
                  <a:pt x="2107" y="2501"/>
                </a:cubicBezTo>
                <a:cubicBezTo>
                  <a:pt x="2132" y="2501"/>
                  <a:pt x="2156" y="2493"/>
                  <a:pt x="2156" y="2493"/>
                </a:cubicBezTo>
                <a:lnTo>
                  <a:pt x="2205" y="2486"/>
                </a:lnTo>
                <a:lnTo>
                  <a:pt x="2270" y="2486"/>
                </a:lnTo>
                <a:lnTo>
                  <a:pt x="2328" y="2478"/>
                </a:lnTo>
                <a:lnTo>
                  <a:pt x="2360" y="2501"/>
                </a:lnTo>
                <a:lnTo>
                  <a:pt x="2450" y="2604"/>
                </a:lnTo>
                <a:cubicBezTo>
                  <a:pt x="2450" y="2604"/>
                  <a:pt x="2475" y="2643"/>
                  <a:pt x="2475" y="2659"/>
                </a:cubicBezTo>
                <a:cubicBezTo>
                  <a:pt x="2475" y="2667"/>
                  <a:pt x="2507" y="2659"/>
                  <a:pt x="2515" y="2659"/>
                </a:cubicBezTo>
                <a:lnTo>
                  <a:pt x="2588" y="2659"/>
                </a:lnTo>
                <a:lnTo>
                  <a:pt x="2637" y="2691"/>
                </a:lnTo>
                <a:lnTo>
                  <a:pt x="2604" y="2730"/>
                </a:lnTo>
                <a:lnTo>
                  <a:pt x="2653" y="2754"/>
                </a:lnTo>
                <a:lnTo>
                  <a:pt x="2678" y="2722"/>
                </a:lnTo>
                <a:lnTo>
                  <a:pt x="2727" y="2730"/>
                </a:lnTo>
                <a:lnTo>
                  <a:pt x="2768" y="2762"/>
                </a:lnTo>
                <a:lnTo>
                  <a:pt x="2776" y="2785"/>
                </a:lnTo>
                <a:lnTo>
                  <a:pt x="2800" y="2801"/>
                </a:lnTo>
                <a:lnTo>
                  <a:pt x="2792" y="2841"/>
                </a:lnTo>
                <a:lnTo>
                  <a:pt x="2792" y="2864"/>
                </a:lnTo>
                <a:lnTo>
                  <a:pt x="2808" y="2896"/>
                </a:lnTo>
                <a:lnTo>
                  <a:pt x="2849" y="2912"/>
                </a:lnTo>
                <a:lnTo>
                  <a:pt x="2890" y="2935"/>
                </a:lnTo>
                <a:lnTo>
                  <a:pt x="2915" y="2951"/>
                </a:lnTo>
                <a:lnTo>
                  <a:pt x="2947" y="2951"/>
                </a:lnTo>
                <a:lnTo>
                  <a:pt x="2996" y="2943"/>
                </a:lnTo>
                <a:lnTo>
                  <a:pt x="3053" y="2951"/>
                </a:lnTo>
                <a:lnTo>
                  <a:pt x="3102" y="3030"/>
                </a:lnTo>
                <a:lnTo>
                  <a:pt x="3127" y="3101"/>
                </a:lnTo>
                <a:lnTo>
                  <a:pt x="3160" y="3164"/>
                </a:lnTo>
                <a:lnTo>
                  <a:pt x="3184" y="3203"/>
                </a:lnTo>
                <a:lnTo>
                  <a:pt x="3200" y="3267"/>
                </a:lnTo>
                <a:lnTo>
                  <a:pt x="3225" y="3298"/>
                </a:lnTo>
                <a:lnTo>
                  <a:pt x="3266" y="3377"/>
                </a:lnTo>
                <a:lnTo>
                  <a:pt x="3282" y="3409"/>
                </a:lnTo>
                <a:lnTo>
                  <a:pt x="3266" y="3448"/>
                </a:lnTo>
                <a:cubicBezTo>
                  <a:pt x="3266" y="3448"/>
                  <a:pt x="3249" y="3488"/>
                  <a:pt x="3241" y="3488"/>
                </a:cubicBezTo>
                <a:cubicBezTo>
                  <a:pt x="3241" y="3495"/>
                  <a:pt x="3217" y="3503"/>
                  <a:pt x="3209" y="3503"/>
                </a:cubicBezTo>
                <a:cubicBezTo>
                  <a:pt x="3200" y="3511"/>
                  <a:pt x="3192" y="3511"/>
                  <a:pt x="3184" y="3519"/>
                </a:cubicBezTo>
                <a:cubicBezTo>
                  <a:pt x="3176" y="3527"/>
                  <a:pt x="3168" y="3551"/>
                  <a:pt x="3168" y="3551"/>
                </a:cubicBezTo>
                <a:lnTo>
                  <a:pt x="3192" y="3598"/>
                </a:lnTo>
                <a:lnTo>
                  <a:pt x="3184" y="3653"/>
                </a:lnTo>
                <a:lnTo>
                  <a:pt x="3168" y="3701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34" name="Freeform 126">
            <a:extLst>
              <a:ext uri="{FF2B5EF4-FFF2-40B4-BE49-F238E27FC236}">
                <a16:creationId xmlns:a16="http://schemas.microsoft.com/office/drawing/2014/main" id="{C7B22A8B-EE89-A0AA-2B37-563C21832FFF}"/>
              </a:ext>
            </a:extLst>
          </p:cNvPr>
          <p:cNvSpPr>
            <a:spLocks noChangeArrowheads="1"/>
          </p:cNvSpPr>
          <p:nvPr>
            <p:custDataLst>
              <p:tags r:id="rId125"/>
            </p:custDataLst>
          </p:nvPr>
        </p:nvSpPr>
        <p:spPr bwMode="auto">
          <a:xfrm>
            <a:off x="7511142" y="6022296"/>
            <a:ext cx="436504" cy="295229"/>
          </a:xfrm>
          <a:custGeom>
            <a:avLst/>
            <a:gdLst>
              <a:gd name="T0" fmla="*/ 1053 w 1062"/>
              <a:gd name="T1" fmla="*/ 48 h 719"/>
              <a:gd name="T2" fmla="*/ 1061 w 1062"/>
              <a:gd name="T3" fmla="*/ 103 h 719"/>
              <a:gd name="T4" fmla="*/ 1012 w 1062"/>
              <a:gd name="T5" fmla="*/ 190 h 719"/>
              <a:gd name="T6" fmla="*/ 979 w 1062"/>
              <a:gd name="T7" fmla="*/ 253 h 719"/>
              <a:gd name="T8" fmla="*/ 922 w 1062"/>
              <a:gd name="T9" fmla="*/ 332 h 719"/>
              <a:gd name="T10" fmla="*/ 939 w 1062"/>
              <a:gd name="T11" fmla="*/ 371 h 719"/>
              <a:gd name="T12" fmla="*/ 971 w 1062"/>
              <a:gd name="T13" fmla="*/ 434 h 719"/>
              <a:gd name="T14" fmla="*/ 1012 w 1062"/>
              <a:gd name="T15" fmla="*/ 474 h 719"/>
              <a:gd name="T16" fmla="*/ 1020 w 1062"/>
              <a:gd name="T17" fmla="*/ 521 h 719"/>
              <a:gd name="T18" fmla="*/ 1045 w 1062"/>
              <a:gd name="T19" fmla="*/ 553 h 719"/>
              <a:gd name="T20" fmla="*/ 996 w 1062"/>
              <a:gd name="T21" fmla="*/ 600 h 719"/>
              <a:gd name="T22" fmla="*/ 988 w 1062"/>
              <a:gd name="T23" fmla="*/ 647 h 719"/>
              <a:gd name="T24" fmla="*/ 988 w 1062"/>
              <a:gd name="T25" fmla="*/ 671 h 719"/>
              <a:gd name="T26" fmla="*/ 988 w 1062"/>
              <a:gd name="T27" fmla="*/ 695 h 719"/>
              <a:gd name="T28" fmla="*/ 971 w 1062"/>
              <a:gd name="T29" fmla="*/ 711 h 719"/>
              <a:gd name="T30" fmla="*/ 881 w 1062"/>
              <a:gd name="T31" fmla="*/ 711 h 719"/>
              <a:gd name="T32" fmla="*/ 800 w 1062"/>
              <a:gd name="T33" fmla="*/ 695 h 719"/>
              <a:gd name="T34" fmla="*/ 743 w 1062"/>
              <a:gd name="T35" fmla="*/ 679 h 719"/>
              <a:gd name="T36" fmla="*/ 718 w 1062"/>
              <a:gd name="T37" fmla="*/ 663 h 719"/>
              <a:gd name="T38" fmla="*/ 694 w 1062"/>
              <a:gd name="T39" fmla="*/ 592 h 719"/>
              <a:gd name="T40" fmla="*/ 628 w 1062"/>
              <a:gd name="T41" fmla="*/ 584 h 719"/>
              <a:gd name="T42" fmla="*/ 466 w 1062"/>
              <a:gd name="T43" fmla="*/ 561 h 719"/>
              <a:gd name="T44" fmla="*/ 401 w 1062"/>
              <a:gd name="T45" fmla="*/ 505 h 719"/>
              <a:gd name="T46" fmla="*/ 368 w 1062"/>
              <a:gd name="T47" fmla="*/ 474 h 719"/>
              <a:gd name="T48" fmla="*/ 335 w 1062"/>
              <a:gd name="T49" fmla="*/ 466 h 719"/>
              <a:gd name="T50" fmla="*/ 270 w 1062"/>
              <a:gd name="T51" fmla="*/ 403 h 719"/>
              <a:gd name="T52" fmla="*/ 205 w 1062"/>
              <a:gd name="T53" fmla="*/ 403 h 719"/>
              <a:gd name="T54" fmla="*/ 156 w 1062"/>
              <a:gd name="T55" fmla="*/ 371 h 719"/>
              <a:gd name="T56" fmla="*/ 98 w 1062"/>
              <a:gd name="T57" fmla="*/ 371 h 719"/>
              <a:gd name="T58" fmla="*/ 57 w 1062"/>
              <a:gd name="T59" fmla="*/ 355 h 719"/>
              <a:gd name="T60" fmla="*/ 0 w 1062"/>
              <a:gd name="T61" fmla="*/ 316 h 719"/>
              <a:gd name="T62" fmla="*/ 0 w 1062"/>
              <a:gd name="T63" fmla="*/ 261 h 719"/>
              <a:gd name="T64" fmla="*/ 8 w 1062"/>
              <a:gd name="T65" fmla="*/ 174 h 719"/>
              <a:gd name="T66" fmla="*/ 41 w 1062"/>
              <a:gd name="T67" fmla="*/ 135 h 719"/>
              <a:gd name="T68" fmla="*/ 90 w 1062"/>
              <a:gd name="T69" fmla="*/ 119 h 719"/>
              <a:gd name="T70" fmla="*/ 107 w 1062"/>
              <a:gd name="T71" fmla="*/ 150 h 719"/>
              <a:gd name="T72" fmla="*/ 164 w 1062"/>
              <a:gd name="T73" fmla="*/ 174 h 719"/>
              <a:gd name="T74" fmla="*/ 196 w 1062"/>
              <a:gd name="T75" fmla="*/ 150 h 719"/>
              <a:gd name="T76" fmla="*/ 213 w 1062"/>
              <a:gd name="T77" fmla="*/ 103 h 719"/>
              <a:gd name="T78" fmla="*/ 262 w 1062"/>
              <a:gd name="T79" fmla="*/ 87 h 719"/>
              <a:gd name="T80" fmla="*/ 319 w 1062"/>
              <a:gd name="T81" fmla="*/ 111 h 719"/>
              <a:gd name="T82" fmla="*/ 360 w 1062"/>
              <a:gd name="T83" fmla="*/ 150 h 719"/>
              <a:gd name="T84" fmla="*/ 441 w 1062"/>
              <a:gd name="T85" fmla="*/ 174 h 719"/>
              <a:gd name="T86" fmla="*/ 515 w 1062"/>
              <a:gd name="T87" fmla="*/ 158 h 719"/>
              <a:gd name="T88" fmla="*/ 579 w 1062"/>
              <a:gd name="T89" fmla="*/ 150 h 719"/>
              <a:gd name="T90" fmla="*/ 628 w 1062"/>
              <a:gd name="T91" fmla="*/ 150 h 719"/>
              <a:gd name="T92" fmla="*/ 685 w 1062"/>
              <a:gd name="T93" fmla="*/ 127 h 719"/>
              <a:gd name="T94" fmla="*/ 767 w 1062"/>
              <a:gd name="T95" fmla="*/ 103 h 719"/>
              <a:gd name="T96" fmla="*/ 816 w 1062"/>
              <a:gd name="T97" fmla="*/ 40 h 719"/>
              <a:gd name="T98" fmla="*/ 881 w 1062"/>
              <a:gd name="T99" fmla="*/ 64 h 719"/>
              <a:gd name="T100" fmla="*/ 939 w 1062"/>
              <a:gd name="T101" fmla="*/ 71 h 719"/>
              <a:gd name="T102" fmla="*/ 963 w 1062"/>
              <a:gd name="T103" fmla="*/ 32 h 719"/>
              <a:gd name="T104" fmla="*/ 1020 w 1062"/>
              <a:gd name="T105" fmla="*/ 0 h 719"/>
              <a:gd name="T106" fmla="*/ 1053 w 1062"/>
              <a:gd name="T107" fmla="*/ 48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62" h="719">
                <a:moveTo>
                  <a:pt x="1053" y="48"/>
                </a:moveTo>
                <a:lnTo>
                  <a:pt x="1061" y="103"/>
                </a:lnTo>
                <a:cubicBezTo>
                  <a:pt x="1061" y="103"/>
                  <a:pt x="1012" y="182"/>
                  <a:pt x="1012" y="190"/>
                </a:cubicBezTo>
                <a:cubicBezTo>
                  <a:pt x="1012" y="198"/>
                  <a:pt x="996" y="229"/>
                  <a:pt x="979" y="253"/>
                </a:cubicBezTo>
                <a:cubicBezTo>
                  <a:pt x="971" y="269"/>
                  <a:pt x="922" y="332"/>
                  <a:pt x="922" y="332"/>
                </a:cubicBezTo>
                <a:cubicBezTo>
                  <a:pt x="922" y="332"/>
                  <a:pt x="922" y="355"/>
                  <a:pt x="939" y="371"/>
                </a:cubicBezTo>
                <a:cubicBezTo>
                  <a:pt x="947" y="387"/>
                  <a:pt x="971" y="411"/>
                  <a:pt x="971" y="434"/>
                </a:cubicBezTo>
                <a:cubicBezTo>
                  <a:pt x="971" y="450"/>
                  <a:pt x="1012" y="474"/>
                  <a:pt x="1012" y="474"/>
                </a:cubicBezTo>
                <a:lnTo>
                  <a:pt x="1020" y="521"/>
                </a:lnTo>
                <a:cubicBezTo>
                  <a:pt x="1020" y="521"/>
                  <a:pt x="1045" y="545"/>
                  <a:pt x="1045" y="553"/>
                </a:cubicBezTo>
                <a:cubicBezTo>
                  <a:pt x="1037" y="561"/>
                  <a:pt x="996" y="600"/>
                  <a:pt x="996" y="600"/>
                </a:cubicBezTo>
                <a:lnTo>
                  <a:pt x="988" y="647"/>
                </a:lnTo>
                <a:lnTo>
                  <a:pt x="988" y="671"/>
                </a:lnTo>
                <a:cubicBezTo>
                  <a:pt x="988" y="671"/>
                  <a:pt x="996" y="671"/>
                  <a:pt x="988" y="695"/>
                </a:cubicBezTo>
                <a:cubicBezTo>
                  <a:pt x="979" y="711"/>
                  <a:pt x="979" y="711"/>
                  <a:pt x="971" y="711"/>
                </a:cubicBezTo>
                <a:cubicBezTo>
                  <a:pt x="963" y="718"/>
                  <a:pt x="881" y="711"/>
                  <a:pt x="881" y="711"/>
                </a:cubicBezTo>
                <a:lnTo>
                  <a:pt x="800" y="695"/>
                </a:lnTo>
                <a:cubicBezTo>
                  <a:pt x="800" y="695"/>
                  <a:pt x="759" y="687"/>
                  <a:pt x="743" y="679"/>
                </a:cubicBezTo>
                <a:cubicBezTo>
                  <a:pt x="734" y="671"/>
                  <a:pt x="718" y="663"/>
                  <a:pt x="718" y="663"/>
                </a:cubicBezTo>
                <a:lnTo>
                  <a:pt x="694" y="592"/>
                </a:lnTo>
                <a:lnTo>
                  <a:pt x="628" y="584"/>
                </a:lnTo>
                <a:lnTo>
                  <a:pt x="466" y="561"/>
                </a:lnTo>
                <a:cubicBezTo>
                  <a:pt x="466" y="561"/>
                  <a:pt x="409" y="513"/>
                  <a:pt x="401" y="505"/>
                </a:cubicBezTo>
                <a:cubicBezTo>
                  <a:pt x="384" y="497"/>
                  <a:pt x="368" y="474"/>
                  <a:pt x="368" y="474"/>
                </a:cubicBezTo>
                <a:lnTo>
                  <a:pt x="335" y="466"/>
                </a:lnTo>
                <a:lnTo>
                  <a:pt x="270" y="403"/>
                </a:lnTo>
                <a:lnTo>
                  <a:pt x="205" y="403"/>
                </a:lnTo>
                <a:lnTo>
                  <a:pt x="156" y="371"/>
                </a:lnTo>
                <a:lnTo>
                  <a:pt x="98" y="371"/>
                </a:lnTo>
                <a:cubicBezTo>
                  <a:pt x="98" y="371"/>
                  <a:pt x="57" y="363"/>
                  <a:pt x="57" y="355"/>
                </a:cubicBezTo>
                <a:cubicBezTo>
                  <a:pt x="49" y="340"/>
                  <a:pt x="0" y="316"/>
                  <a:pt x="0" y="316"/>
                </a:cubicBezTo>
                <a:lnTo>
                  <a:pt x="0" y="261"/>
                </a:lnTo>
                <a:cubicBezTo>
                  <a:pt x="0" y="253"/>
                  <a:pt x="8" y="174"/>
                  <a:pt x="8" y="174"/>
                </a:cubicBezTo>
                <a:lnTo>
                  <a:pt x="41" y="135"/>
                </a:lnTo>
                <a:lnTo>
                  <a:pt x="90" y="119"/>
                </a:lnTo>
                <a:lnTo>
                  <a:pt x="107" y="150"/>
                </a:lnTo>
                <a:lnTo>
                  <a:pt x="164" y="174"/>
                </a:lnTo>
                <a:lnTo>
                  <a:pt x="196" y="150"/>
                </a:lnTo>
                <a:lnTo>
                  <a:pt x="213" y="103"/>
                </a:lnTo>
                <a:lnTo>
                  <a:pt x="262" y="87"/>
                </a:lnTo>
                <a:lnTo>
                  <a:pt x="319" y="111"/>
                </a:lnTo>
                <a:lnTo>
                  <a:pt x="360" y="150"/>
                </a:lnTo>
                <a:lnTo>
                  <a:pt x="441" y="174"/>
                </a:lnTo>
                <a:lnTo>
                  <a:pt x="515" y="158"/>
                </a:lnTo>
                <a:lnTo>
                  <a:pt x="579" y="150"/>
                </a:lnTo>
                <a:lnTo>
                  <a:pt x="628" y="150"/>
                </a:lnTo>
                <a:cubicBezTo>
                  <a:pt x="636" y="142"/>
                  <a:pt x="685" y="127"/>
                  <a:pt x="685" y="127"/>
                </a:cubicBezTo>
                <a:lnTo>
                  <a:pt x="767" y="103"/>
                </a:lnTo>
                <a:lnTo>
                  <a:pt x="816" y="40"/>
                </a:lnTo>
                <a:lnTo>
                  <a:pt x="881" y="64"/>
                </a:lnTo>
                <a:lnTo>
                  <a:pt x="939" y="71"/>
                </a:lnTo>
                <a:lnTo>
                  <a:pt x="963" y="32"/>
                </a:lnTo>
                <a:lnTo>
                  <a:pt x="1020" y="0"/>
                </a:lnTo>
                <a:lnTo>
                  <a:pt x="1053" y="4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35" name="Freeform 127">
            <a:extLst>
              <a:ext uri="{FF2B5EF4-FFF2-40B4-BE49-F238E27FC236}">
                <a16:creationId xmlns:a16="http://schemas.microsoft.com/office/drawing/2014/main" id="{EB9AF8D7-8D2B-0989-A8C8-5EF285C70908}"/>
              </a:ext>
            </a:extLst>
          </p:cNvPr>
          <p:cNvSpPr>
            <a:spLocks noChangeArrowheads="1"/>
          </p:cNvSpPr>
          <p:nvPr>
            <p:custDataLst>
              <p:tags r:id="rId126"/>
            </p:custDataLst>
          </p:nvPr>
        </p:nvSpPr>
        <p:spPr bwMode="auto">
          <a:xfrm>
            <a:off x="8396828" y="4048070"/>
            <a:ext cx="1238872" cy="863951"/>
          </a:xfrm>
          <a:custGeom>
            <a:avLst/>
            <a:gdLst>
              <a:gd name="T0" fmla="*/ 507 w 3015"/>
              <a:gd name="T1" fmla="*/ 554 h 2105"/>
              <a:gd name="T2" fmla="*/ 474 w 3015"/>
              <a:gd name="T3" fmla="*/ 665 h 2105"/>
              <a:gd name="T4" fmla="*/ 417 w 3015"/>
              <a:gd name="T5" fmla="*/ 767 h 2105"/>
              <a:gd name="T6" fmla="*/ 409 w 3015"/>
              <a:gd name="T7" fmla="*/ 846 h 2105"/>
              <a:gd name="T8" fmla="*/ 376 w 3015"/>
              <a:gd name="T9" fmla="*/ 941 h 2105"/>
              <a:gd name="T10" fmla="*/ 343 w 3015"/>
              <a:gd name="T11" fmla="*/ 1036 h 2105"/>
              <a:gd name="T12" fmla="*/ 319 w 3015"/>
              <a:gd name="T13" fmla="*/ 1131 h 2105"/>
              <a:gd name="T14" fmla="*/ 196 w 3015"/>
              <a:gd name="T15" fmla="*/ 1226 h 2105"/>
              <a:gd name="T16" fmla="*/ 106 w 3015"/>
              <a:gd name="T17" fmla="*/ 1273 h 2105"/>
              <a:gd name="T18" fmla="*/ 17 w 3015"/>
              <a:gd name="T19" fmla="*/ 1273 h 2105"/>
              <a:gd name="T20" fmla="*/ 49 w 3015"/>
              <a:gd name="T21" fmla="*/ 1313 h 2105"/>
              <a:gd name="T22" fmla="*/ 180 w 3015"/>
              <a:gd name="T23" fmla="*/ 1392 h 2105"/>
              <a:gd name="T24" fmla="*/ 213 w 3015"/>
              <a:gd name="T25" fmla="*/ 1471 h 2105"/>
              <a:gd name="T26" fmla="*/ 302 w 3015"/>
              <a:gd name="T27" fmla="*/ 1550 h 2105"/>
              <a:gd name="T28" fmla="*/ 425 w 3015"/>
              <a:gd name="T29" fmla="*/ 1590 h 2105"/>
              <a:gd name="T30" fmla="*/ 449 w 3015"/>
              <a:gd name="T31" fmla="*/ 1669 h 2105"/>
              <a:gd name="T32" fmla="*/ 498 w 3015"/>
              <a:gd name="T33" fmla="*/ 1740 h 2105"/>
              <a:gd name="T34" fmla="*/ 531 w 3015"/>
              <a:gd name="T35" fmla="*/ 1780 h 2105"/>
              <a:gd name="T36" fmla="*/ 613 w 3015"/>
              <a:gd name="T37" fmla="*/ 1803 h 2105"/>
              <a:gd name="T38" fmla="*/ 727 w 3015"/>
              <a:gd name="T39" fmla="*/ 1851 h 2105"/>
              <a:gd name="T40" fmla="*/ 809 w 3015"/>
              <a:gd name="T41" fmla="*/ 1748 h 2105"/>
              <a:gd name="T42" fmla="*/ 923 w 3015"/>
              <a:gd name="T43" fmla="*/ 1795 h 2105"/>
              <a:gd name="T44" fmla="*/ 825 w 3015"/>
              <a:gd name="T45" fmla="*/ 1835 h 2105"/>
              <a:gd name="T46" fmla="*/ 899 w 3015"/>
              <a:gd name="T47" fmla="*/ 1906 h 2105"/>
              <a:gd name="T48" fmla="*/ 1046 w 3015"/>
              <a:gd name="T49" fmla="*/ 1977 h 2105"/>
              <a:gd name="T50" fmla="*/ 1258 w 3015"/>
              <a:gd name="T51" fmla="*/ 2064 h 2105"/>
              <a:gd name="T52" fmla="*/ 2034 w 3015"/>
              <a:gd name="T53" fmla="*/ 1843 h 2105"/>
              <a:gd name="T54" fmla="*/ 2606 w 3015"/>
              <a:gd name="T55" fmla="*/ 1677 h 2105"/>
              <a:gd name="T56" fmla="*/ 2810 w 3015"/>
              <a:gd name="T57" fmla="*/ 1353 h 2105"/>
              <a:gd name="T58" fmla="*/ 2957 w 3015"/>
              <a:gd name="T59" fmla="*/ 973 h 2105"/>
              <a:gd name="T60" fmla="*/ 2900 w 3015"/>
              <a:gd name="T61" fmla="*/ 957 h 2105"/>
              <a:gd name="T62" fmla="*/ 2728 w 3015"/>
              <a:gd name="T63" fmla="*/ 1068 h 2105"/>
              <a:gd name="T64" fmla="*/ 2467 w 3015"/>
              <a:gd name="T65" fmla="*/ 1005 h 2105"/>
              <a:gd name="T66" fmla="*/ 2459 w 3015"/>
              <a:gd name="T67" fmla="*/ 973 h 2105"/>
              <a:gd name="T68" fmla="*/ 2434 w 3015"/>
              <a:gd name="T69" fmla="*/ 910 h 2105"/>
              <a:gd name="T70" fmla="*/ 2401 w 3015"/>
              <a:gd name="T71" fmla="*/ 831 h 2105"/>
              <a:gd name="T72" fmla="*/ 2393 w 3015"/>
              <a:gd name="T73" fmla="*/ 744 h 2105"/>
              <a:gd name="T74" fmla="*/ 2393 w 3015"/>
              <a:gd name="T75" fmla="*/ 696 h 2105"/>
              <a:gd name="T76" fmla="*/ 2385 w 3015"/>
              <a:gd name="T77" fmla="*/ 633 h 2105"/>
              <a:gd name="T78" fmla="*/ 2369 w 3015"/>
              <a:gd name="T79" fmla="*/ 570 h 2105"/>
              <a:gd name="T80" fmla="*/ 2312 w 3015"/>
              <a:gd name="T81" fmla="*/ 483 h 2105"/>
              <a:gd name="T82" fmla="*/ 2230 w 3015"/>
              <a:gd name="T83" fmla="*/ 404 h 2105"/>
              <a:gd name="T84" fmla="*/ 2156 w 3015"/>
              <a:gd name="T85" fmla="*/ 348 h 2105"/>
              <a:gd name="T86" fmla="*/ 2083 w 3015"/>
              <a:gd name="T87" fmla="*/ 285 h 2105"/>
              <a:gd name="T88" fmla="*/ 2042 w 3015"/>
              <a:gd name="T89" fmla="*/ 253 h 2105"/>
              <a:gd name="T90" fmla="*/ 2001 w 3015"/>
              <a:gd name="T91" fmla="*/ 222 h 2105"/>
              <a:gd name="T92" fmla="*/ 1960 w 3015"/>
              <a:gd name="T93" fmla="*/ 174 h 2105"/>
              <a:gd name="T94" fmla="*/ 1936 w 3015"/>
              <a:gd name="T95" fmla="*/ 135 h 2105"/>
              <a:gd name="T96" fmla="*/ 1911 w 3015"/>
              <a:gd name="T97" fmla="*/ 111 h 2105"/>
              <a:gd name="T98" fmla="*/ 1879 w 3015"/>
              <a:gd name="T99" fmla="*/ 72 h 2105"/>
              <a:gd name="T100" fmla="*/ 1846 w 3015"/>
              <a:gd name="T101" fmla="*/ 40 h 2105"/>
              <a:gd name="T102" fmla="*/ 1813 w 3015"/>
              <a:gd name="T103" fmla="*/ 16 h 2105"/>
              <a:gd name="T104" fmla="*/ 1764 w 3015"/>
              <a:gd name="T105" fmla="*/ 0 h 2105"/>
              <a:gd name="T106" fmla="*/ 1723 w 3015"/>
              <a:gd name="T107" fmla="*/ 0 h 2105"/>
              <a:gd name="T108" fmla="*/ 1552 w 3015"/>
              <a:gd name="T109" fmla="*/ 159 h 2105"/>
              <a:gd name="T110" fmla="*/ 1291 w 3015"/>
              <a:gd name="T111" fmla="*/ 309 h 2105"/>
              <a:gd name="T112" fmla="*/ 1152 w 3015"/>
              <a:gd name="T113" fmla="*/ 285 h 2105"/>
              <a:gd name="T114" fmla="*/ 898 w 3015"/>
              <a:gd name="T115" fmla="*/ 301 h 2105"/>
              <a:gd name="T116" fmla="*/ 719 w 3015"/>
              <a:gd name="T117" fmla="*/ 301 h 2105"/>
              <a:gd name="T118" fmla="*/ 662 w 3015"/>
              <a:gd name="T119" fmla="*/ 420 h 2105"/>
              <a:gd name="T120" fmla="*/ 621 w 3015"/>
              <a:gd name="T121" fmla="*/ 451 h 2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15" h="2105">
                <a:moveTo>
                  <a:pt x="564" y="483"/>
                </a:moveTo>
                <a:lnTo>
                  <a:pt x="539" y="491"/>
                </a:lnTo>
                <a:lnTo>
                  <a:pt x="523" y="506"/>
                </a:lnTo>
                <a:lnTo>
                  <a:pt x="507" y="554"/>
                </a:lnTo>
                <a:lnTo>
                  <a:pt x="482" y="578"/>
                </a:lnTo>
                <a:lnTo>
                  <a:pt x="474" y="617"/>
                </a:lnTo>
                <a:cubicBezTo>
                  <a:pt x="474" y="617"/>
                  <a:pt x="482" y="649"/>
                  <a:pt x="482" y="657"/>
                </a:cubicBezTo>
                <a:lnTo>
                  <a:pt x="474" y="665"/>
                </a:lnTo>
                <a:lnTo>
                  <a:pt x="458" y="665"/>
                </a:lnTo>
                <a:lnTo>
                  <a:pt x="458" y="673"/>
                </a:lnTo>
                <a:lnTo>
                  <a:pt x="449" y="736"/>
                </a:lnTo>
                <a:lnTo>
                  <a:pt x="417" y="767"/>
                </a:lnTo>
                <a:lnTo>
                  <a:pt x="409" y="807"/>
                </a:lnTo>
                <a:lnTo>
                  <a:pt x="409" y="831"/>
                </a:lnTo>
                <a:lnTo>
                  <a:pt x="409" y="839"/>
                </a:lnTo>
                <a:lnTo>
                  <a:pt x="409" y="846"/>
                </a:lnTo>
                <a:lnTo>
                  <a:pt x="409" y="854"/>
                </a:lnTo>
                <a:cubicBezTo>
                  <a:pt x="409" y="862"/>
                  <a:pt x="409" y="862"/>
                  <a:pt x="400" y="862"/>
                </a:cubicBezTo>
                <a:cubicBezTo>
                  <a:pt x="384" y="870"/>
                  <a:pt x="376" y="886"/>
                  <a:pt x="376" y="886"/>
                </a:cubicBezTo>
                <a:lnTo>
                  <a:pt x="376" y="941"/>
                </a:lnTo>
                <a:lnTo>
                  <a:pt x="368" y="957"/>
                </a:lnTo>
                <a:lnTo>
                  <a:pt x="351" y="981"/>
                </a:lnTo>
                <a:lnTo>
                  <a:pt x="360" y="1013"/>
                </a:lnTo>
                <a:lnTo>
                  <a:pt x="343" y="1036"/>
                </a:lnTo>
                <a:lnTo>
                  <a:pt x="351" y="1076"/>
                </a:lnTo>
                <a:lnTo>
                  <a:pt x="335" y="1100"/>
                </a:lnTo>
                <a:lnTo>
                  <a:pt x="327" y="1107"/>
                </a:lnTo>
                <a:lnTo>
                  <a:pt x="319" y="1131"/>
                </a:lnTo>
                <a:lnTo>
                  <a:pt x="302" y="1171"/>
                </a:lnTo>
                <a:lnTo>
                  <a:pt x="237" y="1226"/>
                </a:lnTo>
                <a:lnTo>
                  <a:pt x="213" y="1218"/>
                </a:lnTo>
                <a:lnTo>
                  <a:pt x="196" y="1226"/>
                </a:lnTo>
                <a:lnTo>
                  <a:pt x="180" y="1242"/>
                </a:lnTo>
                <a:cubicBezTo>
                  <a:pt x="180" y="1242"/>
                  <a:pt x="188" y="1242"/>
                  <a:pt x="172" y="1258"/>
                </a:cubicBezTo>
                <a:cubicBezTo>
                  <a:pt x="155" y="1266"/>
                  <a:pt x="123" y="1273"/>
                  <a:pt x="123" y="1273"/>
                </a:cubicBezTo>
                <a:lnTo>
                  <a:pt x="106" y="1273"/>
                </a:lnTo>
                <a:lnTo>
                  <a:pt x="49" y="1273"/>
                </a:lnTo>
                <a:cubicBezTo>
                  <a:pt x="49" y="1273"/>
                  <a:pt x="41" y="1266"/>
                  <a:pt x="33" y="1273"/>
                </a:cubicBezTo>
                <a:lnTo>
                  <a:pt x="25" y="1273"/>
                </a:lnTo>
                <a:lnTo>
                  <a:pt x="17" y="1273"/>
                </a:lnTo>
                <a:lnTo>
                  <a:pt x="8" y="1273"/>
                </a:lnTo>
                <a:lnTo>
                  <a:pt x="0" y="1273"/>
                </a:lnTo>
                <a:cubicBezTo>
                  <a:pt x="0" y="1273"/>
                  <a:pt x="8" y="1281"/>
                  <a:pt x="17" y="1281"/>
                </a:cubicBezTo>
                <a:cubicBezTo>
                  <a:pt x="33" y="1289"/>
                  <a:pt x="41" y="1313"/>
                  <a:pt x="49" y="1313"/>
                </a:cubicBezTo>
                <a:cubicBezTo>
                  <a:pt x="66" y="1321"/>
                  <a:pt x="82" y="1321"/>
                  <a:pt x="90" y="1321"/>
                </a:cubicBezTo>
                <a:cubicBezTo>
                  <a:pt x="98" y="1329"/>
                  <a:pt x="115" y="1337"/>
                  <a:pt x="115" y="1337"/>
                </a:cubicBezTo>
                <a:cubicBezTo>
                  <a:pt x="115" y="1337"/>
                  <a:pt x="155" y="1376"/>
                  <a:pt x="164" y="1376"/>
                </a:cubicBezTo>
                <a:cubicBezTo>
                  <a:pt x="172" y="1376"/>
                  <a:pt x="172" y="1376"/>
                  <a:pt x="180" y="1392"/>
                </a:cubicBezTo>
                <a:cubicBezTo>
                  <a:pt x="188" y="1400"/>
                  <a:pt x="213" y="1392"/>
                  <a:pt x="213" y="1392"/>
                </a:cubicBezTo>
                <a:cubicBezTo>
                  <a:pt x="213" y="1392"/>
                  <a:pt x="221" y="1416"/>
                  <a:pt x="213" y="1424"/>
                </a:cubicBezTo>
                <a:lnTo>
                  <a:pt x="213" y="1455"/>
                </a:lnTo>
                <a:lnTo>
                  <a:pt x="213" y="1471"/>
                </a:lnTo>
                <a:cubicBezTo>
                  <a:pt x="221" y="1487"/>
                  <a:pt x="229" y="1487"/>
                  <a:pt x="229" y="1503"/>
                </a:cubicBezTo>
                <a:cubicBezTo>
                  <a:pt x="237" y="1511"/>
                  <a:pt x="229" y="1511"/>
                  <a:pt x="237" y="1519"/>
                </a:cubicBezTo>
                <a:cubicBezTo>
                  <a:pt x="245" y="1527"/>
                  <a:pt x="254" y="1542"/>
                  <a:pt x="262" y="1542"/>
                </a:cubicBezTo>
                <a:cubicBezTo>
                  <a:pt x="271" y="1542"/>
                  <a:pt x="278" y="1542"/>
                  <a:pt x="302" y="1550"/>
                </a:cubicBezTo>
                <a:cubicBezTo>
                  <a:pt x="327" y="1566"/>
                  <a:pt x="335" y="1566"/>
                  <a:pt x="343" y="1574"/>
                </a:cubicBezTo>
                <a:cubicBezTo>
                  <a:pt x="360" y="1582"/>
                  <a:pt x="351" y="1574"/>
                  <a:pt x="376" y="1582"/>
                </a:cubicBezTo>
                <a:cubicBezTo>
                  <a:pt x="409" y="1590"/>
                  <a:pt x="400" y="1582"/>
                  <a:pt x="409" y="1590"/>
                </a:cubicBezTo>
                <a:cubicBezTo>
                  <a:pt x="417" y="1590"/>
                  <a:pt x="409" y="1582"/>
                  <a:pt x="425" y="1590"/>
                </a:cubicBezTo>
                <a:cubicBezTo>
                  <a:pt x="449" y="1590"/>
                  <a:pt x="466" y="1598"/>
                  <a:pt x="466" y="1598"/>
                </a:cubicBezTo>
                <a:lnTo>
                  <a:pt x="466" y="1614"/>
                </a:lnTo>
                <a:lnTo>
                  <a:pt x="449" y="1645"/>
                </a:lnTo>
                <a:lnTo>
                  <a:pt x="449" y="1669"/>
                </a:lnTo>
                <a:cubicBezTo>
                  <a:pt x="449" y="1669"/>
                  <a:pt x="433" y="1669"/>
                  <a:pt x="449" y="1677"/>
                </a:cubicBezTo>
                <a:cubicBezTo>
                  <a:pt x="466" y="1685"/>
                  <a:pt x="498" y="1693"/>
                  <a:pt x="498" y="1693"/>
                </a:cubicBezTo>
                <a:lnTo>
                  <a:pt x="523" y="1708"/>
                </a:lnTo>
                <a:cubicBezTo>
                  <a:pt x="523" y="1708"/>
                  <a:pt x="507" y="1732"/>
                  <a:pt x="498" y="1740"/>
                </a:cubicBezTo>
                <a:lnTo>
                  <a:pt x="466" y="1740"/>
                </a:lnTo>
                <a:cubicBezTo>
                  <a:pt x="466" y="1740"/>
                  <a:pt x="458" y="1764"/>
                  <a:pt x="474" y="1764"/>
                </a:cubicBezTo>
                <a:cubicBezTo>
                  <a:pt x="482" y="1772"/>
                  <a:pt x="499" y="1772"/>
                  <a:pt x="507" y="1772"/>
                </a:cubicBezTo>
                <a:cubicBezTo>
                  <a:pt x="516" y="1772"/>
                  <a:pt x="531" y="1780"/>
                  <a:pt x="531" y="1780"/>
                </a:cubicBezTo>
                <a:cubicBezTo>
                  <a:pt x="531" y="1780"/>
                  <a:pt x="539" y="1780"/>
                  <a:pt x="547" y="1787"/>
                </a:cubicBezTo>
                <a:cubicBezTo>
                  <a:pt x="547" y="1803"/>
                  <a:pt x="556" y="1811"/>
                  <a:pt x="564" y="1811"/>
                </a:cubicBezTo>
                <a:lnTo>
                  <a:pt x="596" y="1811"/>
                </a:lnTo>
                <a:cubicBezTo>
                  <a:pt x="605" y="1811"/>
                  <a:pt x="605" y="1803"/>
                  <a:pt x="613" y="1803"/>
                </a:cubicBezTo>
                <a:cubicBezTo>
                  <a:pt x="621" y="1811"/>
                  <a:pt x="670" y="1803"/>
                  <a:pt x="670" y="1803"/>
                </a:cubicBezTo>
                <a:lnTo>
                  <a:pt x="678" y="1819"/>
                </a:lnTo>
                <a:cubicBezTo>
                  <a:pt x="694" y="1843"/>
                  <a:pt x="719" y="1851"/>
                  <a:pt x="719" y="1851"/>
                </a:cubicBezTo>
                <a:cubicBezTo>
                  <a:pt x="719" y="1851"/>
                  <a:pt x="727" y="1859"/>
                  <a:pt x="727" y="1851"/>
                </a:cubicBezTo>
                <a:cubicBezTo>
                  <a:pt x="727" y="1843"/>
                  <a:pt x="735" y="1835"/>
                  <a:pt x="735" y="1835"/>
                </a:cubicBezTo>
                <a:cubicBezTo>
                  <a:pt x="735" y="1835"/>
                  <a:pt x="752" y="1811"/>
                  <a:pt x="752" y="1803"/>
                </a:cubicBezTo>
                <a:cubicBezTo>
                  <a:pt x="760" y="1795"/>
                  <a:pt x="768" y="1772"/>
                  <a:pt x="776" y="1772"/>
                </a:cubicBezTo>
                <a:cubicBezTo>
                  <a:pt x="784" y="1764"/>
                  <a:pt x="809" y="1748"/>
                  <a:pt x="809" y="1748"/>
                </a:cubicBezTo>
                <a:cubicBezTo>
                  <a:pt x="809" y="1748"/>
                  <a:pt x="809" y="1740"/>
                  <a:pt x="825" y="1748"/>
                </a:cubicBezTo>
                <a:cubicBezTo>
                  <a:pt x="833" y="1764"/>
                  <a:pt x="858" y="1780"/>
                  <a:pt x="858" y="1780"/>
                </a:cubicBezTo>
                <a:lnTo>
                  <a:pt x="899" y="1780"/>
                </a:lnTo>
                <a:cubicBezTo>
                  <a:pt x="899" y="1780"/>
                  <a:pt x="923" y="1787"/>
                  <a:pt x="923" y="1795"/>
                </a:cubicBezTo>
                <a:cubicBezTo>
                  <a:pt x="923" y="1803"/>
                  <a:pt x="915" y="1803"/>
                  <a:pt x="899" y="1811"/>
                </a:cubicBezTo>
                <a:cubicBezTo>
                  <a:pt x="890" y="1811"/>
                  <a:pt x="866" y="1787"/>
                  <a:pt x="866" y="1795"/>
                </a:cubicBezTo>
                <a:cubicBezTo>
                  <a:pt x="858" y="1803"/>
                  <a:pt x="858" y="1819"/>
                  <a:pt x="858" y="1819"/>
                </a:cubicBezTo>
                <a:lnTo>
                  <a:pt x="825" y="1835"/>
                </a:lnTo>
                <a:lnTo>
                  <a:pt x="833" y="1851"/>
                </a:lnTo>
                <a:cubicBezTo>
                  <a:pt x="833" y="1851"/>
                  <a:pt x="874" y="1867"/>
                  <a:pt x="874" y="1874"/>
                </a:cubicBezTo>
                <a:lnTo>
                  <a:pt x="874" y="1898"/>
                </a:lnTo>
                <a:lnTo>
                  <a:pt x="899" y="1906"/>
                </a:lnTo>
                <a:lnTo>
                  <a:pt x="915" y="1898"/>
                </a:lnTo>
                <a:lnTo>
                  <a:pt x="915" y="1930"/>
                </a:lnTo>
                <a:lnTo>
                  <a:pt x="915" y="1961"/>
                </a:lnTo>
                <a:cubicBezTo>
                  <a:pt x="972" y="1946"/>
                  <a:pt x="1021" y="1977"/>
                  <a:pt x="1046" y="1977"/>
                </a:cubicBezTo>
                <a:cubicBezTo>
                  <a:pt x="1095" y="1985"/>
                  <a:pt x="988" y="2040"/>
                  <a:pt x="1005" y="2040"/>
                </a:cubicBezTo>
                <a:cubicBezTo>
                  <a:pt x="1021" y="2033"/>
                  <a:pt x="1005" y="2080"/>
                  <a:pt x="1029" y="2088"/>
                </a:cubicBezTo>
                <a:cubicBezTo>
                  <a:pt x="1070" y="2096"/>
                  <a:pt x="1103" y="2064"/>
                  <a:pt x="1152" y="2064"/>
                </a:cubicBezTo>
                <a:cubicBezTo>
                  <a:pt x="1193" y="2056"/>
                  <a:pt x="1242" y="2080"/>
                  <a:pt x="1258" y="2064"/>
                </a:cubicBezTo>
                <a:cubicBezTo>
                  <a:pt x="1291" y="2025"/>
                  <a:pt x="1421" y="2104"/>
                  <a:pt x="1487" y="2064"/>
                </a:cubicBezTo>
                <a:cubicBezTo>
                  <a:pt x="1528" y="2033"/>
                  <a:pt x="1691" y="2017"/>
                  <a:pt x="1748" y="2017"/>
                </a:cubicBezTo>
                <a:cubicBezTo>
                  <a:pt x="1895" y="2009"/>
                  <a:pt x="1903" y="2009"/>
                  <a:pt x="1969" y="1969"/>
                </a:cubicBezTo>
                <a:cubicBezTo>
                  <a:pt x="1969" y="1969"/>
                  <a:pt x="2009" y="1882"/>
                  <a:pt x="2034" y="1843"/>
                </a:cubicBezTo>
                <a:cubicBezTo>
                  <a:pt x="2050" y="1811"/>
                  <a:pt x="2099" y="1795"/>
                  <a:pt x="2148" y="1764"/>
                </a:cubicBezTo>
                <a:cubicBezTo>
                  <a:pt x="2189" y="1732"/>
                  <a:pt x="2295" y="1700"/>
                  <a:pt x="2320" y="1693"/>
                </a:cubicBezTo>
                <a:cubicBezTo>
                  <a:pt x="2344" y="1693"/>
                  <a:pt x="2516" y="1700"/>
                  <a:pt x="2516" y="1700"/>
                </a:cubicBezTo>
                <a:lnTo>
                  <a:pt x="2606" y="1677"/>
                </a:lnTo>
                <a:cubicBezTo>
                  <a:pt x="2606" y="1677"/>
                  <a:pt x="2622" y="1740"/>
                  <a:pt x="2646" y="1748"/>
                </a:cubicBezTo>
                <a:cubicBezTo>
                  <a:pt x="2753" y="1764"/>
                  <a:pt x="2818" y="1756"/>
                  <a:pt x="2826" y="1700"/>
                </a:cubicBezTo>
                <a:cubicBezTo>
                  <a:pt x="2834" y="1661"/>
                  <a:pt x="2793" y="1590"/>
                  <a:pt x="2785" y="1534"/>
                </a:cubicBezTo>
                <a:cubicBezTo>
                  <a:pt x="2777" y="1471"/>
                  <a:pt x="2810" y="1408"/>
                  <a:pt x="2810" y="1353"/>
                </a:cubicBezTo>
                <a:cubicBezTo>
                  <a:pt x="2810" y="1345"/>
                  <a:pt x="2793" y="1329"/>
                  <a:pt x="2842" y="1266"/>
                </a:cubicBezTo>
                <a:cubicBezTo>
                  <a:pt x="2883" y="1202"/>
                  <a:pt x="2998" y="1234"/>
                  <a:pt x="3014" y="1194"/>
                </a:cubicBezTo>
                <a:lnTo>
                  <a:pt x="2965" y="973"/>
                </a:lnTo>
                <a:lnTo>
                  <a:pt x="2957" y="973"/>
                </a:lnTo>
                <a:lnTo>
                  <a:pt x="2949" y="973"/>
                </a:lnTo>
                <a:lnTo>
                  <a:pt x="2932" y="965"/>
                </a:lnTo>
                <a:lnTo>
                  <a:pt x="2916" y="965"/>
                </a:lnTo>
                <a:lnTo>
                  <a:pt x="2900" y="957"/>
                </a:lnTo>
                <a:lnTo>
                  <a:pt x="2883" y="949"/>
                </a:lnTo>
                <a:lnTo>
                  <a:pt x="2867" y="949"/>
                </a:lnTo>
                <a:lnTo>
                  <a:pt x="2859" y="949"/>
                </a:lnTo>
                <a:cubicBezTo>
                  <a:pt x="2802" y="941"/>
                  <a:pt x="2728" y="1068"/>
                  <a:pt x="2728" y="1068"/>
                </a:cubicBezTo>
                <a:lnTo>
                  <a:pt x="2695" y="1123"/>
                </a:lnTo>
                <a:cubicBezTo>
                  <a:pt x="2614" y="1107"/>
                  <a:pt x="2532" y="1100"/>
                  <a:pt x="2475" y="1036"/>
                </a:cubicBezTo>
                <a:lnTo>
                  <a:pt x="2475" y="1013"/>
                </a:lnTo>
                <a:lnTo>
                  <a:pt x="2467" y="1005"/>
                </a:lnTo>
                <a:lnTo>
                  <a:pt x="2459" y="1005"/>
                </a:lnTo>
                <a:cubicBezTo>
                  <a:pt x="2450" y="1005"/>
                  <a:pt x="2442" y="997"/>
                  <a:pt x="2442" y="997"/>
                </a:cubicBezTo>
                <a:lnTo>
                  <a:pt x="2450" y="981"/>
                </a:lnTo>
                <a:lnTo>
                  <a:pt x="2459" y="973"/>
                </a:lnTo>
                <a:cubicBezTo>
                  <a:pt x="2467" y="973"/>
                  <a:pt x="2459" y="973"/>
                  <a:pt x="2459" y="965"/>
                </a:cubicBezTo>
                <a:lnTo>
                  <a:pt x="2459" y="941"/>
                </a:lnTo>
                <a:lnTo>
                  <a:pt x="2450" y="934"/>
                </a:lnTo>
                <a:cubicBezTo>
                  <a:pt x="2450" y="934"/>
                  <a:pt x="2442" y="918"/>
                  <a:pt x="2434" y="910"/>
                </a:cubicBezTo>
                <a:cubicBezTo>
                  <a:pt x="2426" y="910"/>
                  <a:pt x="2434" y="902"/>
                  <a:pt x="2434" y="902"/>
                </a:cubicBezTo>
                <a:cubicBezTo>
                  <a:pt x="2426" y="894"/>
                  <a:pt x="2434" y="894"/>
                  <a:pt x="2434" y="886"/>
                </a:cubicBezTo>
                <a:lnTo>
                  <a:pt x="2426" y="870"/>
                </a:lnTo>
                <a:cubicBezTo>
                  <a:pt x="2426" y="870"/>
                  <a:pt x="2410" y="846"/>
                  <a:pt x="2401" y="831"/>
                </a:cubicBezTo>
                <a:lnTo>
                  <a:pt x="2401" y="815"/>
                </a:lnTo>
                <a:cubicBezTo>
                  <a:pt x="2410" y="807"/>
                  <a:pt x="2393" y="799"/>
                  <a:pt x="2393" y="799"/>
                </a:cubicBezTo>
                <a:lnTo>
                  <a:pt x="2393" y="767"/>
                </a:lnTo>
                <a:cubicBezTo>
                  <a:pt x="2401" y="760"/>
                  <a:pt x="2393" y="752"/>
                  <a:pt x="2393" y="744"/>
                </a:cubicBezTo>
                <a:lnTo>
                  <a:pt x="2377" y="736"/>
                </a:lnTo>
                <a:lnTo>
                  <a:pt x="2385" y="720"/>
                </a:lnTo>
                <a:lnTo>
                  <a:pt x="2385" y="712"/>
                </a:lnTo>
                <a:lnTo>
                  <a:pt x="2393" y="696"/>
                </a:lnTo>
                <a:cubicBezTo>
                  <a:pt x="2401" y="688"/>
                  <a:pt x="2393" y="680"/>
                  <a:pt x="2385" y="680"/>
                </a:cubicBezTo>
                <a:cubicBezTo>
                  <a:pt x="2377" y="680"/>
                  <a:pt x="2385" y="673"/>
                  <a:pt x="2385" y="673"/>
                </a:cubicBezTo>
                <a:lnTo>
                  <a:pt x="2393" y="657"/>
                </a:lnTo>
                <a:lnTo>
                  <a:pt x="2385" y="633"/>
                </a:lnTo>
                <a:lnTo>
                  <a:pt x="2385" y="625"/>
                </a:lnTo>
                <a:lnTo>
                  <a:pt x="2377" y="609"/>
                </a:lnTo>
                <a:cubicBezTo>
                  <a:pt x="2377" y="601"/>
                  <a:pt x="2369" y="586"/>
                  <a:pt x="2369" y="586"/>
                </a:cubicBezTo>
                <a:lnTo>
                  <a:pt x="2369" y="570"/>
                </a:lnTo>
                <a:cubicBezTo>
                  <a:pt x="2369" y="562"/>
                  <a:pt x="2361" y="554"/>
                  <a:pt x="2352" y="546"/>
                </a:cubicBezTo>
                <a:lnTo>
                  <a:pt x="2344" y="530"/>
                </a:lnTo>
                <a:cubicBezTo>
                  <a:pt x="2344" y="530"/>
                  <a:pt x="2328" y="514"/>
                  <a:pt x="2320" y="506"/>
                </a:cubicBezTo>
                <a:cubicBezTo>
                  <a:pt x="2320" y="491"/>
                  <a:pt x="2320" y="491"/>
                  <a:pt x="2312" y="483"/>
                </a:cubicBezTo>
                <a:cubicBezTo>
                  <a:pt x="2312" y="467"/>
                  <a:pt x="2295" y="451"/>
                  <a:pt x="2287" y="451"/>
                </a:cubicBezTo>
                <a:cubicBezTo>
                  <a:pt x="2287" y="451"/>
                  <a:pt x="2279" y="427"/>
                  <a:pt x="2279" y="420"/>
                </a:cubicBezTo>
                <a:cubicBezTo>
                  <a:pt x="2271" y="420"/>
                  <a:pt x="2254" y="412"/>
                  <a:pt x="2254" y="412"/>
                </a:cubicBezTo>
                <a:cubicBezTo>
                  <a:pt x="2246" y="412"/>
                  <a:pt x="2230" y="404"/>
                  <a:pt x="2230" y="404"/>
                </a:cubicBezTo>
                <a:lnTo>
                  <a:pt x="2205" y="396"/>
                </a:lnTo>
                <a:lnTo>
                  <a:pt x="2181" y="372"/>
                </a:lnTo>
                <a:cubicBezTo>
                  <a:pt x="2181" y="372"/>
                  <a:pt x="2173" y="372"/>
                  <a:pt x="2165" y="364"/>
                </a:cubicBezTo>
                <a:lnTo>
                  <a:pt x="2156" y="348"/>
                </a:lnTo>
                <a:lnTo>
                  <a:pt x="2148" y="333"/>
                </a:lnTo>
                <a:lnTo>
                  <a:pt x="2099" y="317"/>
                </a:lnTo>
                <a:lnTo>
                  <a:pt x="2091" y="301"/>
                </a:lnTo>
                <a:cubicBezTo>
                  <a:pt x="2091" y="293"/>
                  <a:pt x="2083" y="293"/>
                  <a:pt x="2083" y="285"/>
                </a:cubicBezTo>
                <a:cubicBezTo>
                  <a:pt x="2083" y="277"/>
                  <a:pt x="2075" y="277"/>
                  <a:pt x="2075" y="269"/>
                </a:cubicBezTo>
                <a:cubicBezTo>
                  <a:pt x="2075" y="261"/>
                  <a:pt x="2066" y="261"/>
                  <a:pt x="2066" y="261"/>
                </a:cubicBezTo>
                <a:lnTo>
                  <a:pt x="2050" y="261"/>
                </a:lnTo>
                <a:lnTo>
                  <a:pt x="2042" y="253"/>
                </a:lnTo>
                <a:cubicBezTo>
                  <a:pt x="2042" y="253"/>
                  <a:pt x="2026" y="238"/>
                  <a:pt x="2017" y="238"/>
                </a:cubicBezTo>
                <a:lnTo>
                  <a:pt x="2017" y="230"/>
                </a:lnTo>
                <a:lnTo>
                  <a:pt x="2009" y="230"/>
                </a:lnTo>
                <a:cubicBezTo>
                  <a:pt x="2001" y="230"/>
                  <a:pt x="2001" y="230"/>
                  <a:pt x="2001" y="222"/>
                </a:cubicBezTo>
                <a:cubicBezTo>
                  <a:pt x="1993" y="222"/>
                  <a:pt x="1993" y="206"/>
                  <a:pt x="1985" y="206"/>
                </a:cubicBezTo>
                <a:lnTo>
                  <a:pt x="1977" y="206"/>
                </a:lnTo>
                <a:cubicBezTo>
                  <a:pt x="1968" y="206"/>
                  <a:pt x="1960" y="190"/>
                  <a:pt x="1960" y="190"/>
                </a:cubicBezTo>
                <a:cubicBezTo>
                  <a:pt x="1952" y="190"/>
                  <a:pt x="1960" y="182"/>
                  <a:pt x="1960" y="174"/>
                </a:cubicBezTo>
                <a:cubicBezTo>
                  <a:pt x="1960" y="166"/>
                  <a:pt x="1952" y="166"/>
                  <a:pt x="1952" y="166"/>
                </a:cubicBezTo>
                <a:cubicBezTo>
                  <a:pt x="1952" y="166"/>
                  <a:pt x="1944" y="166"/>
                  <a:pt x="1944" y="159"/>
                </a:cubicBezTo>
                <a:cubicBezTo>
                  <a:pt x="1944" y="159"/>
                  <a:pt x="1936" y="151"/>
                  <a:pt x="1936" y="143"/>
                </a:cubicBezTo>
                <a:lnTo>
                  <a:pt x="1936" y="135"/>
                </a:lnTo>
                <a:lnTo>
                  <a:pt x="1928" y="127"/>
                </a:lnTo>
                <a:lnTo>
                  <a:pt x="1919" y="119"/>
                </a:lnTo>
                <a:lnTo>
                  <a:pt x="1919" y="111"/>
                </a:lnTo>
                <a:lnTo>
                  <a:pt x="1911" y="111"/>
                </a:lnTo>
                <a:cubicBezTo>
                  <a:pt x="1903" y="111"/>
                  <a:pt x="1903" y="103"/>
                  <a:pt x="1903" y="95"/>
                </a:cubicBezTo>
                <a:lnTo>
                  <a:pt x="1895" y="87"/>
                </a:lnTo>
                <a:lnTo>
                  <a:pt x="1887" y="80"/>
                </a:lnTo>
                <a:lnTo>
                  <a:pt x="1879" y="72"/>
                </a:lnTo>
                <a:lnTo>
                  <a:pt x="1870" y="64"/>
                </a:lnTo>
                <a:cubicBezTo>
                  <a:pt x="1862" y="56"/>
                  <a:pt x="1854" y="48"/>
                  <a:pt x="1854" y="48"/>
                </a:cubicBezTo>
                <a:lnTo>
                  <a:pt x="1854" y="40"/>
                </a:lnTo>
                <a:lnTo>
                  <a:pt x="1846" y="40"/>
                </a:lnTo>
                <a:lnTo>
                  <a:pt x="1830" y="40"/>
                </a:lnTo>
                <a:lnTo>
                  <a:pt x="1830" y="24"/>
                </a:lnTo>
                <a:lnTo>
                  <a:pt x="1821" y="24"/>
                </a:lnTo>
                <a:cubicBezTo>
                  <a:pt x="1813" y="24"/>
                  <a:pt x="1813" y="16"/>
                  <a:pt x="1813" y="16"/>
                </a:cubicBezTo>
                <a:lnTo>
                  <a:pt x="1813" y="8"/>
                </a:lnTo>
                <a:lnTo>
                  <a:pt x="1789" y="16"/>
                </a:lnTo>
                <a:lnTo>
                  <a:pt x="1772" y="8"/>
                </a:lnTo>
                <a:cubicBezTo>
                  <a:pt x="1772" y="0"/>
                  <a:pt x="1764" y="0"/>
                  <a:pt x="1764" y="0"/>
                </a:cubicBezTo>
                <a:lnTo>
                  <a:pt x="1756" y="8"/>
                </a:lnTo>
                <a:lnTo>
                  <a:pt x="1740" y="8"/>
                </a:lnTo>
                <a:lnTo>
                  <a:pt x="1732" y="8"/>
                </a:lnTo>
                <a:lnTo>
                  <a:pt x="1723" y="0"/>
                </a:lnTo>
                <a:cubicBezTo>
                  <a:pt x="1699" y="8"/>
                  <a:pt x="1691" y="8"/>
                  <a:pt x="1691" y="8"/>
                </a:cubicBezTo>
                <a:cubicBezTo>
                  <a:pt x="1666" y="16"/>
                  <a:pt x="1625" y="40"/>
                  <a:pt x="1625" y="56"/>
                </a:cubicBezTo>
                <a:cubicBezTo>
                  <a:pt x="1617" y="72"/>
                  <a:pt x="1625" y="111"/>
                  <a:pt x="1609" y="119"/>
                </a:cubicBezTo>
                <a:cubicBezTo>
                  <a:pt x="1584" y="119"/>
                  <a:pt x="1560" y="159"/>
                  <a:pt x="1552" y="159"/>
                </a:cubicBezTo>
                <a:lnTo>
                  <a:pt x="1478" y="198"/>
                </a:lnTo>
                <a:cubicBezTo>
                  <a:pt x="1478" y="198"/>
                  <a:pt x="1421" y="222"/>
                  <a:pt x="1388" y="222"/>
                </a:cubicBezTo>
                <a:cubicBezTo>
                  <a:pt x="1356" y="230"/>
                  <a:pt x="1331" y="253"/>
                  <a:pt x="1331" y="253"/>
                </a:cubicBezTo>
                <a:lnTo>
                  <a:pt x="1291" y="309"/>
                </a:lnTo>
                <a:lnTo>
                  <a:pt x="1225" y="317"/>
                </a:lnTo>
                <a:lnTo>
                  <a:pt x="1192" y="285"/>
                </a:lnTo>
                <a:lnTo>
                  <a:pt x="1160" y="293"/>
                </a:lnTo>
                <a:lnTo>
                  <a:pt x="1152" y="285"/>
                </a:lnTo>
                <a:lnTo>
                  <a:pt x="1135" y="293"/>
                </a:lnTo>
                <a:lnTo>
                  <a:pt x="1037" y="285"/>
                </a:lnTo>
                <a:lnTo>
                  <a:pt x="988" y="309"/>
                </a:lnTo>
                <a:lnTo>
                  <a:pt x="898" y="301"/>
                </a:lnTo>
                <a:cubicBezTo>
                  <a:pt x="898" y="301"/>
                  <a:pt x="833" y="309"/>
                  <a:pt x="817" y="309"/>
                </a:cubicBezTo>
                <a:lnTo>
                  <a:pt x="792" y="309"/>
                </a:lnTo>
                <a:cubicBezTo>
                  <a:pt x="776" y="301"/>
                  <a:pt x="760" y="285"/>
                  <a:pt x="760" y="285"/>
                </a:cubicBezTo>
                <a:cubicBezTo>
                  <a:pt x="760" y="285"/>
                  <a:pt x="727" y="293"/>
                  <a:pt x="719" y="301"/>
                </a:cubicBezTo>
                <a:cubicBezTo>
                  <a:pt x="711" y="309"/>
                  <a:pt x="678" y="348"/>
                  <a:pt x="678" y="348"/>
                </a:cubicBezTo>
                <a:lnTo>
                  <a:pt x="678" y="356"/>
                </a:lnTo>
                <a:lnTo>
                  <a:pt x="694" y="396"/>
                </a:lnTo>
                <a:lnTo>
                  <a:pt x="662" y="420"/>
                </a:lnTo>
                <a:lnTo>
                  <a:pt x="662" y="427"/>
                </a:lnTo>
                <a:cubicBezTo>
                  <a:pt x="662" y="435"/>
                  <a:pt x="653" y="435"/>
                  <a:pt x="645" y="435"/>
                </a:cubicBezTo>
                <a:cubicBezTo>
                  <a:pt x="645" y="443"/>
                  <a:pt x="637" y="443"/>
                  <a:pt x="629" y="443"/>
                </a:cubicBezTo>
                <a:lnTo>
                  <a:pt x="621" y="451"/>
                </a:lnTo>
                <a:lnTo>
                  <a:pt x="596" y="475"/>
                </a:lnTo>
                <a:lnTo>
                  <a:pt x="564" y="483"/>
                </a:ln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36" name="Freeform 128">
            <a:extLst>
              <a:ext uri="{FF2B5EF4-FFF2-40B4-BE49-F238E27FC236}">
                <a16:creationId xmlns:a16="http://schemas.microsoft.com/office/drawing/2014/main" id="{2EAE99A1-3FAD-99AB-DCCE-AAD40929569F}"/>
              </a:ext>
            </a:extLst>
          </p:cNvPr>
          <p:cNvSpPr>
            <a:spLocks noChangeArrowheads="1"/>
          </p:cNvSpPr>
          <p:nvPr>
            <p:custDataLst>
              <p:tags r:id="rId127"/>
            </p:custDataLst>
          </p:nvPr>
        </p:nvSpPr>
        <p:spPr bwMode="auto">
          <a:xfrm>
            <a:off x="8396828" y="4048070"/>
            <a:ext cx="1238872" cy="863951"/>
          </a:xfrm>
          <a:custGeom>
            <a:avLst/>
            <a:gdLst>
              <a:gd name="T0" fmla="*/ 507 w 3015"/>
              <a:gd name="T1" fmla="*/ 554 h 2105"/>
              <a:gd name="T2" fmla="*/ 474 w 3015"/>
              <a:gd name="T3" fmla="*/ 665 h 2105"/>
              <a:gd name="T4" fmla="*/ 417 w 3015"/>
              <a:gd name="T5" fmla="*/ 767 h 2105"/>
              <a:gd name="T6" fmla="*/ 409 w 3015"/>
              <a:gd name="T7" fmla="*/ 846 h 2105"/>
              <a:gd name="T8" fmla="*/ 376 w 3015"/>
              <a:gd name="T9" fmla="*/ 941 h 2105"/>
              <a:gd name="T10" fmla="*/ 343 w 3015"/>
              <a:gd name="T11" fmla="*/ 1036 h 2105"/>
              <a:gd name="T12" fmla="*/ 319 w 3015"/>
              <a:gd name="T13" fmla="*/ 1131 h 2105"/>
              <a:gd name="T14" fmla="*/ 196 w 3015"/>
              <a:gd name="T15" fmla="*/ 1226 h 2105"/>
              <a:gd name="T16" fmla="*/ 106 w 3015"/>
              <a:gd name="T17" fmla="*/ 1273 h 2105"/>
              <a:gd name="T18" fmla="*/ 17 w 3015"/>
              <a:gd name="T19" fmla="*/ 1273 h 2105"/>
              <a:gd name="T20" fmla="*/ 49 w 3015"/>
              <a:gd name="T21" fmla="*/ 1313 h 2105"/>
              <a:gd name="T22" fmla="*/ 180 w 3015"/>
              <a:gd name="T23" fmla="*/ 1392 h 2105"/>
              <a:gd name="T24" fmla="*/ 213 w 3015"/>
              <a:gd name="T25" fmla="*/ 1471 h 2105"/>
              <a:gd name="T26" fmla="*/ 302 w 3015"/>
              <a:gd name="T27" fmla="*/ 1550 h 2105"/>
              <a:gd name="T28" fmla="*/ 425 w 3015"/>
              <a:gd name="T29" fmla="*/ 1590 h 2105"/>
              <a:gd name="T30" fmla="*/ 449 w 3015"/>
              <a:gd name="T31" fmla="*/ 1669 h 2105"/>
              <a:gd name="T32" fmla="*/ 498 w 3015"/>
              <a:gd name="T33" fmla="*/ 1740 h 2105"/>
              <a:gd name="T34" fmla="*/ 531 w 3015"/>
              <a:gd name="T35" fmla="*/ 1780 h 2105"/>
              <a:gd name="T36" fmla="*/ 613 w 3015"/>
              <a:gd name="T37" fmla="*/ 1803 h 2105"/>
              <a:gd name="T38" fmla="*/ 727 w 3015"/>
              <a:gd name="T39" fmla="*/ 1851 h 2105"/>
              <a:gd name="T40" fmla="*/ 809 w 3015"/>
              <a:gd name="T41" fmla="*/ 1748 h 2105"/>
              <a:gd name="T42" fmla="*/ 923 w 3015"/>
              <a:gd name="T43" fmla="*/ 1795 h 2105"/>
              <a:gd name="T44" fmla="*/ 825 w 3015"/>
              <a:gd name="T45" fmla="*/ 1835 h 2105"/>
              <a:gd name="T46" fmla="*/ 899 w 3015"/>
              <a:gd name="T47" fmla="*/ 1906 h 2105"/>
              <a:gd name="T48" fmla="*/ 1046 w 3015"/>
              <a:gd name="T49" fmla="*/ 1977 h 2105"/>
              <a:gd name="T50" fmla="*/ 1258 w 3015"/>
              <a:gd name="T51" fmla="*/ 2064 h 2105"/>
              <a:gd name="T52" fmla="*/ 2034 w 3015"/>
              <a:gd name="T53" fmla="*/ 1843 h 2105"/>
              <a:gd name="T54" fmla="*/ 2606 w 3015"/>
              <a:gd name="T55" fmla="*/ 1677 h 2105"/>
              <a:gd name="T56" fmla="*/ 2810 w 3015"/>
              <a:gd name="T57" fmla="*/ 1353 h 2105"/>
              <a:gd name="T58" fmla="*/ 2957 w 3015"/>
              <a:gd name="T59" fmla="*/ 973 h 2105"/>
              <a:gd name="T60" fmla="*/ 2900 w 3015"/>
              <a:gd name="T61" fmla="*/ 957 h 2105"/>
              <a:gd name="T62" fmla="*/ 2728 w 3015"/>
              <a:gd name="T63" fmla="*/ 1068 h 2105"/>
              <a:gd name="T64" fmla="*/ 2467 w 3015"/>
              <a:gd name="T65" fmla="*/ 1005 h 2105"/>
              <a:gd name="T66" fmla="*/ 2459 w 3015"/>
              <a:gd name="T67" fmla="*/ 973 h 2105"/>
              <a:gd name="T68" fmla="*/ 2434 w 3015"/>
              <a:gd name="T69" fmla="*/ 910 h 2105"/>
              <a:gd name="T70" fmla="*/ 2401 w 3015"/>
              <a:gd name="T71" fmla="*/ 831 h 2105"/>
              <a:gd name="T72" fmla="*/ 2393 w 3015"/>
              <a:gd name="T73" fmla="*/ 744 h 2105"/>
              <a:gd name="T74" fmla="*/ 2393 w 3015"/>
              <a:gd name="T75" fmla="*/ 696 h 2105"/>
              <a:gd name="T76" fmla="*/ 2385 w 3015"/>
              <a:gd name="T77" fmla="*/ 633 h 2105"/>
              <a:gd name="T78" fmla="*/ 2369 w 3015"/>
              <a:gd name="T79" fmla="*/ 570 h 2105"/>
              <a:gd name="T80" fmla="*/ 2312 w 3015"/>
              <a:gd name="T81" fmla="*/ 483 h 2105"/>
              <a:gd name="T82" fmla="*/ 2230 w 3015"/>
              <a:gd name="T83" fmla="*/ 404 h 2105"/>
              <a:gd name="T84" fmla="*/ 2156 w 3015"/>
              <a:gd name="T85" fmla="*/ 348 h 2105"/>
              <a:gd name="T86" fmla="*/ 2083 w 3015"/>
              <a:gd name="T87" fmla="*/ 285 h 2105"/>
              <a:gd name="T88" fmla="*/ 2042 w 3015"/>
              <a:gd name="T89" fmla="*/ 253 h 2105"/>
              <a:gd name="T90" fmla="*/ 2001 w 3015"/>
              <a:gd name="T91" fmla="*/ 222 h 2105"/>
              <a:gd name="T92" fmla="*/ 1960 w 3015"/>
              <a:gd name="T93" fmla="*/ 174 h 2105"/>
              <a:gd name="T94" fmla="*/ 1936 w 3015"/>
              <a:gd name="T95" fmla="*/ 135 h 2105"/>
              <a:gd name="T96" fmla="*/ 1911 w 3015"/>
              <a:gd name="T97" fmla="*/ 111 h 2105"/>
              <a:gd name="T98" fmla="*/ 1879 w 3015"/>
              <a:gd name="T99" fmla="*/ 72 h 2105"/>
              <a:gd name="T100" fmla="*/ 1846 w 3015"/>
              <a:gd name="T101" fmla="*/ 40 h 2105"/>
              <a:gd name="T102" fmla="*/ 1813 w 3015"/>
              <a:gd name="T103" fmla="*/ 16 h 2105"/>
              <a:gd name="T104" fmla="*/ 1764 w 3015"/>
              <a:gd name="T105" fmla="*/ 0 h 2105"/>
              <a:gd name="T106" fmla="*/ 1723 w 3015"/>
              <a:gd name="T107" fmla="*/ 0 h 2105"/>
              <a:gd name="T108" fmla="*/ 1552 w 3015"/>
              <a:gd name="T109" fmla="*/ 159 h 2105"/>
              <a:gd name="T110" fmla="*/ 1291 w 3015"/>
              <a:gd name="T111" fmla="*/ 309 h 2105"/>
              <a:gd name="T112" fmla="*/ 1152 w 3015"/>
              <a:gd name="T113" fmla="*/ 285 h 2105"/>
              <a:gd name="T114" fmla="*/ 898 w 3015"/>
              <a:gd name="T115" fmla="*/ 301 h 2105"/>
              <a:gd name="T116" fmla="*/ 719 w 3015"/>
              <a:gd name="T117" fmla="*/ 301 h 2105"/>
              <a:gd name="T118" fmla="*/ 662 w 3015"/>
              <a:gd name="T119" fmla="*/ 420 h 2105"/>
              <a:gd name="T120" fmla="*/ 621 w 3015"/>
              <a:gd name="T121" fmla="*/ 451 h 2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15" h="2105">
                <a:moveTo>
                  <a:pt x="564" y="483"/>
                </a:moveTo>
                <a:lnTo>
                  <a:pt x="539" y="491"/>
                </a:lnTo>
                <a:lnTo>
                  <a:pt x="523" y="506"/>
                </a:lnTo>
                <a:lnTo>
                  <a:pt x="507" y="554"/>
                </a:lnTo>
                <a:lnTo>
                  <a:pt x="482" y="578"/>
                </a:lnTo>
                <a:lnTo>
                  <a:pt x="474" y="617"/>
                </a:lnTo>
                <a:cubicBezTo>
                  <a:pt x="474" y="617"/>
                  <a:pt x="482" y="649"/>
                  <a:pt x="482" y="657"/>
                </a:cubicBezTo>
                <a:lnTo>
                  <a:pt x="474" y="665"/>
                </a:lnTo>
                <a:lnTo>
                  <a:pt x="458" y="665"/>
                </a:lnTo>
                <a:lnTo>
                  <a:pt x="458" y="673"/>
                </a:lnTo>
                <a:lnTo>
                  <a:pt x="449" y="736"/>
                </a:lnTo>
                <a:lnTo>
                  <a:pt x="417" y="767"/>
                </a:lnTo>
                <a:lnTo>
                  <a:pt x="409" y="807"/>
                </a:lnTo>
                <a:lnTo>
                  <a:pt x="409" y="831"/>
                </a:lnTo>
                <a:lnTo>
                  <a:pt x="409" y="839"/>
                </a:lnTo>
                <a:lnTo>
                  <a:pt x="409" y="846"/>
                </a:lnTo>
                <a:lnTo>
                  <a:pt x="409" y="854"/>
                </a:lnTo>
                <a:cubicBezTo>
                  <a:pt x="409" y="862"/>
                  <a:pt x="409" y="862"/>
                  <a:pt x="400" y="862"/>
                </a:cubicBezTo>
                <a:cubicBezTo>
                  <a:pt x="384" y="870"/>
                  <a:pt x="376" y="886"/>
                  <a:pt x="376" y="886"/>
                </a:cubicBezTo>
                <a:lnTo>
                  <a:pt x="376" y="941"/>
                </a:lnTo>
                <a:lnTo>
                  <a:pt x="368" y="957"/>
                </a:lnTo>
                <a:lnTo>
                  <a:pt x="351" y="981"/>
                </a:lnTo>
                <a:lnTo>
                  <a:pt x="360" y="1013"/>
                </a:lnTo>
                <a:lnTo>
                  <a:pt x="343" y="1036"/>
                </a:lnTo>
                <a:lnTo>
                  <a:pt x="351" y="1076"/>
                </a:lnTo>
                <a:lnTo>
                  <a:pt x="335" y="1100"/>
                </a:lnTo>
                <a:lnTo>
                  <a:pt x="327" y="1107"/>
                </a:lnTo>
                <a:lnTo>
                  <a:pt x="319" y="1131"/>
                </a:lnTo>
                <a:lnTo>
                  <a:pt x="302" y="1171"/>
                </a:lnTo>
                <a:lnTo>
                  <a:pt x="237" y="1226"/>
                </a:lnTo>
                <a:lnTo>
                  <a:pt x="213" y="1218"/>
                </a:lnTo>
                <a:lnTo>
                  <a:pt x="196" y="1226"/>
                </a:lnTo>
                <a:lnTo>
                  <a:pt x="180" y="1242"/>
                </a:lnTo>
                <a:cubicBezTo>
                  <a:pt x="180" y="1242"/>
                  <a:pt x="188" y="1242"/>
                  <a:pt x="172" y="1258"/>
                </a:cubicBezTo>
                <a:cubicBezTo>
                  <a:pt x="155" y="1266"/>
                  <a:pt x="123" y="1273"/>
                  <a:pt x="123" y="1273"/>
                </a:cubicBezTo>
                <a:lnTo>
                  <a:pt x="106" y="1273"/>
                </a:lnTo>
                <a:lnTo>
                  <a:pt x="49" y="1273"/>
                </a:lnTo>
                <a:cubicBezTo>
                  <a:pt x="49" y="1273"/>
                  <a:pt x="41" y="1266"/>
                  <a:pt x="33" y="1273"/>
                </a:cubicBezTo>
                <a:lnTo>
                  <a:pt x="25" y="1273"/>
                </a:lnTo>
                <a:lnTo>
                  <a:pt x="17" y="1273"/>
                </a:lnTo>
                <a:lnTo>
                  <a:pt x="8" y="1273"/>
                </a:lnTo>
                <a:lnTo>
                  <a:pt x="0" y="1273"/>
                </a:lnTo>
                <a:cubicBezTo>
                  <a:pt x="0" y="1273"/>
                  <a:pt x="8" y="1281"/>
                  <a:pt x="17" y="1281"/>
                </a:cubicBezTo>
                <a:cubicBezTo>
                  <a:pt x="33" y="1289"/>
                  <a:pt x="41" y="1313"/>
                  <a:pt x="49" y="1313"/>
                </a:cubicBezTo>
                <a:cubicBezTo>
                  <a:pt x="66" y="1321"/>
                  <a:pt x="82" y="1321"/>
                  <a:pt x="90" y="1321"/>
                </a:cubicBezTo>
                <a:cubicBezTo>
                  <a:pt x="98" y="1329"/>
                  <a:pt x="115" y="1337"/>
                  <a:pt x="115" y="1337"/>
                </a:cubicBezTo>
                <a:cubicBezTo>
                  <a:pt x="115" y="1337"/>
                  <a:pt x="155" y="1376"/>
                  <a:pt x="164" y="1376"/>
                </a:cubicBezTo>
                <a:cubicBezTo>
                  <a:pt x="172" y="1376"/>
                  <a:pt x="172" y="1376"/>
                  <a:pt x="180" y="1392"/>
                </a:cubicBezTo>
                <a:cubicBezTo>
                  <a:pt x="188" y="1400"/>
                  <a:pt x="213" y="1392"/>
                  <a:pt x="213" y="1392"/>
                </a:cubicBezTo>
                <a:cubicBezTo>
                  <a:pt x="213" y="1392"/>
                  <a:pt x="221" y="1416"/>
                  <a:pt x="213" y="1424"/>
                </a:cubicBezTo>
                <a:lnTo>
                  <a:pt x="213" y="1455"/>
                </a:lnTo>
                <a:lnTo>
                  <a:pt x="213" y="1471"/>
                </a:lnTo>
                <a:cubicBezTo>
                  <a:pt x="221" y="1487"/>
                  <a:pt x="229" y="1487"/>
                  <a:pt x="229" y="1503"/>
                </a:cubicBezTo>
                <a:cubicBezTo>
                  <a:pt x="237" y="1511"/>
                  <a:pt x="229" y="1511"/>
                  <a:pt x="237" y="1519"/>
                </a:cubicBezTo>
                <a:cubicBezTo>
                  <a:pt x="245" y="1527"/>
                  <a:pt x="254" y="1542"/>
                  <a:pt x="262" y="1542"/>
                </a:cubicBezTo>
                <a:cubicBezTo>
                  <a:pt x="271" y="1542"/>
                  <a:pt x="278" y="1542"/>
                  <a:pt x="302" y="1550"/>
                </a:cubicBezTo>
                <a:cubicBezTo>
                  <a:pt x="327" y="1566"/>
                  <a:pt x="335" y="1566"/>
                  <a:pt x="343" y="1574"/>
                </a:cubicBezTo>
                <a:cubicBezTo>
                  <a:pt x="360" y="1582"/>
                  <a:pt x="351" y="1574"/>
                  <a:pt x="376" y="1582"/>
                </a:cubicBezTo>
                <a:cubicBezTo>
                  <a:pt x="409" y="1590"/>
                  <a:pt x="400" y="1582"/>
                  <a:pt x="409" y="1590"/>
                </a:cubicBezTo>
                <a:cubicBezTo>
                  <a:pt x="417" y="1590"/>
                  <a:pt x="409" y="1582"/>
                  <a:pt x="425" y="1590"/>
                </a:cubicBezTo>
                <a:cubicBezTo>
                  <a:pt x="449" y="1590"/>
                  <a:pt x="466" y="1598"/>
                  <a:pt x="466" y="1598"/>
                </a:cubicBezTo>
                <a:lnTo>
                  <a:pt x="466" y="1614"/>
                </a:lnTo>
                <a:lnTo>
                  <a:pt x="449" y="1645"/>
                </a:lnTo>
                <a:lnTo>
                  <a:pt x="449" y="1669"/>
                </a:lnTo>
                <a:cubicBezTo>
                  <a:pt x="449" y="1669"/>
                  <a:pt x="433" y="1669"/>
                  <a:pt x="449" y="1677"/>
                </a:cubicBezTo>
                <a:cubicBezTo>
                  <a:pt x="466" y="1685"/>
                  <a:pt x="498" y="1693"/>
                  <a:pt x="498" y="1693"/>
                </a:cubicBezTo>
                <a:lnTo>
                  <a:pt x="523" y="1708"/>
                </a:lnTo>
                <a:cubicBezTo>
                  <a:pt x="523" y="1708"/>
                  <a:pt x="507" y="1732"/>
                  <a:pt x="498" y="1740"/>
                </a:cubicBezTo>
                <a:lnTo>
                  <a:pt x="466" y="1740"/>
                </a:lnTo>
                <a:cubicBezTo>
                  <a:pt x="466" y="1740"/>
                  <a:pt x="458" y="1764"/>
                  <a:pt x="474" y="1764"/>
                </a:cubicBezTo>
                <a:cubicBezTo>
                  <a:pt x="482" y="1772"/>
                  <a:pt x="499" y="1772"/>
                  <a:pt x="507" y="1772"/>
                </a:cubicBezTo>
                <a:cubicBezTo>
                  <a:pt x="516" y="1772"/>
                  <a:pt x="531" y="1780"/>
                  <a:pt x="531" y="1780"/>
                </a:cubicBezTo>
                <a:cubicBezTo>
                  <a:pt x="531" y="1780"/>
                  <a:pt x="539" y="1780"/>
                  <a:pt x="547" y="1787"/>
                </a:cubicBezTo>
                <a:cubicBezTo>
                  <a:pt x="547" y="1803"/>
                  <a:pt x="556" y="1811"/>
                  <a:pt x="564" y="1811"/>
                </a:cubicBezTo>
                <a:lnTo>
                  <a:pt x="596" y="1811"/>
                </a:lnTo>
                <a:cubicBezTo>
                  <a:pt x="605" y="1811"/>
                  <a:pt x="605" y="1803"/>
                  <a:pt x="613" y="1803"/>
                </a:cubicBezTo>
                <a:cubicBezTo>
                  <a:pt x="621" y="1811"/>
                  <a:pt x="670" y="1803"/>
                  <a:pt x="670" y="1803"/>
                </a:cubicBezTo>
                <a:lnTo>
                  <a:pt x="678" y="1819"/>
                </a:lnTo>
                <a:cubicBezTo>
                  <a:pt x="694" y="1843"/>
                  <a:pt x="719" y="1851"/>
                  <a:pt x="719" y="1851"/>
                </a:cubicBezTo>
                <a:cubicBezTo>
                  <a:pt x="719" y="1851"/>
                  <a:pt x="727" y="1859"/>
                  <a:pt x="727" y="1851"/>
                </a:cubicBezTo>
                <a:cubicBezTo>
                  <a:pt x="727" y="1843"/>
                  <a:pt x="735" y="1835"/>
                  <a:pt x="735" y="1835"/>
                </a:cubicBezTo>
                <a:cubicBezTo>
                  <a:pt x="735" y="1835"/>
                  <a:pt x="752" y="1811"/>
                  <a:pt x="752" y="1803"/>
                </a:cubicBezTo>
                <a:cubicBezTo>
                  <a:pt x="760" y="1795"/>
                  <a:pt x="768" y="1772"/>
                  <a:pt x="776" y="1772"/>
                </a:cubicBezTo>
                <a:cubicBezTo>
                  <a:pt x="784" y="1764"/>
                  <a:pt x="809" y="1748"/>
                  <a:pt x="809" y="1748"/>
                </a:cubicBezTo>
                <a:cubicBezTo>
                  <a:pt x="809" y="1748"/>
                  <a:pt x="809" y="1740"/>
                  <a:pt x="825" y="1748"/>
                </a:cubicBezTo>
                <a:cubicBezTo>
                  <a:pt x="833" y="1764"/>
                  <a:pt x="858" y="1780"/>
                  <a:pt x="858" y="1780"/>
                </a:cubicBezTo>
                <a:lnTo>
                  <a:pt x="899" y="1780"/>
                </a:lnTo>
                <a:cubicBezTo>
                  <a:pt x="899" y="1780"/>
                  <a:pt x="923" y="1787"/>
                  <a:pt x="923" y="1795"/>
                </a:cubicBezTo>
                <a:cubicBezTo>
                  <a:pt x="923" y="1803"/>
                  <a:pt x="915" y="1803"/>
                  <a:pt x="899" y="1811"/>
                </a:cubicBezTo>
                <a:cubicBezTo>
                  <a:pt x="890" y="1811"/>
                  <a:pt x="866" y="1787"/>
                  <a:pt x="866" y="1795"/>
                </a:cubicBezTo>
                <a:cubicBezTo>
                  <a:pt x="858" y="1803"/>
                  <a:pt x="858" y="1819"/>
                  <a:pt x="858" y="1819"/>
                </a:cubicBezTo>
                <a:lnTo>
                  <a:pt x="825" y="1835"/>
                </a:lnTo>
                <a:lnTo>
                  <a:pt x="833" y="1851"/>
                </a:lnTo>
                <a:cubicBezTo>
                  <a:pt x="833" y="1851"/>
                  <a:pt x="874" y="1867"/>
                  <a:pt x="874" y="1874"/>
                </a:cubicBezTo>
                <a:lnTo>
                  <a:pt x="874" y="1898"/>
                </a:lnTo>
                <a:lnTo>
                  <a:pt x="899" y="1906"/>
                </a:lnTo>
                <a:lnTo>
                  <a:pt x="915" y="1898"/>
                </a:lnTo>
                <a:lnTo>
                  <a:pt x="915" y="1930"/>
                </a:lnTo>
                <a:lnTo>
                  <a:pt x="915" y="1961"/>
                </a:lnTo>
                <a:cubicBezTo>
                  <a:pt x="972" y="1946"/>
                  <a:pt x="1021" y="1977"/>
                  <a:pt x="1046" y="1977"/>
                </a:cubicBezTo>
                <a:cubicBezTo>
                  <a:pt x="1095" y="1985"/>
                  <a:pt x="988" y="2040"/>
                  <a:pt x="1005" y="2040"/>
                </a:cubicBezTo>
                <a:cubicBezTo>
                  <a:pt x="1021" y="2033"/>
                  <a:pt x="1005" y="2080"/>
                  <a:pt x="1029" y="2088"/>
                </a:cubicBezTo>
                <a:cubicBezTo>
                  <a:pt x="1070" y="2096"/>
                  <a:pt x="1103" y="2064"/>
                  <a:pt x="1152" y="2064"/>
                </a:cubicBezTo>
                <a:cubicBezTo>
                  <a:pt x="1193" y="2056"/>
                  <a:pt x="1242" y="2080"/>
                  <a:pt x="1258" y="2064"/>
                </a:cubicBezTo>
                <a:cubicBezTo>
                  <a:pt x="1291" y="2025"/>
                  <a:pt x="1421" y="2104"/>
                  <a:pt x="1487" y="2064"/>
                </a:cubicBezTo>
                <a:cubicBezTo>
                  <a:pt x="1528" y="2033"/>
                  <a:pt x="1691" y="2017"/>
                  <a:pt x="1748" y="2017"/>
                </a:cubicBezTo>
                <a:cubicBezTo>
                  <a:pt x="1895" y="2009"/>
                  <a:pt x="1903" y="2009"/>
                  <a:pt x="1969" y="1969"/>
                </a:cubicBezTo>
                <a:cubicBezTo>
                  <a:pt x="1969" y="1969"/>
                  <a:pt x="2009" y="1882"/>
                  <a:pt x="2034" y="1843"/>
                </a:cubicBezTo>
                <a:cubicBezTo>
                  <a:pt x="2050" y="1811"/>
                  <a:pt x="2099" y="1795"/>
                  <a:pt x="2148" y="1764"/>
                </a:cubicBezTo>
                <a:cubicBezTo>
                  <a:pt x="2189" y="1732"/>
                  <a:pt x="2295" y="1700"/>
                  <a:pt x="2320" y="1693"/>
                </a:cubicBezTo>
                <a:cubicBezTo>
                  <a:pt x="2344" y="1693"/>
                  <a:pt x="2516" y="1700"/>
                  <a:pt x="2516" y="1700"/>
                </a:cubicBezTo>
                <a:lnTo>
                  <a:pt x="2606" y="1677"/>
                </a:lnTo>
                <a:cubicBezTo>
                  <a:pt x="2606" y="1677"/>
                  <a:pt x="2622" y="1740"/>
                  <a:pt x="2646" y="1748"/>
                </a:cubicBezTo>
                <a:cubicBezTo>
                  <a:pt x="2753" y="1764"/>
                  <a:pt x="2818" y="1756"/>
                  <a:pt x="2826" y="1700"/>
                </a:cubicBezTo>
                <a:cubicBezTo>
                  <a:pt x="2834" y="1661"/>
                  <a:pt x="2793" y="1590"/>
                  <a:pt x="2785" y="1534"/>
                </a:cubicBezTo>
                <a:cubicBezTo>
                  <a:pt x="2777" y="1471"/>
                  <a:pt x="2810" y="1408"/>
                  <a:pt x="2810" y="1353"/>
                </a:cubicBezTo>
                <a:cubicBezTo>
                  <a:pt x="2810" y="1345"/>
                  <a:pt x="2793" y="1329"/>
                  <a:pt x="2842" y="1266"/>
                </a:cubicBezTo>
                <a:cubicBezTo>
                  <a:pt x="2883" y="1202"/>
                  <a:pt x="2998" y="1234"/>
                  <a:pt x="3014" y="1194"/>
                </a:cubicBezTo>
                <a:lnTo>
                  <a:pt x="2965" y="973"/>
                </a:lnTo>
                <a:lnTo>
                  <a:pt x="2957" y="973"/>
                </a:lnTo>
                <a:lnTo>
                  <a:pt x="2949" y="973"/>
                </a:lnTo>
                <a:lnTo>
                  <a:pt x="2932" y="965"/>
                </a:lnTo>
                <a:lnTo>
                  <a:pt x="2916" y="965"/>
                </a:lnTo>
                <a:lnTo>
                  <a:pt x="2900" y="957"/>
                </a:lnTo>
                <a:lnTo>
                  <a:pt x="2883" y="949"/>
                </a:lnTo>
                <a:lnTo>
                  <a:pt x="2867" y="949"/>
                </a:lnTo>
                <a:lnTo>
                  <a:pt x="2859" y="949"/>
                </a:lnTo>
                <a:cubicBezTo>
                  <a:pt x="2802" y="941"/>
                  <a:pt x="2728" y="1068"/>
                  <a:pt x="2728" y="1068"/>
                </a:cubicBezTo>
                <a:lnTo>
                  <a:pt x="2695" y="1123"/>
                </a:lnTo>
                <a:cubicBezTo>
                  <a:pt x="2614" y="1107"/>
                  <a:pt x="2532" y="1100"/>
                  <a:pt x="2475" y="1036"/>
                </a:cubicBezTo>
                <a:lnTo>
                  <a:pt x="2475" y="1013"/>
                </a:lnTo>
                <a:lnTo>
                  <a:pt x="2467" y="1005"/>
                </a:lnTo>
                <a:lnTo>
                  <a:pt x="2459" y="1005"/>
                </a:lnTo>
                <a:cubicBezTo>
                  <a:pt x="2450" y="1005"/>
                  <a:pt x="2442" y="997"/>
                  <a:pt x="2442" y="997"/>
                </a:cubicBezTo>
                <a:lnTo>
                  <a:pt x="2450" y="981"/>
                </a:lnTo>
                <a:lnTo>
                  <a:pt x="2459" y="973"/>
                </a:lnTo>
                <a:cubicBezTo>
                  <a:pt x="2467" y="973"/>
                  <a:pt x="2459" y="973"/>
                  <a:pt x="2459" y="965"/>
                </a:cubicBezTo>
                <a:lnTo>
                  <a:pt x="2459" y="941"/>
                </a:lnTo>
                <a:lnTo>
                  <a:pt x="2450" y="934"/>
                </a:lnTo>
                <a:cubicBezTo>
                  <a:pt x="2450" y="934"/>
                  <a:pt x="2442" y="918"/>
                  <a:pt x="2434" y="910"/>
                </a:cubicBezTo>
                <a:cubicBezTo>
                  <a:pt x="2426" y="910"/>
                  <a:pt x="2434" y="902"/>
                  <a:pt x="2434" y="902"/>
                </a:cubicBezTo>
                <a:cubicBezTo>
                  <a:pt x="2426" y="894"/>
                  <a:pt x="2434" y="894"/>
                  <a:pt x="2434" y="886"/>
                </a:cubicBezTo>
                <a:lnTo>
                  <a:pt x="2426" y="870"/>
                </a:lnTo>
                <a:cubicBezTo>
                  <a:pt x="2426" y="870"/>
                  <a:pt x="2410" y="846"/>
                  <a:pt x="2401" y="831"/>
                </a:cubicBezTo>
                <a:lnTo>
                  <a:pt x="2401" y="815"/>
                </a:lnTo>
                <a:cubicBezTo>
                  <a:pt x="2410" y="807"/>
                  <a:pt x="2393" y="799"/>
                  <a:pt x="2393" y="799"/>
                </a:cubicBezTo>
                <a:lnTo>
                  <a:pt x="2393" y="767"/>
                </a:lnTo>
                <a:cubicBezTo>
                  <a:pt x="2401" y="760"/>
                  <a:pt x="2393" y="752"/>
                  <a:pt x="2393" y="744"/>
                </a:cubicBezTo>
                <a:lnTo>
                  <a:pt x="2377" y="736"/>
                </a:lnTo>
                <a:lnTo>
                  <a:pt x="2385" y="720"/>
                </a:lnTo>
                <a:lnTo>
                  <a:pt x="2385" y="712"/>
                </a:lnTo>
                <a:lnTo>
                  <a:pt x="2393" y="696"/>
                </a:lnTo>
                <a:cubicBezTo>
                  <a:pt x="2401" y="688"/>
                  <a:pt x="2393" y="680"/>
                  <a:pt x="2385" y="680"/>
                </a:cubicBezTo>
                <a:cubicBezTo>
                  <a:pt x="2377" y="680"/>
                  <a:pt x="2385" y="673"/>
                  <a:pt x="2385" y="673"/>
                </a:cubicBezTo>
                <a:lnTo>
                  <a:pt x="2393" y="657"/>
                </a:lnTo>
                <a:lnTo>
                  <a:pt x="2385" y="633"/>
                </a:lnTo>
                <a:lnTo>
                  <a:pt x="2385" y="625"/>
                </a:lnTo>
                <a:lnTo>
                  <a:pt x="2377" y="609"/>
                </a:lnTo>
                <a:cubicBezTo>
                  <a:pt x="2377" y="601"/>
                  <a:pt x="2369" y="586"/>
                  <a:pt x="2369" y="586"/>
                </a:cubicBezTo>
                <a:lnTo>
                  <a:pt x="2369" y="570"/>
                </a:lnTo>
                <a:cubicBezTo>
                  <a:pt x="2369" y="562"/>
                  <a:pt x="2361" y="554"/>
                  <a:pt x="2352" y="546"/>
                </a:cubicBezTo>
                <a:lnTo>
                  <a:pt x="2344" y="530"/>
                </a:lnTo>
                <a:cubicBezTo>
                  <a:pt x="2344" y="530"/>
                  <a:pt x="2328" y="514"/>
                  <a:pt x="2320" y="506"/>
                </a:cubicBezTo>
                <a:cubicBezTo>
                  <a:pt x="2320" y="491"/>
                  <a:pt x="2320" y="491"/>
                  <a:pt x="2312" y="483"/>
                </a:cubicBezTo>
                <a:cubicBezTo>
                  <a:pt x="2312" y="467"/>
                  <a:pt x="2295" y="451"/>
                  <a:pt x="2287" y="451"/>
                </a:cubicBezTo>
                <a:cubicBezTo>
                  <a:pt x="2287" y="451"/>
                  <a:pt x="2279" y="427"/>
                  <a:pt x="2279" y="420"/>
                </a:cubicBezTo>
                <a:cubicBezTo>
                  <a:pt x="2271" y="420"/>
                  <a:pt x="2254" y="412"/>
                  <a:pt x="2254" y="412"/>
                </a:cubicBezTo>
                <a:cubicBezTo>
                  <a:pt x="2246" y="412"/>
                  <a:pt x="2230" y="404"/>
                  <a:pt x="2230" y="404"/>
                </a:cubicBezTo>
                <a:lnTo>
                  <a:pt x="2205" y="396"/>
                </a:lnTo>
                <a:lnTo>
                  <a:pt x="2181" y="372"/>
                </a:lnTo>
                <a:cubicBezTo>
                  <a:pt x="2181" y="372"/>
                  <a:pt x="2173" y="372"/>
                  <a:pt x="2165" y="364"/>
                </a:cubicBezTo>
                <a:lnTo>
                  <a:pt x="2156" y="348"/>
                </a:lnTo>
                <a:lnTo>
                  <a:pt x="2148" y="333"/>
                </a:lnTo>
                <a:lnTo>
                  <a:pt x="2099" y="317"/>
                </a:lnTo>
                <a:lnTo>
                  <a:pt x="2091" y="301"/>
                </a:lnTo>
                <a:cubicBezTo>
                  <a:pt x="2091" y="293"/>
                  <a:pt x="2083" y="293"/>
                  <a:pt x="2083" y="285"/>
                </a:cubicBezTo>
                <a:cubicBezTo>
                  <a:pt x="2083" y="277"/>
                  <a:pt x="2075" y="277"/>
                  <a:pt x="2075" y="269"/>
                </a:cubicBezTo>
                <a:cubicBezTo>
                  <a:pt x="2075" y="261"/>
                  <a:pt x="2066" y="261"/>
                  <a:pt x="2066" y="261"/>
                </a:cubicBezTo>
                <a:lnTo>
                  <a:pt x="2050" y="261"/>
                </a:lnTo>
                <a:lnTo>
                  <a:pt x="2042" y="253"/>
                </a:lnTo>
                <a:cubicBezTo>
                  <a:pt x="2042" y="253"/>
                  <a:pt x="2026" y="238"/>
                  <a:pt x="2017" y="238"/>
                </a:cubicBezTo>
                <a:lnTo>
                  <a:pt x="2017" y="230"/>
                </a:lnTo>
                <a:lnTo>
                  <a:pt x="2009" y="230"/>
                </a:lnTo>
                <a:cubicBezTo>
                  <a:pt x="2001" y="230"/>
                  <a:pt x="2001" y="230"/>
                  <a:pt x="2001" y="222"/>
                </a:cubicBezTo>
                <a:cubicBezTo>
                  <a:pt x="1993" y="222"/>
                  <a:pt x="1993" y="206"/>
                  <a:pt x="1985" y="206"/>
                </a:cubicBezTo>
                <a:lnTo>
                  <a:pt x="1977" y="206"/>
                </a:lnTo>
                <a:cubicBezTo>
                  <a:pt x="1968" y="206"/>
                  <a:pt x="1960" y="190"/>
                  <a:pt x="1960" y="190"/>
                </a:cubicBezTo>
                <a:cubicBezTo>
                  <a:pt x="1952" y="190"/>
                  <a:pt x="1960" y="182"/>
                  <a:pt x="1960" y="174"/>
                </a:cubicBezTo>
                <a:cubicBezTo>
                  <a:pt x="1960" y="166"/>
                  <a:pt x="1952" y="166"/>
                  <a:pt x="1952" y="166"/>
                </a:cubicBezTo>
                <a:cubicBezTo>
                  <a:pt x="1952" y="166"/>
                  <a:pt x="1944" y="166"/>
                  <a:pt x="1944" y="159"/>
                </a:cubicBezTo>
                <a:cubicBezTo>
                  <a:pt x="1944" y="159"/>
                  <a:pt x="1936" y="151"/>
                  <a:pt x="1936" y="143"/>
                </a:cubicBezTo>
                <a:lnTo>
                  <a:pt x="1936" y="135"/>
                </a:lnTo>
                <a:lnTo>
                  <a:pt x="1928" y="127"/>
                </a:lnTo>
                <a:lnTo>
                  <a:pt x="1919" y="119"/>
                </a:lnTo>
                <a:lnTo>
                  <a:pt x="1919" y="111"/>
                </a:lnTo>
                <a:lnTo>
                  <a:pt x="1911" y="111"/>
                </a:lnTo>
                <a:cubicBezTo>
                  <a:pt x="1903" y="111"/>
                  <a:pt x="1903" y="103"/>
                  <a:pt x="1903" y="95"/>
                </a:cubicBezTo>
                <a:lnTo>
                  <a:pt x="1895" y="87"/>
                </a:lnTo>
                <a:lnTo>
                  <a:pt x="1887" y="80"/>
                </a:lnTo>
                <a:lnTo>
                  <a:pt x="1879" y="72"/>
                </a:lnTo>
                <a:lnTo>
                  <a:pt x="1870" y="64"/>
                </a:lnTo>
                <a:cubicBezTo>
                  <a:pt x="1862" y="56"/>
                  <a:pt x="1854" y="48"/>
                  <a:pt x="1854" y="48"/>
                </a:cubicBezTo>
                <a:lnTo>
                  <a:pt x="1854" y="40"/>
                </a:lnTo>
                <a:lnTo>
                  <a:pt x="1846" y="40"/>
                </a:lnTo>
                <a:lnTo>
                  <a:pt x="1830" y="40"/>
                </a:lnTo>
                <a:lnTo>
                  <a:pt x="1830" y="24"/>
                </a:lnTo>
                <a:lnTo>
                  <a:pt x="1821" y="24"/>
                </a:lnTo>
                <a:cubicBezTo>
                  <a:pt x="1813" y="24"/>
                  <a:pt x="1813" y="16"/>
                  <a:pt x="1813" y="16"/>
                </a:cubicBezTo>
                <a:lnTo>
                  <a:pt x="1813" y="8"/>
                </a:lnTo>
                <a:lnTo>
                  <a:pt x="1789" y="16"/>
                </a:lnTo>
                <a:lnTo>
                  <a:pt x="1772" y="8"/>
                </a:lnTo>
                <a:cubicBezTo>
                  <a:pt x="1772" y="0"/>
                  <a:pt x="1764" y="0"/>
                  <a:pt x="1764" y="0"/>
                </a:cubicBezTo>
                <a:lnTo>
                  <a:pt x="1756" y="8"/>
                </a:lnTo>
                <a:lnTo>
                  <a:pt x="1740" y="8"/>
                </a:lnTo>
                <a:lnTo>
                  <a:pt x="1732" y="8"/>
                </a:lnTo>
                <a:lnTo>
                  <a:pt x="1723" y="0"/>
                </a:lnTo>
                <a:cubicBezTo>
                  <a:pt x="1699" y="8"/>
                  <a:pt x="1691" y="8"/>
                  <a:pt x="1691" y="8"/>
                </a:cubicBezTo>
                <a:cubicBezTo>
                  <a:pt x="1666" y="16"/>
                  <a:pt x="1625" y="40"/>
                  <a:pt x="1625" y="56"/>
                </a:cubicBezTo>
                <a:cubicBezTo>
                  <a:pt x="1617" y="72"/>
                  <a:pt x="1625" y="111"/>
                  <a:pt x="1609" y="119"/>
                </a:cubicBezTo>
                <a:cubicBezTo>
                  <a:pt x="1584" y="119"/>
                  <a:pt x="1560" y="159"/>
                  <a:pt x="1552" y="159"/>
                </a:cubicBezTo>
                <a:lnTo>
                  <a:pt x="1478" y="198"/>
                </a:lnTo>
                <a:cubicBezTo>
                  <a:pt x="1478" y="198"/>
                  <a:pt x="1421" y="222"/>
                  <a:pt x="1388" y="222"/>
                </a:cubicBezTo>
                <a:cubicBezTo>
                  <a:pt x="1356" y="230"/>
                  <a:pt x="1331" y="253"/>
                  <a:pt x="1331" y="253"/>
                </a:cubicBezTo>
                <a:lnTo>
                  <a:pt x="1291" y="309"/>
                </a:lnTo>
                <a:lnTo>
                  <a:pt x="1225" y="317"/>
                </a:lnTo>
                <a:lnTo>
                  <a:pt x="1192" y="285"/>
                </a:lnTo>
                <a:lnTo>
                  <a:pt x="1160" y="293"/>
                </a:lnTo>
                <a:lnTo>
                  <a:pt x="1152" y="285"/>
                </a:lnTo>
                <a:lnTo>
                  <a:pt x="1135" y="293"/>
                </a:lnTo>
                <a:lnTo>
                  <a:pt x="1037" y="285"/>
                </a:lnTo>
                <a:lnTo>
                  <a:pt x="988" y="309"/>
                </a:lnTo>
                <a:lnTo>
                  <a:pt x="898" y="301"/>
                </a:lnTo>
                <a:cubicBezTo>
                  <a:pt x="898" y="301"/>
                  <a:pt x="833" y="309"/>
                  <a:pt x="817" y="309"/>
                </a:cubicBezTo>
                <a:lnTo>
                  <a:pt x="792" y="309"/>
                </a:lnTo>
                <a:cubicBezTo>
                  <a:pt x="776" y="301"/>
                  <a:pt x="760" y="285"/>
                  <a:pt x="760" y="285"/>
                </a:cubicBezTo>
                <a:cubicBezTo>
                  <a:pt x="760" y="285"/>
                  <a:pt x="727" y="293"/>
                  <a:pt x="719" y="301"/>
                </a:cubicBezTo>
                <a:cubicBezTo>
                  <a:pt x="711" y="309"/>
                  <a:pt x="678" y="348"/>
                  <a:pt x="678" y="348"/>
                </a:cubicBezTo>
                <a:lnTo>
                  <a:pt x="678" y="356"/>
                </a:lnTo>
                <a:lnTo>
                  <a:pt x="694" y="396"/>
                </a:lnTo>
                <a:lnTo>
                  <a:pt x="662" y="420"/>
                </a:lnTo>
                <a:lnTo>
                  <a:pt x="662" y="427"/>
                </a:lnTo>
                <a:cubicBezTo>
                  <a:pt x="662" y="435"/>
                  <a:pt x="653" y="435"/>
                  <a:pt x="645" y="435"/>
                </a:cubicBezTo>
                <a:cubicBezTo>
                  <a:pt x="645" y="443"/>
                  <a:pt x="637" y="443"/>
                  <a:pt x="629" y="443"/>
                </a:cubicBezTo>
                <a:lnTo>
                  <a:pt x="621" y="451"/>
                </a:lnTo>
                <a:lnTo>
                  <a:pt x="596" y="475"/>
                </a:lnTo>
                <a:lnTo>
                  <a:pt x="564" y="483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37" name="Freeform 129">
            <a:extLst>
              <a:ext uri="{FF2B5EF4-FFF2-40B4-BE49-F238E27FC236}">
                <a16:creationId xmlns:a16="http://schemas.microsoft.com/office/drawing/2014/main" id="{44A74D5A-4F90-5764-6E3D-3BE371AE87FE}"/>
              </a:ext>
            </a:extLst>
          </p:cNvPr>
          <p:cNvSpPr>
            <a:spLocks noChangeArrowheads="1"/>
          </p:cNvSpPr>
          <p:nvPr>
            <p:custDataLst>
              <p:tags r:id="rId128"/>
            </p:custDataLst>
          </p:nvPr>
        </p:nvSpPr>
        <p:spPr bwMode="auto">
          <a:xfrm>
            <a:off x="8565271" y="3120726"/>
            <a:ext cx="2062977" cy="1392826"/>
          </a:xfrm>
          <a:custGeom>
            <a:avLst/>
            <a:gdLst>
              <a:gd name="T0" fmla="*/ 1342 w 5024"/>
              <a:gd name="T1" fmla="*/ 2238 h 3391"/>
              <a:gd name="T2" fmla="*/ 1399 w 5024"/>
              <a:gd name="T3" fmla="*/ 2207 h 3391"/>
              <a:gd name="T4" fmla="*/ 1514 w 5024"/>
              <a:gd name="T5" fmla="*/ 2143 h 3391"/>
              <a:gd name="T6" fmla="*/ 1596 w 5024"/>
              <a:gd name="T7" fmla="*/ 2119 h 3391"/>
              <a:gd name="T8" fmla="*/ 1735 w 5024"/>
              <a:gd name="T9" fmla="*/ 2151 h 3391"/>
              <a:gd name="T10" fmla="*/ 1792 w 5024"/>
              <a:gd name="T11" fmla="*/ 2151 h 3391"/>
              <a:gd name="T12" fmla="*/ 1849 w 5024"/>
              <a:gd name="T13" fmla="*/ 2183 h 3391"/>
              <a:gd name="T14" fmla="*/ 1964 w 5024"/>
              <a:gd name="T15" fmla="*/ 2159 h 3391"/>
              <a:gd name="T16" fmla="*/ 2086 w 5024"/>
              <a:gd name="T17" fmla="*/ 2222 h 3391"/>
              <a:gd name="T18" fmla="*/ 2136 w 5024"/>
              <a:gd name="T19" fmla="*/ 2349 h 3391"/>
              <a:gd name="T20" fmla="*/ 2217 w 5024"/>
              <a:gd name="T21" fmla="*/ 2429 h 3391"/>
              <a:gd name="T22" fmla="*/ 2291 w 5024"/>
              <a:gd name="T23" fmla="*/ 2492 h 3391"/>
              <a:gd name="T24" fmla="*/ 2348 w 5024"/>
              <a:gd name="T25" fmla="*/ 2588 h 3391"/>
              <a:gd name="T26" fmla="*/ 2471 w 5024"/>
              <a:gd name="T27" fmla="*/ 2675 h 3391"/>
              <a:gd name="T28" fmla="*/ 2528 w 5024"/>
              <a:gd name="T29" fmla="*/ 2762 h 3391"/>
              <a:gd name="T30" fmla="*/ 2414 w 5024"/>
              <a:gd name="T31" fmla="*/ 2802 h 3391"/>
              <a:gd name="T32" fmla="*/ 2307 w 5024"/>
              <a:gd name="T33" fmla="*/ 2794 h 3391"/>
              <a:gd name="T34" fmla="*/ 2226 w 5024"/>
              <a:gd name="T35" fmla="*/ 2794 h 3391"/>
              <a:gd name="T36" fmla="*/ 2250 w 5024"/>
              <a:gd name="T37" fmla="*/ 2977 h 3391"/>
              <a:gd name="T38" fmla="*/ 2201 w 5024"/>
              <a:gd name="T39" fmla="*/ 3128 h 3391"/>
              <a:gd name="T40" fmla="*/ 2185 w 5024"/>
              <a:gd name="T41" fmla="*/ 3247 h 3391"/>
              <a:gd name="T42" fmla="*/ 2078 w 5024"/>
              <a:gd name="T43" fmla="*/ 3279 h 3391"/>
              <a:gd name="T44" fmla="*/ 2569 w 5024"/>
              <a:gd name="T45" fmla="*/ 2985 h 3391"/>
              <a:gd name="T46" fmla="*/ 2986 w 5024"/>
              <a:gd name="T47" fmla="*/ 2620 h 3391"/>
              <a:gd name="T48" fmla="*/ 3461 w 5024"/>
              <a:gd name="T49" fmla="*/ 2810 h 3391"/>
              <a:gd name="T50" fmla="*/ 3755 w 5024"/>
              <a:gd name="T51" fmla="*/ 3223 h 3391"/>
              <a:gd name="T52" fmla="*/ 4221 w 5024"/>
              <a:gd name="T53" fmla="*/ 2897 h 3391"/>
              <a:gd name="T54" fmla="*/ 4262 w 5024"/>
              <a:gd name="T55" fmla="*/ 2620 h 3391"/>
              <a:gd name="T56" fmla="*/ 3772 w 5024"/>
              <a:gd name="T57" fmla="*/ 2532 h 3391"/>
              <a:gd name="T58" fmla="*/ 3796 w 5024"/>
              <a:gd name="T59" fmla="*/ 2469 h 3391"/>
              <a:gd name="T60" fmla="*/ 4320 w 5024"/>
              <a:gd name="T61" fmla="*/ 2024 h 3391"/>
              <a:gd name="T62" fmla="*/ 4680 w 5024"/>
              <a:gd name="T63" fmla="*/ 1643 h 3391"/>
              <a:gd name="T64" fmla="*/ 4999 w 5024"/>
              <a:gd name="T65" fmla="*/ 1238 h 3391"/>
              <a:gd name="T66" fmla="*/ 4860 w 5024"/>
              <a:gd name="T67" fmla="*/ 833 h 3391"/>
              <a:gd name="T68" fmla="*/ 4770 w 5024"/>
              <a:gd name="T69" fmla="*/ 523 h 3391"/>
              <a:gd name="T70" fmla="*/ 4426 w 5024"/>
              <a:gd name="T71" fmla="*/ 555 h 3391"/>
              <a:gd name="T72" fmla="*/ 4091 w 5024"/>
              <a:gd name="T73" fmla="*/ 587 h 3391"/>
              <a:gd name="T74" fmla="*/ 3739 w 5024"/>
              <a:gd name="T75" fmla="*/ 642 h 3391"/>
              <a:gd name="T76" fmla="*/ 3469 w 5024"/>
              <a:gd name="T77" fmla="*/ 682 h 3391"/>
              <a:gd name="T78" fmla="*/ 3093 w 5024"/>
              <a:gd name="T79" fmla="*/ 396 h 3391"/>
              <a:gd name="T80" fmla="*/ 2953 w 5024"/>
              <a:gd name="T81" fmla="*/ 207 h 3391"/>
              <a:gd name="T82" fmla="*/ 2561 w 5024"/>
              <a:gd name="T83" fmla="*/ 64 h 3391"/>
              <a:gd name="T84" fmla="*/ 2209 w 5024"/>
              <a:gd name="T85" fmla="*/ 285 h 3391"/>
              <a:gd name="T86" fmla="*/ 1988 w 5024"/>
              <a:gd name="T87" fmla="*/ 674 h 3391"/>
              <a:gd name="T88" fmla="*/ 1743 w 5024"/>
              <a:gd name="T89" fmla="*/ 730 h 3391"/>
              <a:gd name="T90" fmla="*/ 1506 w 5024"/>
              <a:gd name="T91" fmla="*/ 817 h 3391"/>
              <a:gd name="T92" fmla="*/ 1219 w 5024"/>
              <a:gd name="T93" fmla="*/ 833 h 3391"/>
              <a:gd name="T94" fmla="*/ 720 w 5024"/>
              <a:gd name="T95" fmla="*/ 817 h 3391"/>
              <a:gd name="T96" fmla="*/ 328 w 5024"/>
              <a:gd name="T97" fmla="*/ 904 h 3391"/>
              <a:gd name="T98" fmla="*/ 139 w 5024"/>
              <a:gd name="T99" fmla="*/ 1047 h 3391"/>
              <a:gd name="T100" fmla="*/ 262 w 5024"/>
              <a:gd name="T101" fmla="*/ 1238 h 3391"/>
              <a:gd name="T102" fmla="*/ 377 w 5024"/>
              <a:gd name="T103" fmla="*/ 1444 h 3391"/>
              <a:gd name="T104" fmla="*/ 238 w 5024"/>
              <a:gd name="T105" fmla="*/ 1675 h 3391"/>
              <a:gd name="T106" fmla="*/ 115 w 5024"/>
              <a:gd name="T107" fmla="*/ 2072 h 3391"/>
              <a:gd name="T108" fmla="*/ 131 w 5024"/>
              <a:gd name="T109" fmla="*/ 2175 h 3391"/>
              <a:gd name="T110" fmla="*/ 49 w 5024"/>
              <a:gd name="T111" fmla="*/ 2215 h 3391"/>
              <a:gd name="T112" fmla="*/ 33 w 5024"/>
              <a:gd name="T113" fmla="*/ 2318 h 3391"/>
              <a:gd name="T114" fmla="*/ 8 w 5024"/>
              <a:gd name="T115" fmla="*/ 2429 h 3391"/>
              <a:gd name="T116" fmla="*/ 66 w 5024"/>
              <a:gd name="T117" fmla="*/ 2469 h 3391"/>
              <a:gd name="T118" fmla="*/ 278 w 5024"/>
              <a:gd name="T119" fmla="*/ 2612 h 3391"/>
              <a:gd name="T120" fmla="*/ 737 w 5024"/>
              <a:gd name="T121" fmla="*/ 2556 h 3391"/>
              <a:gd name="T122" fmla="*/ 1080 w 5024"/>
              <a:gd name="T123" fmla="*/ 2461 h 3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024" h="3391">
                <a:moveTo>
                  <a:pt x="1154" y="2421"/>
                </a:moveTo>
                <a:cubicBezTo>
                  <a:pt x="1162" y="2421"/>
                  <a:pt x="1186" y="2381"/>
                  <a:pt x="1211" y="2381"/>
                </a:cubicBezTo>
                <a:cubicBezTo>
                  <a:pt x="1227" y="2373"/>
                  <a:pt x="1219" y="2334"/>
                  <a:pt x="1227" y="2318"/>
                </a:cubicBezTo>
                <a:cubicBezTo>
                  <a:pt x="1236" y="2302"/>
                  <a:pt x="1276" y="2270"/>
                  <a:pt x="1301" y="2262"/>
                </a:cubicBezTo>
                <a:lnTo>
                  <a:pt x="1309" y="2262"/>
                </a:lnTo>
                <a:lnTo>
                  <a:pt x="1309" y="2246"/>
                </a:lnTo>
                <a:cubicBezTo>
                  <a:pt x="1309" y="2246"/>
                  <a:pt x="1334" y="2238"/>
                  <a:pt x="1334" y="2230"/>
                </a:cubicBezTo>
                <a:cubicBezTo>
                  <a:pt x="1342" y="2230"/>
                  <a:pt x="1342" y="2238"/>
                  <a:pt x="1342" y="2238"/>
                </a:cubicBezTo>
                <a:cubicBezTo>
                  <a:pt x="1342" y="2238"/>
                  <a:pt x="1350" y="2246"/>
                  <a:pt x="1358" y="2246"/>
                </a:cubicBezTo>
                <a:lnTo>
                  <a:pt x="1366" y="2238"/>
                </a:lnTo>
                <a:lnTo>
                  <a:pt x="1366" y="2222"/>
                </a:lnTo>
                <a:cubicBezTo>
                  <a:pt x="1358" y="2214"/>
                  <a:pt x="1358" y="2207"/>
                  <a:pt x="1358" y="2207"/>
                </a:cubicBezTo>
                <a:lnTo>
                  <a:pt x="1366" y="2207"/>
                </a:lnTo>
                <a:lnTo>
                  <a:pt x="1375" y="2199"/>
                </a:lnTo>
                <a:lnTo>
                  <a:pt x="1391" y="2207"/>
                </a:lnTo>
                <a:lnTo>
                  <a:pt x="1399" y="2207"/>
                </a:lnTo>
                <a:cubicBezTo>
                  <a:pt x="1407" y="2214"/>
                  <a:pt x="1416" y="2199"/>
                  <a:pt x="1416" y="2199"/>
                </a:cubicBezTo>
                <a:lnTo>
                  <a:pt x="1424" y="2191"/>
                </a:lnTo>
                <a:lnTo>
                  <a:pt x="1424" y="2183"/>
                </a:lnTo>
                <a:lnTo>
                  <a:pt x="1473" y="2183"/>
                </a:lnTo>
                <a:lnTo>
                  <a:pt x="1489" y="2175"/>
                </a:lnTo>
                <a:lnTo>
                  <a:pt x="1497" y="2167"/>
                </a:lnTo>
                <a:lnTo>
                  <a:pt x="1497" y="2151"/>
                </a:lnTo>
                <a:cubicBezTo>
                  <a:pt x="1497" y="2143"/>
                  <a:pt x="1514" y="2143"/>
                  <a:pt x="1514" y="2143"/>
                </a:cubicBezTo>
                <a:cubicBezTo>
                  <a:pt x="1522" y="2143"/>
                  <a:pt x="1522" y="2151"/>
                  <a:pt x="1522" y="2151"/>
                </a:cubicBezTo>
                <a:lnTo>
                  <a:pt x="1530" y="2143"/>
                </a:lnTo>
                <a:cubicBezTo>
                  <a:pt x="1530" y="2135"/>
                  <a:pt x="1538" y="2135"/>
                  <a:pt x="1538" y="2135"/>
                </a:cubicBezTo>
                <a:cubicBezTo>
                  <a:pt x="1538" y="2135"/>
                  <a:pt x="1555" y="2127"/>
                  <a:pt x="1555" y="2119"/>
                </a:cubicBezTo>
                <a:cubicBezTo>
                  <a:pt x="1563" y="2111"/>
                  <a:pt x="1563" y="2119"/>
                  <a:pt x="1563" y="2103"/>
                </a:cubicBezTo>
                <a:cubicBezTo>
                  <a:pt x="1563" y="2095"/>
                  <a:pt x="1571" y="2103"/>
                  <a:pt x="1571" y="2111"/>
                </a:cubicBezTo>
                <a:lnTo>
                  <a:pt x="1579" y="2119"/>
                </a:lnTo>
                <a:lnTo>
                  <a:pt x="1596" y="2119"/>
                </a:lnTo>
                <a:cubicBezTo>
                  <a:pt x="1604" y="2127"/>
                  <a:pt x="1604" y="2111"/>
                  <a:pt x="1620" y="2111"/>
                </a:cubicBezTo>
                <a:cubicBezTo>
                  <a:pt x="1636" y="2111"/>
                  <a:pt x="1628" y="2111"/>
                  <a:pt x="1636" y="2119"/>
                </a:cubicBezTo>
                <a:lnTo>
                  <a:pt x="1653" y="2119"/>
                </a:lnTo>
                <a:lnTo>
                  <a:pt x="1661" y="2127"/>
                </a:lnTo>
                <a:cubicBezTo>
                  <a:pt x="1661" y="2127"/>
                  <a:pt x="1669" y="2127"/>
                  <a:pt x="1677" y="2135"/>
                </a:cubicBezTo>
                <a:cubicBezTo>
                  <a:pt x="1677" y="2143"/>
                  <a:pt x="1694" y="2143"/>
                  <a:pt x="1694" y="2143"/>
                </a:cubicBezTo>
                <a:lnTo>
                  <a:pt x="1726" y="2143"/>
                </a:lnTo>
                <a:lnTo>
                  <a:pt x="1735" y="2151"/>
                </a:lnTo>
                <a:cubicBezTo>
                  <a:pt x="1735" y="2151"/>
                  <a:pt x="1735" y="2167"/>
                  <a:pt x="1743" y="2167"/>
                </a:cubicBezTo>
                <a:cubicBezTo>
                  <a:pt x="1743" y="2175"/>
                  <a:pt x="1743" y="2175"/>
                  <a:pt x="1751" y="2175"/>
                </a:cubicBezTo>
                <a:cubicBezTo>
                  <a:pt x="1751" y="2175"/>
                  <a:pt x="1759" y="2159"/>
                  <a:pt x="1759" y="2151"/>
                </a:cubicBezTo>
                <a:lnTo>
                  <a:pt x="1767" y="2159"/>
                </a:lnTo>
                <a:cubicBezTo>
                  <a:pt x="1767" y="2159"/>
                  <a:pt x="1767" y="2175"/>
                  <a:pt x="1776" y="2175"/>
                </a:cubicBezTo>
                <a:cubicBezTo>
                  <a:pt x="1776" y="2167"/>
                  <a:pt x="1784" y="2167"/>
                  <a:pt x="1784" y="2167"/>
                </a:cubicBezTo>
                <a:cubicBezTo>
                  <a:pt x="1792" y="2167"/>
                  <a:pt x="1784" y="2159"/>
                  <a:pt x="1784" y="2159"/>
                </a:cubicBezTo>
                <a:lnTo>
                  <a:pt x="1792" y="2151"/>
                </a:lnTo>
                <a:lnTo>
                  <a:pt x="1816" y="2151"/>
                </a:lnTo>
                <a:cubicBezTo>
                  <a:pt x="1825" y="2151"/>
                  <a:pt x="1825" y="2167"/>
                  <a:pt x="1825" y="2167"/>
                </a:cubicBezTo>
                <a:lnTo>
                  <a:pt x="1816" y="2183"/>
                </a:lnTo>
                <a:cubicBezTo>
                  <a:pt x="1816" y="2183"/>
                  <a:pt x="1808" y="2191"/>
                  <a:pt x="1808" y="2199"/>
                </a:cubicBezTo>
                <a:lnTo>
                  <a:pt x="1816" y="2191"/>
                </a:lnTo>
                <a:cubicBezTo>
                  <a:pt x="1833" y="2191"/>
                  <a:pt x="1825" y="2183"/>
                  <a:pt x="1825" y="2183"/>
                </a:cubicBezTo>
                <a:lnTo>
                  <a:pt x="1833" y="2167"/>
                </a:lnTo>
                <a:cubicBezTo>
                  <a:pt x="1833" y="2167"/>
                  <a:pt x="1849" y="2175"/>
                  <a:pt x="1849" y="2183"/>
                </a:cubicBezTo>
                <a:lnTo>
                  <a:pt x="1849" y="2191"/>
                </a:lnTo>
                <a:cubicBezTo>
                  <a:pt x="1849" y="2199"/>
                  <a:pt x="1857" y="2199"/>
                  <a:pt x="1857" y="2207"/>
                </a:cubicBezTo>
                <a:cubicBezTo>
                  <a:pt x="1866" y="2214"/>
                  <a:pt x="1857" y="2207"/>
                  <a:pt x="1857" y="2207"/>
                </a:cubicBezTo>
                <a:cubicBezTo>
                  <a:pt x="1857" y="2199"/>
                  <a:pt x="1866" y="2183"/>
                  <a:pt x="1866" y="2183"/>
                </a:cubicBezTo>
                <a:lnTo>
                  <a:pt x="1874" y="2167"/>
                </a:lnTo>
                <a:lnTo>
                  <a:pt x="1939" y="2167"/>
                </a:lnTo>
                <a:cubicBezTo>
                  <a:pt x="1972" y="2167"/>
                  <a:pt x="1947" y="2159"/>
                  <a:pt x="1947" y="2159"/>
                </a:cubicBezTo>
                <a:lnTo>
                  <a:pt x="1964" y="2159"/>
                </a:lnTo>
                <a:lnTo>
                  <a:pt x="1972" y="2191"/>
                </a:lnTo>
                <a:cubicBezTo>
                  <a:pt x="1972" y="2191"/>
                  <a:pt x="1988" y="2207"/>
                  <a:pt x="1996" y="2207"/>
                </a:cubicBezTo>
                <a:cubicBezTo>
                  <a:pt x="2005" y="2214"/>
                  <a:pt x="2005" y="2214"/>
                  <a:pt x="2021" y="2222"/>
                </a:cubicBezTo>
                <a:cubicBezTo>
                  <a:pt x="2046" y="2222"/>
                  <a:pt x="2037" y="2222"/>
                  <a:pt x="2037" y="2222"/>
                </a:cubicBezTo>
                <a:cubicBezTo>
                  <a:pt x="2046" y="2222"/>
                  <a:pt x="2046" y="2207"/>
                  <a:pt x="2054" y="2199"/>
                </a:cubicBezTo>
                <a:cubicBezTo>
                  <a:pt x="2054" y="2191"/>
                  <a:pt x="2062" y="2191"/>
                  <a:pt x="2062" y="2191"/>
                </a:cubicBezTo>
                <a:lnTo>
                  <a:pt x="2078" y="2207"/>
                </a:lnTo>
                <a:cubicBezTo>
                  <a:pt x="2086" y="2214"/>
                  <a:pt x="2086" y="2222"/>
                  <a:pt x="2086" y="2222"/>
                </a:cubicBezTo>
                <a:lnTo>
                  <a:pt x="2111" y="2230"/>
                </a:lnTo>
                <a:lnTo>
                  <a:pt x="2111" y="2238"/>
                </a:lnTo>
                <a:lnTo>
                  <a:pt x="2111" y="2262"/>
                </a:lnTo>
                <a:lnTo>
                  <a:pt x="2127" y="2270"/>
                </a:lnTo>
                <a:lnTo>
                  <a:pt x="2119" y="2286"/>
                </a:lnTo>
                <a:cubicBezTo>
                  <a:pt x="2119" y="2286"/>
                  <a:pt x="2127" y="2302"/>
                  <a:pt x="2127" y="2310"/>
                </a:cubicBezTo>
                <a:lnTo>
                  <a:pt x="2136" y="2326"/>
                </a:lnTo>
                <a:lnTo>
                  <a:pt x="2136" y="2349"/>
                </a:lnTo>
                <a:lnTo>
                  <a:pt x="2127" y="2365"/>
                </a:lnTo>
                <a:lnTo>
                  <a:pt x="2136" y="2373"/>
                </a:lnTo>
                <a:cubicBezTo>
                  <a:pt x="2136" y="2373"/>
                  <a:pt x="2136" y="2397"/>
                  <a:pt x="2144" y="2405"/>
                </a:cubicBezTo>
                <a:cubicBezTo>
                  <a:pt x="2152" y="2421"/>
                  <a:pt x="2160" y="2397"/>
                  <a:pt x="2160" y="2397"/>
                </a:cubicBezTo>
                <a:lnTo>
                  <a:pt x="2176" y="2397"/>
                </a:lnTo>
                <a:lnTo>
                  <a:pt x="2193" y="2421"/>
                </a:lnTo>
                <a:lnTo>
                  <a:pt x="2201" y="2421"/>
                </a:lnTo>
                <a:lnTo>
                  <a:pt x="2217" y="2429"/>
                </a:lnTo>
                <a:lnTo>
                  <a:pt x="2226" y="2453"/>
                </a:lnTo>
                <a:lnTo>
                  <a:pt x="2242" y="2445"/>
                </a:lnTo>
                <a:lnTo>
                  <a:pt x="2250" y="2421"/>
                </a:lnTo>
                <a:lnTo>
                  <a:pt x="2266" y="2429"/>
                </a:lnTo>
                <a:lnTo>
                  <a:pt x="2283" y="2429"/>
                </a:lnTo>
                <a:lnTo>
                  <a:pt x="2283" y="2461"/>
                </a:lnTo>
                <a:cubicBezTo>
                  <a:pt x="2283" y="2461"/>
                  <a:pt x="2291" y="2469"/>
                  <a:pt x="2291" y="2476"/>
                </a:cubicBezTo>
                <a:lnTo>
                  <a:pt x="2291" y="2492"/>
                </a:lnTo>
                <a:lnTo>
                  <a:pt x="2299" y="2508"/>
                </a:lnTo>
                <a:lnTo>
                  <a:pt x="2275" y="2516"/>
                </a:lnTo>
                <a:lnTo>
                  <a:pt x="2291" y="2524"/>
                </a:lnTo>
                <a:lnTo>
                  <a:pt x="2316" y="2524"/>
                </a:lnTo>
                <a:cubicBezTo>
                  <a:pt x="2324" y="2524"/>
                  <a:pt x="2324" y="2548"/>
                  <a:pt x="2324" y="2548"/>
                </a:cubicBezTo>
                <a:cubicBezTo>
                  <a:pt x="2324" y="2548"/>
                  <a:pt x="2324" y="2556"/>
                  <a:pt x="2316" y="2564"/>
                </a:cubicBezTo>
                <a:lnTo>
                  <a:pt x="2316" y="2580"/>
                </a:lnTo>
                <a:cubicBezTo>
                  <a:pt x="2324" y="2580"/>
                  <a:pt x="2340" y="2588"/>
                  <a:pt x="2348" y="2588"/>
                </a:cubicBezTo>
                <a:lnTo>
                  <a:pt x="2381" y="2588"/>
                </a:lnTo>
                <a:cubicBezTo>
                  <a:pt x="2381" y="2588"/>
                  <a:pt x="2389" y="2596"/>
                  <a:pt x="2397" y="2596"/>
                </a:cubicBezTo>
                <a:cubicBezTo>
                  <a:pt x="2397" y="2588"/>
                  <a:pt x="2414" y="2588"/>
                  <a:pt x="2414" y="2588"/>
                </a:cubicBezTo>
                <a:lnTo>
                  <a:pt x="2430" y="2604"/>
                </a:lnTo>
                <a:lnTo>
                  <a:pt x="2446" y="2596"/>
                </a:lnTo>
                <a:lnTo>
                  <a:pt x="2446" y="2611"/>
                </a:lnTo>
                <a:lnTo>
                  <a:pt x="2463" y="2643"/>
                </a:lnTo>
                <a:cubicBezTo>
                  <a:pt x="2471" y="2651"/>
                  <a:pt x="2471" y="2667"/>
                  <a:pt x="2471" y="2675"/>
                </a:cubicBezTo>
                <a:cubicBezTo>
                  <a:pt x="2471" y="2683"/>
                  <a:pt x="2479" y="2699"/>
                  <a:pt x="2479" y="2699"/>
                </a:cubicBezTo>
                <a:cubicBezTo>
                  <a:pt x="2479" y="2699"/>
                  <a:pt x="2471" y="2699"/>
                  <a:pt x="2463" y="2707"/>
                </a:cubicBezTo>
                <a:cubicBezTo>
                  <a:pt x="2455" y="2715"/>
                  <a:pt x="2471" y="2723"/>
                  <a:pt x="2471" y="2723"/>
                </a:cubicBezTo>
                <a:lnTo>
                  <a:pt x="2487" y="2723"/>
                </a:lnTo>
                <a:cubicBezTo>
                  <a:pt x="2487" y="2723"/>
                  <a:pt x="2504" y="2739"/>
                  <a:pt x="2504" y="2746"/>
                </a:cubicBezTo>
                <a:cubicBezTo>
                  <a:pt x="2512" y="2754"/>
                  <a:pt x="2528" y="2746"/>
                  <a:pt x="2536" y="2746"/>
                </a:cubicBezTo>
                <a:cubicBezTo>
                  <a:pt x="2545" y="2739"/>
                  <a:pt x="2561" y="2746"/>
                  <a:pt x="2561" y="2754"/>
                </a:cubicBezTo>
                <a:cubicBezTo>
                  <a:pt x="2561" y="2754"/>
                  <a:pt x="2536" y="2762"/>
                  <a:pt x="2528" y="2762"/>
                </a:cubicBezTo>
                <a:cubicBezTo>
                  <a:pt x="2520" y="2770"/>
                  <a:pt x="2496" y="2770"/>
                  <a:pt x="2496" y="2770"/>
                </a:cubicBezTo>
                <a:lnTo>
                  <a:pt x="2487" y="2794"/>
                </a:lnTo>
                <a:lnTo>
                  <a:pt x="2471" y="2802"/>
                </a:lnTo>
                <a:lnTo>
                  <a:pt x="2463" y="2778"/>
                </a:lnTo>
                <a:lnTo>
                  <a:pt x="2430" y="2754"/>
                </a:lnTo>
                <a:lnTo>
                  <a:pt x="2430" y="2778"/>
                </a:lnTo>
                <a:lnTo>
                  <a:pt x="2414" y="2786"/>
                </a:lnTo>
                <a:lnTo>
                  <a:pt x="2414" y="2802"/>
                </a:lnTo>
                <a:cubicBezTo>
                  <a:pt x="2414" y="2810"/>
                  <a:pt x="2406" y="2810"/>
                  <a:pt x="2406" y="2810"/>
                </a:cubicBezTo>
                <a:lnTo>
                  <a:pt x="2389" y="2802"/>
                </a:lnTo>
                <a:lnTo>
                  <a:pt x="2365" y="2802"/>
                </a:lnTo>
                <a:cubicBezTo>
                  <a:pt x="2356" y="2802"/>
                  <a:pt x="2356" y="2786"/>
                  <a:pt x="2356" y="2786"/>
                </a:cubicBezTo>
                <a:lnTo>
                  <a:pt x="2348" y="2794"/>
                </a:lnTo>
                <a:cubicBezTo>
                  <a:pt x="2348" y="2794"/>
                  <a:pt x="2348" y="2802"/>
                  <a:pt x="2340" y="2810"/>
                </a:cubicBezTo>
                <a:cubicBezTo>
                  <a:pt x="2340" y="2818"/>
                  <a:pt x="2340" y="2810"/>
                  <a:pt x="2324" y="2810"/>
                </a:cubicBezTo>
                <a:cubicBezTo>
                  <a:pt x="2316" y="2818"/>
                  <a:pt x="2316" y="2802"/>
                  <a:pt x="2307" y="2794"/>
                </a:cubicBezTo>
                <a:cubicBezTo>
                  <a:pt x="2307" y="2778"/>
                  <a:pt x="2307" y="2794"/>
                  <a:pt x="2299" y="2794"/>
                </a:cubicBezTo>
                <a:cubicBezTo>
                  <a:pt x="2291" y="2794"/>
                  <a:pt x="2307" y="2818"/>
                  <a:pt x="2307" y="2818"/>
                </a:cubicBezTo>
                <a:lnTo>
                  <a:pt x="2299" y="2826"/>
                </a:lnTo>
                <a:cubicBezTo>
                  <a:pt x="2299" y="2826"/>
                  <a:pt x="2299" y="2842"/>
                  <a:pt x="2283" y="2850"/>
                </a:cubicBezTo>
                <a:cubicBezTo>
                  <a:pt x="2275" y="2850"/>
                  <a:pt x="2283" y="2834"/>
                  <a:pt x="2283" y="2834"/>
                </a:cubicBezTo>
                <a:lnTo>
                  <a:pt x="2283" y="2802"/>
                </a:lnTo>
                <a:lnTo>
                  <a:pt x="2266" y="2762"/>
                </a:lnTo>
                <a:cubicBezTo>
                  <a:pt x="2266" y="2762"/>
                  <a:pt x="2234" y="2794"/>
                  <a:pt x="2226" y="2794"/>
                </a:cubicBezTo>
                <a:cubicBezTo>
                  <a:pt x="2226" y="2802"/>
                  <a:pt x="2209" y="2834"/>
                  <a:pt x="2201" y="2834"/>
                </a:cubicBezTo>
                <a:lnTo>
                  <a:pt x="2201" y="2858"/>
                </a:lnTo>
                <a:lnTo>
                  <a:pt x="2217" y="2882"/>
                </a:lnTo>
                <a:lnTo>
                  <a:pt x="2217" y="2905"/>
                </a:lnTo>
                <a:lnTo>
                  <a:pt x="2234" y="2921"/>
                </a:lnTo>
                <a:cubicBezTo>
                  <a:pt x="2234" y="2921"/>
                  <a:pt x="2250" y="2921"/>
                  <a:pt x="2258" y="2929"/>
                </a:cubicBezTo>
                <a:cubicBezTo>
                  <a:pt x="2266" y="2929"/>
                  <a:pt x="2258" y="2945"/>
                  <a:pt x="2258" y="2945"/>
                </a:cubicBezTo>
                <a:lnTo>
                  <a:pt x="2250" y="2977"/>
                </a:lnTo>
                <a:cubicBezTo>
                  <a:pt x="2250" y="2977"/>
                  <a:pt x="2258" y="2985"/>
                  <a:pt x="2266" y="2993"/>
                </a:cubicBezTo>
                <a:cubicBezTo>
                  <a:pt x="2266" y="3001"/>
                  <a:pt x="2250" y="3016"/>
                  <a:pt x="2250" y="3016"/>
                </a:cubicBezTo>
                <a:cubicBezTo>
                  <a:pt x="2242" y="3016"/>
                  <a:pt x="2217" y="3040"/>
                  <a:pt x="2217" y="3040"/>
                </a:cubicBezTo>
                <a:cubicBezTo>
                  <a:pt x="2217" y="3040"/>
                  <a:pt x="2209" y="3048"/>
                  <a:pt x="2201" y="3048"/>
                </a:cubicBezTo>
                <a:cubicBezTo>
                  <a:pt x="2193" y="3048"/>
                  <a:pt x="2209" y="3072"/>
                  <a:pt x="2209" y="3072"/>
                </a:cubicBezTo>
                <a:lnTo>
                  <a:pt x="2217" y="3096"/>
                </a:lnTo>
                <a:lnTo>
                  <a:pt x="2209" y="3104"/>
                </a:lnTo>
                <a:cubicBezTo>
                  <a:pt x="2201" y="3112"/>
                  <a:pt x="2201" y="3128"/>
                  <a:pt x="2201" y="3128"/>
                </a:cubicBezTo>
                <a:lnTo>
                  <a:pt x="2185" y="3128"/>
                </a:lnTo>
                <a:lnTo>
                  <a:pt x="2176" y="3144"/>
                </a:lnTo>
                <a:cubicBezTo>
                  <a:pt x="2176" y="3144"/>
                  <a:pt x="2176" y="3167"/>
                  <a:pt x="2168" y="3167"/>
                </a:cubicBezTo>
                <a:cubicBezTo>
                  <a:pt x="2160" y="3167"/>
                  <a:pt x="2168" y="3183"/>
                  <a:pt x="2168" y="3183"/>
                </a:cubicBezTo>
                <a:lnTo>
                  <a:pt x="2160" y="3199"/>
                </a:lnTo>
                <a:lnTo>
                  <a:pt x="2193" y="3215"/>
                </a:lnTo>
                <a:lnTo>
                  <a:pt x="2185" y="3231"/>
                </a:lnTo>
                <a:lnTo>
                  <a:pt x="2185" y="3247"/>
                </a:lnTo>
                <a:lnTo>
                  <a:pt x="2193" y="3247"/>
                </a:lnTo>
                <a:cubicBezTo>
                  <a:pt x="2193" y="3247"/>
                  <a:pt x="2176" y="3255"/>
                  <a:pt x="2168" y="3255"/>
                </a:cubicBezTo>
                <a:cubicBezTo>
                  <a:pt x="2160" y="3263"/>
                  <a:pt x="2152" y="3255"/>
                  <a:pt x="2144" y="3263"/>
                </a:cubicBezTo>
                <a:cubicBezTo>
                  <a:pt x="2136" y="3263"/>
                  <a:pt x="2111" y="3271"/>
                  <a:pt x="2111" y="3271"/>
                </a:cubicBezTo>
                <a:lnTo>
                  <a:pt x="2103" y="3302"/>
                </a:lnTo>
                <a:lnTo>
                  <a:pt x="2086" y="3302"/>
                </a:lnTo>
                <a:lnTo>
                  <a:pt x="2086" y="3286"/>
                </a:lnTo>
                <a:lnTo>
                  <a:pt x="2078" y="3279"/>
                </a:lnTo>
                <a:lnTo>
                  <a:pt x="2078" y="3302"/>
                </a:lnTo>
                <a:lnTo>
                  <a:pt x="2160" y="3358"/>
                </a:lnTo>
                <a:lnTo>
                  <a:pt x="2299" y="3390"/>
                </a:lnTo>
                <a:lnTo>
                  <a:pt x="2332" y="3334"/>
                </a:lnTo>
                <a:cubicBezTo>
                  <a:pt x="2332" y="3334"/>
                  <a:pt x="2405" y="3207"/>
                  <a:pt x="2463" y="3215"/>
                </a:cubicBezTo>
                <a:cubicBezTo>
                  <a:pt x="2504" y="3223"/>
                  <a:pt x="2561" y="3239"/>
                  <a:pt x="2569" y="3239"/>
                </a:cubicBezTo>
                <a:cubicBezTo>
                  <a:pt x="2561" y="3191"/>
                  <a:pt x="2471" y="3112"/>
                  <a:pt x="2487" y="3096"/>
                </a:cubicBezTo>
                <a:cubicBezTo>
                  <a:pt x="2504" y="3072"/>
                  <a:pt x="2545" y="3017"/>
                  <a:pt x="2569" y="2985"/>
                </a:cubicBezTo>
                <a:cubicBezTo>
                  <a:pt x="2585" y="2953"/>
                  <a:pt x="2667" y="2929"/>
                  <a:pt x="2667" y="2929"/>
                </a:cubicBezTo>
                <a:lnTo>
                  <a:pt x="2733" y="2810"/>
                </a:lnTo>
                <a:cubicBezTo>
                  <a:pt x="2716" y="2627"/>
                  <a:pt x="2700" y="2580"/>
                  <a:pt x="2896" y="2556"/>
                </a:cubicBezTo>
                <a:cubicBezTo>
                  <a:pt x="2929" y="2548"/>
                  <a:pt x="2970" y="2524"/>
                  <a:pt x="2970" y="2524"/>
                </a:cubicBezTo>
                <a:lnTo>
                  <a:pt x="3035" y="2500"/>
                </a:lnTo>
                <a:lnTo>
                  <a:pt x="3158" y="2485"/>
                </a:lnTo>
                <a:lnTo>
                  <a:pt x="3060" y="2540"/>
                </a:lnTo>
                <a:lnTo>
                  <a:pt x="2986" y="2620"/>
                </a:lnTo>
                <a:lnTo>
                  <a:pt x="3084" y="2643"/>
                </a:lnTo>
                <a:cubicBezTo>
                  <a:pt x="3084" y="2643"/>
                  <a:pt x="3084" y="2715"/>
                  <a:pt x="3134" y="2699"/>
                </a:cubicBezTo>
                <a:cubicBezTo>
                  <a:pt x="3174" y="2683"/>
                  <a:pt x="3273" y="2643"/>
                  <a:pt x="3289" y="2643"/>
                </a:cubicBezTo>
                <a:cubicBezTo>
                  <a:pt x="3305" y="2635"/>
                  <a:pt x="3395" y="2612"/>
                  <a:pt x="3420" y="2612"/>
                </a:cubicBezTo>
                <a:cubicBezTo>
                  <a:pt x="3444" y="2612"/>
                  <a:pt x="3575" y="2596"/>
                  <a:pt x="3575" y="2596"/>
                </a:cubicBezTo>
                <a:lnTo>
                  <a:pt x="3592" y="2667"/>
                </a:lnTo>
                <a:lnTo>
                  <a:pt x="3534" y="2739"/>
                </a:lnTo>
                <a:lnTo>
                  <a:pt x="3461" y="2810"/>
                </a:lnTo>
                <a:lnTo>
                  <a:pt x="3346" y="2913"/>
                </a:lnTo>
                <a:cubicBezTo>
                  <a:pt x="3346" y="2913"/>
                  <a:pt x="3313" y="2969"/>
                  <a:pt x="3330" y="2977"/>
                </a:cubicBezTo>
                <a:cubicBezTo>
                  <a:pt x="3346" y="2985"/>
                  <a:pt x="3469" y="2969"/>
                  <a:pt x="3469" y="2969"/>
                </a:cubicBezTo>
                <a:lnTo>
                  <a:pt x="3608" y="2977"/>
                </a:lnTo>
                <a:cubicBezTo>
                  <a:pt x="3608" y="2977"/>
                  <a:pt x="3633" y="2985"/>
                  <a:pt x="3649" y="3032"/>
                </a:cubicBezTo>
                <a:cubicBezTo>
                  <a:pt x="3673" y="3088"/>
                  <a:pt x="3690" y="3112"/>
                  <a:pt x="3698" y="3128"/>
                </a:cubicBezTo>
                <a:cubicBezTo>
                  <a:pt x="3714" y="3151"/>
                  <a:pt x="3747" y="3199"/>
                  <a:pt x="3747" y="3199"/>
                </a:cubicBezTo>
                <a:cubicBezTo>
                  <a:pt x="3747" y="3199"/>
                  <a:pt x="3714" y="3231"/>
                  <a:pt x="3755" y="3223"/>
                </a:cubicBezTo>
                <a:cubicBezTo>
                  <a:pt x="3804" y="3223"/>
                  <a:pt x="3837" y="3215"/>
                  <a:pt x="3837" y="3215"/>
                </a:cubicBezTo>
                <a:cubicBezTo>
                  <a:pt x="3837" y="3215"/>
                  <a:pt x="3845" y="3167"/>
                  <a:pt x="3862" y="3151"/>
                </a:cubicBezTo>
                <a:cubicBezTo>
                  <a:pt x="3886" y="3144"/>
                  <a:pt x="3911" y="3120"/>
                  <a:pt x="3911" y="3120"/>
                </a:cubicBezTo>
                <a:cubicBezTo>
                  <a:pt x="3911" y="3120"/>
                  <a:pt x="3902" y="3072"/>
                  <a:pt x="3927" y="3056"/>
                </a:cubicBezTo>
                <a:cubicBezTo>
                  <a:pt x="3952" y="3048"/>
                  <a:pt x="3984" y="3040"/>
                  <a:pt x="4017" y="3032"/>
                </a:cubicBezTo>
                <a:cubicBezTo>
                  <a:pt x="4050" y="3016"/>
                  <a:pt x="4082" y="2961"/>
                  <a:pt x="4082" y="2961"/>
                </a:cubicBezTo>
                <a:lnTo>
                  <a:pt x="4123" y="2929"/>
                </a:lnTo>
                <a:lnTo>
                  <a:pt x="4221" y="2897"/>
                </a:lnTo>
                <a:lnTo>
                  <a:pt x="4213" y="2818"/>
                </a:lnTo>
                <a:cubicBezTo>
                  <a:pt x="4213" y="2818"/>
                  <a:pt x="4221" y="2802"/>
                  <a:pt x="4246" y="2802"/>
                </a:cubicBezTo>
                <a:cubicBezTo>
                  <a:pt x="4262" y="2794"/>
                  <a:pt x="4434" y="2739"/>
                  <a:pt x="4434" y="2739"/>
                </a:cubicBezTo>
                <a:lnTo>
                  <a:pt x="4483" y="2659"/>
                </a:lnTo>
                <a:lnTo>
                  <a:pt x="4483" y="2580"/>
                </a:lnTo>
                <a:cubicBezTo>
                  <a:pt x="4483" y="2580"/>
                  <a:pt x="4500" y="2532"/>
                  <a:pt x="4467" y="2532"/>
                </a:cubicBezTo>
                <a:cubicBezTo>
                  <a:pt x="4434" y="2532"/>
                  <a:pt x="4352" y="2612"/>
                  <a:pt x="4352" y="2612"/>
                </a:cubicBezTo>
                <a:lnTo>
                  <a:pt x="4262" y="2620"/>
                </a:lnTo>
                <a:cubicBezTo>
                  <a:pt x="4262" y="2620"/>
                  <a:pt x="4221" y="2691"/>
                  <a:pt x="4205" y="2691"/>
                </a:cubicBezTo>
                <a:cubicBezTo>
                  <a:pt x="4189" y="2699"/>
                  <a:pt x="4140" y="2715"/>
                  <a:pt x="4123" y="2707"/>
                </a:cubicBezTo>
                <a:cubicBezTo>
                  <a:pt x="4107" y="2707"/>
                  <a:pt x="4131" y="2794"/>
                  <a:pt x="4074" y="2691"/>
                </a:cubicBezTo>
                <a:cubicBezTo>
                  <a:pt x="4017" y="2588"/>
                  <a:pt x="3992" y="2588"/>
                  <a:pt x="3992" y="2588"/>
                </a:cubicBezTo>
                <a:lnTo>
                  <a:pt x="3935" y="2588"/>
                </a:lnTo>
                <a:cubicBezTo>
                  <a:pt x="3935" y="2588"/>
                  <a:pt x="3886" y="2612"/>
                  <a:pt x="3878" y="2596"/>
                </a:cubicBezTo>
                <a:cubicBezTo>
                  <a:pt x="3878" y="2580"/>
                  <a:pt x="3853" y="2532"/>
                  <a:pt x="3853" y="2532"/>
                </a:cubicBezTo>
                <a:lnTo>
                  <a:pt x="3772" y="2532"/>
                </a:lnTo>
                <a:lnTo>
                  <a:pt x="3739" y="2548"/>
                </a:lnTo>
                <a:lnTo>
                  <a:pt x="3616" y="2540"/>
                </a:lnTo>
                <a:lnTo>
                  <a:pt x="3567" y="2508"/>
                </a:lnTo>
                <a:lnTo>
                  <a:pt x="3633" y="2477"/>
                </a:lnTo>
                <a:cubicBezTo>
                  <a:pt x="3633" y="2477"/>
                  <a:pt x="3657" y="2500"/>
                  <a:pt x="3665" y="2500"/>
                </a:cubicBezTo>
                <a:cubicBezTo>
                  <a:pt x="3682" y="2492"/>
                  <a:pt x="3665" y="2469"/>
                  <a:pt x="3682" y="2461"/>
                </a:cubicBezTo>
                <a:cubicBezTo>
                  <a:pt x="3706" y="2453"/>
                  <a:pt x="3731" y="2429"/>
                  <a:pt x="3755" y="2445"/>
                </a:cubicBezTo>
                <a:cubicBezTo>
                  <a:pt x="3780" y="2453"/>
                  <a:pt x="3755" y="2500"/>
                  <a:pt x="3796" y="2469"/>
                </a:cubicBezTo>
                <a:cubicBezTo>
                  <a:pt x="3837" y="2437"/>
                  <a:pt x="3878" y="2445"/>
                  <a:pt x="3878" y="2445"/>
                </a:cubicBezTo>
                <a:lnTo>
                  <a:pt x="3927" y="2365"/>
                </a:lnTo>
                <a:lnTo>
                  <a:pt x="3960" y="2294"/>
                </a:lnTo>
                <a:cubicBezTo>
                  <a:pt x="3960" y="2294"/>
                  <a:pt x="3976" y="2302"/>
                  <a:pt x="3992" y="2310"/>
                </a:cubicBezTo>
                <a:cubicBezTo>
                  <a:pt x="4017" y="2310"/>
                  <a:pt x="4074" y="2215"/>
                  <a:pt x="4074" y="2215"/>
                </a:cubicBezTo>
                <a:cubicBezTo>
                  <a:pt x="4074" y="2215"/>
                  <a:pt x="4082" y="2119"/>
                  <a:pt x="4099" y="2119"/>
                </a:cubicBezTo>
                <a:cubicBezTo>
                  <a:pt x="4115" y="2111"/>
                  <a:pt x="4238" y="2072"/>
                  <a:pt x="4238" y="2072"/>
                </a:cubicBezTo>
                <a:lnTo>
                  <a:pt x="4320" y="2024"/>
                </a:lnTo>
                <a:cubicBezTo>
                  <a:pt x="4320" y="2024"/>
                  <a:pt x="4361" y="1968"/>
                  <a:pt x="4377" y="1960"/>
                </a:cubicBezTo>
                <a:cubicBezTo>
                  <a:pt x="4393" y="1960"/>
                  <a:pt x="4410" y="1929"/>
                  <a:pt x="4426" y="1889"/>
                </a:cubicBezTo>
                <a:cubicBezTo>
                  <a:pt x="4451" y="1857"/>
                  <a:pt x="4467" y="1833"/>
                  <a:pt x="4467" y="1833"/>
                </a:cubicBezTo>
                <a:cubicBezTo>
                  <a:pt x="4467" y="1833"/>
                  <a:pt x="4565" y="1810"/>
                  <a:pt x="4557" y="1802"/>
                </a:cubicBezTo>
                <a:cubicBezTo>
                  <a:pt x="4557" y="1786"/>
                  <a:pt x="4516" y="1754"/>
                  <a:pt x="4565" y="1754"/>
                </a:cubicBezTo>
                <a:cubicBezTo>
                  <a:pt x="4614" y="1754"/>
                  <a:pt x="4614" y="1754"/>
                  <a:pt x="4639" y="1738"/>
                </a:cubicBezTo>
                <a:cubicBezTo>
                  <a:pt x="4655" y="1730"/>
                  <a:pt x="4647" y="1722"/>
                  <a:pt x="4655" y="1698"/>
                </a:cubicBezTo>
                <a:cubicBezTo>
                  <a:pt x="4671" y="1683"/>
                  <a:pt x="4680" y="1659"/>
                  <a:pt x="4680" y="1643"/>
                </a:cubicBezTo>
                <a:cubicBezTo>
                  <a:pt x="4671" y="1627"/>
                  <a:pt x="4630" y="1563"/>
                  <a:pt x="4630" y="1548"/>
                </a:cubicBezTo>
                <a:cubicBezTo>
                  <a:pt x="4622" y="1524"/>
                  <a:pt x="4630" y="1476"/>
                  <a:pt x="4630" y="1476"/>
                </a:cubicBezTo>
                <a:cubicBezTo>
                  <a:pt x="4630" y="1476"/>
                  <a:pt x="4655" y="1468"/>
                  <a:pt x="4680" y="1460"/>
                </a:cubicBezTo>
                <a:cubicBezTo>
                  <a:pt x="4696" y="1444"/>
                  <a:pt x="4729" y="1389"/>
                  <a:pt x="4729" y="1389"/>
                </a:cubicBezTo>
                <a:lnTo>
                  <a:pt x="4737" y="1349"/>
                </a:lnTo>
                <a:cubicBezTo>
                  <a:pt x="4737" y="1349"/>
                  <a:pt x="4770" y="1325"/>
                  <a:pt x="4778" y="1325"/>
                </a:cubicBezTo>
                <a:cubicBezTo>
                  <a:pt x="4794" y="1317"/>
                  <a:pt x="4925" y="1270"/>
                  <a:pt x="4933" y="1270"/>
                </a:cubicBezTo>
                <a:cubicBezTo>
                  <a:pt x="4941" y="1270"/>
                  <a:pt x="5023" y="1278"/>
                  <a:pt x="4999" y="1238"/>
                </a:cubicBezTo>
                <a:cubicBezTo>
                  <a:pt x="4974" y="1206"/>
                  <a:pt x="4966" y="1190"/>
                  <a:pt x="4958" y="1166"/>
                </a:cubicBezTo>
                <a:cubicBezTo>
                  <a:pt x="4950" y="1143"/>
                  <a:pt x="4950" y="1087"/>
                  <a:pt x="4950" y="1079"/>
                </a:cubicBezTo>
                <a:cubicBezTo>
                  <a:pt x="4958" y="1071"/>
                  <a:pt x="5023" y="1047"/>
                  <a:pt x="4950" y="1039"/>
                </a:cubicBezTo>
                <a:cubicBezTo>
                  <a:pt x="4876" y="1031"/>
                  <a:pt x="4933" y="1008"/>
                  <a:pt x="4917" y="992"/>
                </a:cubicBezTo>
                <a:cubicBezTo>
                  <a:pt x="4892" y="976"/>
                  <a:pt x="4843" y="944"/>
                  <a:pt x="4843" y="944"/>
                </a:cubicBezTo>
                <a:lnTo>
                  <a:pt x="4819" y="944"/>
                </a:lnTo>
                <a:lnTo>
                  <a:pt x="4827" y="865"/>
                </a:lnTo>
                <a:cubicBezTo>
                  <a:pt x="4827" y="865"/>
                  <a:pt x="4851" y="833"/>
                  <a:pt x="4860" y="833"/>
                </a:cubicBezTo>
                <a:cubicBezTo>
                  <a:pt x="4868" y="825"/>
                  <a:pt x="4876" y="793"/>
                  <a:pt x="4860" y="793"/>
                </a:cubicBezTo>
                <a:cubicBezTo>
                  <a:pt x="4843" y="801"/>
                  <a:pt x="4794" y="809"/>
                  <a:pt x="4794" y="809"/>
                </a:cubicBezTo>
                <a:cubicBezTo>
                  <a:pt x="4794" y="809"/>
                  <a:pt x="4753" y="809"/>
                  <a:pt x="4761" y="793"/>
                </a:cubicBezTo>
                <a:cubicBezTo>
                  <a:pt x="4761" y="769"/>
                  <a:pt x="4778" y="769"/>
                  <a:pt x="4802" y="746"/>
                </a:cubicBezTo>
                <a:cubicBezTo>
                  <a:pt x="4827" y="722"/>
                  <a:pt x="4835" y="706"/>
                  <a:pt x="4835" y="706"/>
                </a:cubicBezTo>
                <a:lnTo>
                  <a:pt x="4827" y="658"/>
                </a:lnTo>
                <a:cubicBezTo>
                  <a:pt x="4827" y="658"/>
                  <a:pt x="4827" y="626"/>
                  <a:pt x="4819" y="626"/>
                </a:cubicBezTo>
                <a:cubicBezTo>
                  <a:pt x="4819" y="619"/>
                  <a:pt x="4770" y="523"/>
                  <a:pt x="4770" y="523"/>
                </a:cubicBezTo>
                <a:cubicBezTo>
                  <a:pt x="4770" y="523"/>
                  <a:pt x="4720" y="507"/>
                  <a:pt x="4712" y="523"/>
                </a:cubicBezTo>
                <a:cubicBezTo>
                  <a:pt x="4712" y="539"/>
                  <a:pt x="4696" y="571"/>
                  <a:pt x="4696" y="571"/>
                </a:cubicBezTo>
                <a:lnTo>
                  <a:pt x="4639" y="571"/>
                </a:lnTo>
                <a:lnTo>
                  <a:pt x="4606" y="547"/>
                </a:lnTo>
                <a:lnTo>
                  <a:pt x="4541" y="531"/>
                </a:lnTo>
                <a:cubicBezTo>
                  <a:pt x="4541" y="531"/>
                  <a:pt x="4532" y="539"/>
                  <a:pt x="4524" y="547"/>
                </a:cubicBezTo>
                <a:cubicBezTo>
                  <a:pt x="4524" y="555"/>
                  <a:pt x="4459" y="515"/>
                  <a:pt x="4459" y="515"/>
                </a:cubicBezTo>
                <a:cubicBezTo>
                  <a:pt x="4459" y="515"/>
                  <a:pt x="4434" y="547"/>
                  <a:pt x="4426" y="555"/>
                </a:cubicBezTo>
                <a:lnTo>
                  <a:pt x="4361" y="539"/>
                </a:lnTo>
                <a:lnTo>
                  <a:pt x="4295" y="547"/>
                </a:lnTo>
                <a:lnTo>
                  <a:pt x="4238" y="555"/>
                </a:lnTo>
                <a:lnTo>
                  <a:pt x="4189" y="531"/>
                </a:lnTo>
                <a:lnTo>
                  <a:pt x="4172" y="555"/>
                </a:lnTo>
                <a:lnTo>
                  <a:pt x="4181" y="595"/>
                </a:lnTo>
                <a:lnTo>
                  <a:pt x="4140" y="619"/>
                </a:lnTo>
                <a:lnTo>
                  <a:pt x="4091" y="587"/>
                </a:lnTo>
                <a:lnTo>
                  <a:pt x="4050" y="579"/>
                </a:lnTo>
                <a:lnTo>
                  <a:pt x="3992" y="523"/>
                </a:lnTo>
                <a:lnTo>
                  <a:pt x="3943" y="507"/>
                </a:lnTo>
                <a:lnTo>
                  <a:pt x="3894" y="484"/>
                </a:lnTo>
                <a:cubicBezTo>
                  <a:pt x="3894" y="484"/>
                  <a:pt x="3870" y="547"/>
                  <a:pt x="3862" y="555"/>
                </a:cubicBezTo>
                <a:cubicBezTo>
                  <a:pt x="3853" y="555"/>
                  <a:pt x="3812" y="571"/>
                  <a:pt x="3804" y="571"/>
                </a:cubicBezTo>
                <a:cubicBezTo>
                  <a:pt x="3788" y="579"/>
                  <a:pt x="3780" y="619"/>
                  <a:pt x="3780" y="619"/>
                </a:cubicBezTo>
                <a:lnTo>
                  <a:pt x="3739" y="642"/>
                </a:lnTo>
                <a:cubicBezTo>
                  <a:pt x="3739" y="642"/>
                  <a:pt x="3714" y="626"/>
                  <a:pt x="3698" y="626"/>
                </a:cubicBezTo>
                <a:cubicBezTo>
                  <a:pt x="3690" y="626"/>
                  <a:pt x="3682" y="634"/>
                  <a:pt x="3682" y="634"/>
                </a:cubicBezTo>
                <a:lnTo>
                  <a:pt x="3665" y="658"/>
                </a:lnTo>
                <a:cubicBezTo>
                  <a:pt x="3665" y="658"/>
                  <a:pt x="3657" y="658"/>
                  <a:pt x="3632" y="642"/>
                </a:cubicBezTo>
                <a:cubicBezTo>
                  <a:pt x="3616" y="634"/>
                  <a:pt x="3592" y="619"/>
                  <a:pt x="3592" y="619"/>
                </a:cubicBezTo>
                <a:lnTo>
                  <a:pt x="3567" y="611"/>
                </a:lnTo>
                <a:cubicBezTo>
                  <a:pt x="3567" y="611"/>
                  <a:pt x="3493" y="642"/>
                  <a:pt x="3485" y="650"/>
                </a:cubicBezTo>
                <a:cubicBezTo>
                  <a:pt x="3485" y="658"/>
                  <a:pt x="3469" y="682"/>
                  <a:pt x="3469" y="682"/>
                </a:cubicBezTo>
                <a:lnTo>
                  <a:pt x="3428" y="650"/>
                </a:lnTo>
                <a:lnTo>
                  <a:pt x="3379" y="619"/>
                </a:lnTo>
                <a:lnTo>
                  <a:pt x="3371" y="563"/>
                </a:lnTo>
                <a:lnTo>
                  <a:pt x="3281" y="484"/>
                </a:lnTo>
                <a:lnTo>
                  <a:pt x="3264" y="404"/>
                </a:lnTo>
                <a:lnTo>
                  <a:pt x="3199" y="357"/>
                </a:lnTo>
                <a:lnTo>
                  <a:pt x="3158" y="404"/>
                </a:lnTo>
                <a:lnTo>
                  <a:pt x="3093" y="396"/>
                </a:lnTo>
                <a:lnTo>
                  <a:pt x="3027" y="412"/>
                </a:lnTo>
                <a:cubicBezTo>
                  <a:pt x="3027" y="412"/>
                  <a:pt x="2986" y="452"/>
                  <a:pt x="2986" y="436"/>
                </a:cubicBezTo>
                <a:cubicBezTo>
                  <a:pt x="2978" y="420"/>
                  <a:pt x="2994" y="388"/>
                  <a:pt x="2994" y="372"/>
                </a:cubicBezTo>
                <a:cubicBezTo>
                  <a:pt x="2986" y="364"/>
                  <a:pt x="2945" y="388"/>
                  <a:pt x="2953" y="357"/>
                </a:cubicBezTo>
                <a:cubicBezTo>
                  <a:pt x="2962" y="341"/>
                  <a:pt x="2953" y="317"/>
                  <a:pt x="2945" y="309"/>
                </a:cubicBezTo>
                <a:cubicBezTo>
                  <a:pt x="2929" y="293"/>
                  <a:pt x="2880" y="293"/>
                  <a:pt x="2896" y="262"/>
                </a:cubicBezTo>
                <a:cubicBezTo>
                  <a:pt x="2913" y="238"/>
                  <a:pt x="2953" y="223"/>
                  <a:pt x="2953" y="223"/>
                </a:cubicBezTo>
                <a:lnTo>
                  <a:pt x="2953" y="207"/>
                </a:lnTo>
                <a:lnTo>
                  <a:pt x="2921" y="175"/>
                </a:lnTo>
                <a:lnTo>
                  <a:pt x="2831" y="135"/>
                </a:lnTo>
                <a:cubicBezTo>
                  <a:pt x="2831" y="135"/>
                  <a:pt x="2823" y="88"/>
                  <a:pt x="2806" y="88"/>
                </a:cubicBezTo>
                <a:cubicBezTo>
                  <a:pt x="2798" y="80"/>
                  <a:pt x="2774" y="56"/>
                  <a:pt x="2774" y="56"/>
                </a:cubicBezTo>
                <a:cubicBezTo>
                  <a:pt x="2774" y="56"/>
                  <a:pt x="2749" y="24"/>
                  <a:pt x="2716" y="16"/>
                </a:cubicBezTo>
                <a:cubicBezTo>
                  <a:pt x="2684" y="0"/>
                  <a:pt x="2659" y="72"/>
                  <a:pt x="2659" y="72"/>
                </a:cubicBezTo>
                <a:lnTo>
                  <a:pt x="2626" y="40"/>
                </a:lnTo>
                <a:lnTo>
                  <a:pt x="2561" y="64"/>
                </a:lnTo>
                <a:lnTo>
                  <a:pt x="2512" y="135"/>
                </a:lnTo>
                <a:lnTo>
                  <a:pt x="2479" y="143"/>
                </a:lnTo>
                <a:lnTo>
                  <a:pt x="2430" y="151"/>
                </a:lnTo>
                <a:lnTo>
                  <a:pt x="2356" y="167"/>
                </a:lnTo>
                <a:lnTo>
                  <a:pt x="2340" y="215"/>
                </a:lnTo>
                <a:lnTo>
                  <a:pt x="2348" y="262"/>
                </a:lnTo>
                <a:lnTo>
                  <a:pt x="2307" y="293"/>
                </a:lnTo>
                <a:lnTo>
                  <a:pt x="2209" y="285"/>
                </a:lnTo>
                <a:lnTo>
                  <a:pt x="2144" y="301"/>
                </a:lnTo>
                <a:lnTo>
                  <a:pt x="2111" y="349"/>
                </a:lnTo>
                <a:lnTo>
                  <a:pt x="2013" y="349"/>
                </a:lnTo>
                <a:lnTo>
                  <a:pt x="1996" y="444"/>
                </a:lnTo>
                <a:lnTo>
                  <a:pt x="1972" y="507"/>
                </a:lnTo>
                <a:lnTo>
                  <a:pt x="1947" y="579"/>
                </a:lnTo>
                <a:lnTo>
                  <a:pt x="1964" y="619"/>
                </a:lnTo>
                <a:lnTo>
                  <a:pt x="1988" y="674"/>
                </a:lnTo>
                <a:lnTo>
                  <a:pt x="2037" y="730"/>
                </a:lnTo>
                <a:lnTo>
                  <a:pt x="1988" y="746"/>
                </a:lnTo>
                <a:lnTo>
                  <a:pt x="1955" y="753"/>
                </a:lnTo>
                <a:lnTo>
                  <a:pt x="1923" y="706"/>
                </a:lnTo>
                <a:lnTo>
                  <a:pt x="1874" y="690"/>
                </a:lnTo>
                <a:lnTo>
                  <a:pt x="1816" y="714"/>
                </a:lnTo>
                <a:lnTo>
                  <a:pt x="1759" y="730"/>
                </a:lnTo>
                <a:lnTo>
                  <a:pt x="1743" y="730"/>
                </a:lnTo>
                <a:lnTo>
                  <a:pt x="1726" y="761"/>
                </a:lnTo>
                <a:lnTo>
                  <a:pt x="1677" y="785"/>
                </a:lnTo>
                <a:cubicBezTo>
                  <a:pt x="1677" y="785"/>
                  <a:pt x="1661" y="769"/>
                  <a:pt x="1653" y="761"/>
                </a:cubicBezTo>
                <a:cubicBezTo>
                  <a:pt x="1645" y="753"/>
                  <a:pt x="1620" y="738"/>
                  <a:pt x="1620" y="738"/>
                </a:cubicBezTo>
                <a:cubicBezTo>
                  <a:pt x="1620" y="738"/>
                  <a:pt x="1612" y="722"/>
                  <a:pt x="1604" y="714"/>
                </a:cubicBezTo>
                <a:cubicBezTo>
                  <a:pt x="1596" y="714"/>
                  <a:pt x="1547" y="746"/>
                  <a:pt x="1547" y="746"/>
                </a:cubicBezTo>
                <a:cubicBezTo>
                  <a:pt x="1547" y="746"/>
                  <a:pt x="1506" y="769"/>
                  <a:pt x="1506" y="777"/>
                </a:cubicBezTo>
                <a:cubicBezTo>
                  <a:pt x="1514" y="777"/>
                  <a:pt x="1506" y="817"/>
                  <a:pt x="1506" y="817"/>
                </a:cubicBezTo>
                <a:lnTo>
                  <a:pt x="1448" y="769"/>
                </a:lnTo>
                <a:lnTo>
                  <a:pt x="1407" y="801"/>
                </a:lnTo>
                <a:lnTo>
                  <a:pt x="1375" y="777"/>
                </a:lnTo>
                <a:lnTo>
                  <a:pt x="1358" y="769"/>
                </a:lnTo>
                <a:lnTo>
                  <a:pt x="1309" y="825"/>
                </a:lnTo>
                <a:lnTo>
                  <a:pt x="1277" y="809"/>
                </a:lnTo>
                <a:lnTo>
                  <a:pt x="1260" y="865"/>
                </a:lnTo>
                <a:lnTo>
                  <a:pt x="1219" y="833"/>
                </a:lnTo>
                <a:cubicBezTo>
                  <a:pt x="1219" y="833"/>
                  <a:pt x="1178" y="825"/>
                  <a:pt x="1170" y="825"/>
                </a:cubicBezTo>
                <a:cubicBezTo>
                  <a:pt x="1162" y="825"/>
                  <a:pt x="1137" y="857"/>
                  <a:pt x="1137" y="857"/>
                </a:cubicBezTo>
                <a:lnTo>
                  <a:pt x="1097" y="825"/>
                </a:lnTo>
                <a:lnTo>
                  <a:pt x="1064" y="801"/>
                </a:lnTo>
                <a:cubicBezTo>
                  <a:pt x="1064" y="801"/>
                  <a:pt x="974" y="809"/>
                  <a:pt x="966" y="809"/>
                </a:cubicBezTo>
                <a:cubicBezTo>
                  <a:pt x="957" y="809"/>
                  <a:pt x="900" y="801"/>
                  <a:pt x="900" y="801"/>
                </a:cubicBezTo>
                <a:lnTo>
                  <a:pt x="827" y="817"/>
                </a:lnTo>
                <a:lnTo>
                  <a:pt x="720" y="817"/>
                </a:lnTo>
                <a:lnTo>
                  <a:pt x="622" y="825"/>
                </a:lnTo>
                <a:lnTo>
                  <a:pt x="548" y="825"/>
                </a:lnTo>
                <a:lnTo>
                  <a:pt x="491" y="865"/>
                </a:lnTo>
                <a:lnTo>
                  <a:pt x="434" y="873"/>
                </a:lnTo>
                <a:lnTo>
                  <a:pt x="368" y="881"/>
                </a:lnTo>
                <a:lnTo>
                  <a:pt x="360" y="881"/>
                </a:lnTo>
                <a:lnTo>
                  <a:pt x="352" y="888"/>
                </a:lnTo>
                <a:lnTo>
                  <a:pt x="328" y="904"/>
                </a:lnTo>
                <a:lnTo>
                  <a:pt x="328" y="912"/>
                </a:lnTo>
                <a:lnTo>
                  <a:pt x="311" y="928"/>
                </a:lnTo>
                <a:lnTo>
                  <a:pt x="303" y="968"/>
                </a:lnTo>
                <a:cubicBezTo>
                  <a:pt x="295" y="984"/>
                  <a:pt x="278" y="1000"/>
                  <a:pt x="270" y="1015"/>
                </a:cubicBezTo>
                <a:cubicBezTo>
                  <a:pt x="270" y="1015"/>
                  <a:pt x="246" y="1008"/>
                  <a:pt x="246" y="1023"/>
                </a:cubicBezTo>
                <a:lnTo>
                  <a:pt x="246" y="1031"/>
                </a:lnTo>
                <a:cubicBezTo>
                  <a:pt x="221" y="1039"/>
                  <a:pt x="180" y="1023"/>
                  <a:pt x="180" y="1023"/>
                </a:cubicBezTo>
                <a:lnTo>
                  <a:pt x="139" y="1047"/>
                </a:lnTo>
                <a:cubicBezTo>
                  <a:pt x="139" y="1055"/>
                  <a:pt x="139" y="1063"/>
                  <a:pt x="148" y="1063"/>
                </a:cubicBezTo>
                <a:cubicBezTo>
                  <a:pt x="156" y="1071"/>
                  <a:pt x="156" y="1071"/>
                  <a:pt x="156" y="1079"/>
                </a:cubicBezTo>
                <a:cubicBezTo>
                  <a:pt x="164" y="1079"/>
                  <a:pt x="164" y="1087"/>
                  <a:pt x="164" y="1087"/>
                </a:cubicBezTo>
                <a:lnTo>
                  <a:pt x="180" y="1127"/>
                </a:lnTo>
                <a:lnTo>
                  <a:pt x="180" y="1158"/>
                </a:lnTo>
                <a:cubicBezTo>
                  <a:pt x="180" y="1158"/>
                  <a:pt x="180" y="1182"/>
                  <a:pt x="197" y="1182"/>
                </a:cubicBezTo>
                <a:cubicBezTo>
                  <a:pt x="213" y="1182"/>
                  <a:pt x="221" y="1190"/>
                  <a:pt x="221" y="1206"/>
                </a:cubicBezTo>
                <a:cubicBezTo>
                  <a:pt x="221" y="1222"/>
                  <a:pt x="262" y="1238"/>
                  <a:pt x="262" y="1238"/>
                </a:cubicBezTo>
                <a:cubicBezTo>
                  <a:pt x="262" y="1238"/>
                  <a:pt x="262" y="1270"/>
                  <a:pt x="270" y="1278"/>
                </a:cubicBezTo>
                <a:cubicBezTo>
                  <a:pt x="287" y="1286"/>
                  <a:pt x="303" y="1293"/>
                  <a:pt x="328" y="1293"/>
                </a:cubicBezTo>
                <a:cubicBezTo>
                  <a:pt x="352" y="1301"/>
                  <a:pt x="344" y="1333"/>
                  <a:pt x="360" y="1341"/>
                </a:cubicBezTo>
                <a:cubicBezTo>
                  <a:pt x="377" y="1349"/>
                  <a:pt x="393" y="1365"/>
                  <a:pt x="377" y="1365"/>
                </a:cubicBezTo>
                <a:cubicBezTo>
                  <a:pt x="368" y="1373"/>
                  <a:pt x="344" y="1373"/>
                  <a:pt x="344" y="1373"/>
                </a:cubicBezTo>
                <a:cubicBezTo>
                  <a:pt x="344" y="1373"/>
                  <a:pt x="336" y="1381"/>
                  <a:pt x="336" y="1397"/>
                </a:cubicBezTo>
                <a:lnTo>
                  <a:pt x="344" y="1405"/>
                </a:lnTo>
                <a:lnTo>
                  <a:pt x="377" y="1444"/>
                </a:lnTo>
                <a:lnTo>
                  <a:pt x="377" y="1492"/>
                </a:lnTo>
                <a:lnTo>
                  <a:pt x="377" y="1524"/>
                </a:lnTo>
                <a:cubicBezTo>
                  <a:pt x="377" y="1532"/>
                  <a:pt x="368" y="1548"/>
                  <a:pt x="352" y="1548"/>
                </a:cubicBezTo>
                <a:lnTo>
                  <a:pt x="344" y="1548"/>
                </a:lnTo>
                <a:cubicBezTo>
                  <a:pt x="336" y="1555"/>
                  <a:pt x="336" y="1571"/>
                  <a:pt x="328" y="1571"/>
                </a:cubicBezTo>
                <a:cubicBezTo>
                  <a:pt x="319" y="1579"/>
                  <a:pt x="303" y="1555"/>
                  <a:pt x="295" y="1579"/>
                </a:cubicBezTo>
                <a:cubicBezTo>
                  <a:pt x="287" y="1611"/>
                  <a:pt x="270" y="1635"/>
                  <a:pt x="270" y="1643"/>
                </a:cubicBezTo>
                <a:cubicBezTo>
                  <a:pt x="262" y="1651"/>
                  <a:pt x="238" y="1659"/>
                  <a:pt x="238" y="1675"/>
                </a:cubicBezTo>
                <a:cubicBezTo>
                  <a:pt x="229" y="1690"/>
                  <a:pt x="229" y="1675"/>
                  <a:pt x="213" y="1714"/>
                </a:cubicBezTo>
                <a:cubicBezTo>
                  <a:pt x="197" y="1754"/>
                  <a:pt x="188" y="1770"/>
                  <a:pt x="188" y="1770"/>
                </a:cubicBezTo>
                <a:lnTo>
                  <a:pt x="115" y="1865"/>
                </a:lnTo>
                <a:cubicBezTo>
                  <a:pt x="115" y="1865"/>
                  <a:pt x="74" y="1929"/>
                  <a:pt x="74" y="1937"/>
                </a:cubicBezTo>
                <a:lnTo>
                  <a:pt x="74" y="1976"/>
                </a:lnTo>
                <a:lnTo>
                  <a:pt x="107" y="2008"/>
                </a:lnTo>
                <a:lnTo>
                  <a:pt x="107" y="2040"/>
                </a:lnTo>
                <a:cubicBezTo>
                  <a:pt x="107" y="2040"/>
                  <a:pt x="107" y="2064"/>
                  <a:pt x="115" y="2072"/>
                </a:cubicBezTo>
                <a:lnTo>
                  <a:pt x="123" y="2072"/>
                </a:lnTo>
                <a:lnTo>
                  <a:pt x="115" y="2095"/>
                </a:lnTo>
                <a:cubicBezTo>
                  <a:pt x="115" y="2095"/>
                  <a:pt x="123" y="2119"/>
                  <a:pt x="131" y="2119"/>
                </a:cubicBezTo>
                <a:lnTo>
                  <a:pt x="148" y="2127"/>
                </a:lnTo>
                <a:lnTo>
                  <a:pt x="164" y="2143"/>
                </a:lnTo>
                <a:cubicBezTo>
                  <a:pt x="172" y="2151"/>
                  <a:pt x="164" y="2167"/>
                  <a:pt x="164" y="2167"/>
                </a:cubicBezTo>
                <a:cubicBezTo>
                  <a:pt x="164" y="2167"/>
                  <a:pt x="164" y="2175"/>
                  <a:pt x="156" y="2175"/>
                </a:cubicBezTo>
                <a:lnTo>
                  <a:pt x="131" y="2175"/>
                </a:lnTo>
                <a:cubicBezTo>
                  <a:pt x="131" y="2167"/>
                  <a:pt x="131" y="2167"/>
                  <a:pt x="123" y="2167"/>
                </a:cubicBezTo>
                <a:lnTo>
                  <a:pt x="107" y="2167"/>
                </a:lnTo>
                <a:lnTo>
                  <a:pt x="90" y="2167"/>
                </a:lnTo>
                <a:lnTo>
                  <a:pt x="82" y="2167"/>
                </a:lnTo>
                <a:cubicBezTo>
                  <a:pt x="74" y="2167"/>
                  <a:pt x="74" y="2167"/>
                  <a:pt x="66" y="2175"/>
                </a:cubicBezTo>
                <a:lnTo>
                  <a:pt x="66" y="2183"/>
                </a:lnTo>
                <a:cubicBezTo>
                  <a:pt x="66" y="2183"/>
                  <a:pt x="58" y="2191"/>
                  <a:pt x="58" y="2199"/>
                </a:cubicBezTo>
                <a:cubicBezTo>
                  <a:pt x="49" y="2199"/>
                  <a:pt x="49" y="2215"/>
                  <a:pt x="49" y="2215"/>
                </a:cubicBezTo>
                <a:lnTo>
                  <a:pt x="49" y="2222"/>
                </a:lnTo>
                <a:lnTo>
                  <a:pt x="49" y="2238"/>
                </a:lnTo>
                <a:lnTo>
                  <a:pt x="41" y="2254"/>
                </a:lnTo>
                <a:cubicBezTo>
                  <a:pt x="41" y="2254"/>
                  <a:pt x="33" y="2262"/>
                  <a:pt x="41" y="2270"/>
                </a:cubicBezTo>
                <a:lnTo>
                  <a:pt x="41" y="2278"/>
                </a:lnTo>
                <a:lnTo>
                  <a:pt x="49" y="2286"/>
                </a:lnTo>
                <a:lnTo>
                  <a:pt x="33" y="2302"/>
                </a:lnTo>
                <a:lnTo>
                  <a:pt x="33" y="2318"/>
                </a:lnTo>
                <a:cubicBezTo>
                  <a:pt x="33" y="2318"/>
                  <a:pt x="41" y="2326"/>
                  <a:pt x="33" y="2334"/>
                </a:cubicBezTo>
                <a:lnTo>
                  <a:pt x="25" y="2342"/>
                </a:lnTo>
                <a:lnTo>
                  <a:pt x="8" y="2357"/>
                </a:lnTo>
                <a:lnTo>
                  <a:pt x="8" y="2365"/>
                </a:lnTo>
                <a:lnTo>
                  <a:pt x="0" y="2381"/>
                </a:lnTo>
                <a:lnTo>
                  <a:pt x="0" y="2405"/>
                </a:lnTo>
                <a:lnTo>
                  <a:pt x="8" y="2413"/>
                </a:lnTo>
                <a:lnTo>
                  <a:pt x="8" y="2429"/>
                </a:lnTo>
                <a:cubicBezTo>
                  <a:pt x="0" y="2429"/>
                  <a:pt x="8" y="2437"/>
                  <a:pt x="8" y="2445"/>
                </a:cubicBezTo>
                <a:lnTo>
                  <a:pt x="8" y="2453"/>
                </a:lnTo>
                <a:lnTo>
                  <a:pt x="0" y="2469"/>
                </a:lnTo>
                <a:lnTo>
                  <a:pt x="0" y="2477"/>
                </a:lnTo>
                <a:lnTo>
                  <a:pt x="0" y="2492"/>
                </a:lnTo>
                <a:lnTo>
                  <a:pt x="17" y="2492"/>
                </a:lnTo>
                <a:lnTo>
                  <a:pt x="25" y="2485"/>
                </a:lnTo>
                <a:lnTo>
                  <a:pt x="66" y="2469"/>
                </a:lnTo>
                <a:lnTo>
                  <a:pt x="90" y="2492"/>
                </a:lnTo>
                <a:lnTo>
                  <a:pt x="115" y="2516"/>
                </a:lnTo>
                <a:lnTo>
                  <a:pt x="156" y="2516"/>
                </a:lnTo>
                <a:lnTo>
                  <a:pt x="180" y="2548"/>
                </a:lnTo>
                <a:lnTo>
                  <a:pt x="205" y="2572"/>
                </a:lnTo>
                <a:lnTo>
                  <a:pt x="246" y="2564"/>
                </a:lnTo>
                <a:lnTo>
                  <a:pt x="287" y="2588"/>
                </a:lnTo>
                <a:lnTo>
                  <a:pt x="278" y="2612"/>
                </a:lnTo>
                <a:cubicBezTo>
                  <a:pt x="278" y="2612"/>
                  <a:pt x="311" y="2572"/>
                  <a:pt x="319" y="2564"/>
                </a:cubicBezTo>
                <a:cubicBezTo>
                  <a:pt x="328" y="2556"/>
                  <a:pt x="360" y="2548"/>
                  <a:pt x="360" y="2548"/>
                </a:cubicBezTo>
                <a:cubicBezTo>
                  <a:pt x="360" y="2548"/>
                  <a:pt x="377" y="2564"/>
                  <a:pt x="393" y="2572"/>
                </a:cubicBezTo>
                <a:lnTo>
                  <a:pt x="418" y="2572"/>
                </a:lnTo>
                <a:cubicBezTo>
                  <a:pt x="434" y="2572"/>
                  <a:pt x="499" y="2564"/>
                  <a:pt x="499" y="2564"/>
                </a:cubicBezTo>
                <a:lnTo>
                  <a:pt x="589" y="2572"/>
                </a:lnTo>
                <a:lnTo>
                  <a:pt x="638" y="2548"/>
                </a:lnTo>
                <a:lnTo>
                  <a:pt x="737" y="2556"/>
                </a:lnTo>
                <a:lnTo>
                  <a:pt x="753" y="2548"/>
                </a:lnTo>
                <a:lnTo>
                  <a:pt x="761" y="2556"/>
                </a:lnTo>
                <a:lnTo>
                  <a:pt x="794" y="2548"/>
                </a:lnTo>
                <a:lnTo>
                  <a:pt x="827" y="2580"/>
                </a:lnTo>
                <a:lnTo>
                  <a:pt x="892" y="2572"/>
                </a:lnTo>
                <a:lnTo>
                  <a:pt x="933" y="2516"/>
                </a:lnTo>
                <a:cubicBezTo>
                  <a:pt x="933" y="2516"/>
                  <a:pt x="957" y="2492"/>
                  <a:pt x="990" y="2485"/>
                </a:cubicBezTo>
                <a:cubicBezTo>
                  <a:pt x="1023" y="2485"/>
                  <a:pt x="1080" y="2461"/>
                  <a:pt x="1080" y="2461"/>
                </a:cubicBezTo>
                <a:lnTo>
                  <a:pt x="1154" y="2421"/>
                </a:lnTo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38" name="Freeform 130">
            <a:extLst>
              <a:ext uri="{FF2B5EF4-FFF2-40B4-BE49-F238E27FC236}">
                <a16:creationId xmlns:a16="http://schemas.microsoft.com/office/drawing/2014/main" id="{8FED99AA-3690-0F93-E03E-62367F0C15CB}"/>
              </a:ext>
            </a:extLst>
          </p:cNvPr>
          <p:cNvSpPr>
            <a:spLocks noChangeArrowheads="1"/>
          </p:cNvSpPr>
          <p:nvPr>
            <p:custDataLst>
              <p:tags r:id="rId129"/>
            </p:custDataLst>
          </p:nvPr>
        </p:nvSpPr>
        <p:spPr bwMode="auto">
          <a:xfrm>
            <a:off x="8565271" y="3120726"/>
            <a:ext cx="2062977" cy="1392826"/>
          </a:xfrm>
          <a:custGeom>
            <a:avLst/>
            <a:gdLst>
              <a:gd name="T0" fmla="*/ 1342 w 5024"/>
              <a:gd name="T1" fmla="*/ 2238 h 3391"/>
              <a:gd name="T2" fmla="*/ 1399 w 5024"/>
              <a:gd name="T3" fmla="*/ 2207 h 3391"/>
              <a:gd name="T4" fmla="*/ 1514 w 5024"/>
              <a:gd name="T5" fmla="*/ 2143 h 3391"/>
              <a:gd name="T6" fmla="*/ 1596 w 5024"/>
              <a:gd name="T7" fmla="*/ 2119 h 3391"/>
              <a:gd name="T8" fmla="*/ 1735 w 5024"/>
              <a:gd name="T9" fmla="*/ 2151 h 3391"/>
              <a:gd name="T10" fmla="*/ 1792 w 5024"/>
              <a:gd name="T11" fmla="*/ 2151 h 3391"/>
              <a:gd name="T12" fmla="*/ 1849 w 5024"/>
              <a:gd name="T13" fmla="*/ 2183 h 3391"/>
              <a:gd name="T14" fmla="*/ 1964 w 5024"/>
              <a:gd name="T15" fmla="*/ 2159 h 3391"/>
              <a:gd name="T16" fmla="*/ 2086 w 5024"/>
              <a:gd name="T17" fmla="*/ 2222 h 3391"/>
              <a:gd name="T18" fmla="*/ 2136 w 5024"/>
              <a:gd name="T19" fmla="*/ 2349 h 3391"/>
              <a:gd name="T20" fmla="*/ 2217 w 5024"/>
              <a:gd name="T21" fmla="*/ 2429 h 3391"/>
              <a:gd name="T22" fmla="*/ 2291 w 5024"/>
              <a:gd name="T23" fmla="*/ 2492 h 3391"/>
              <a:gd name="T24" fmla="*/ 2348 w 5024"/>
              <a:gd name="T25" fmla="*/ 2588 h 3391"/>
              <a:gd name="T26" fmla="*/ 2471 w 5024"/>
              <a:gd name="T27" fmla="*/ 2675 h 3391"/>
              <a:gd name="T28" fmla="*/ 2528 w 5024"/>
              <a:gd name="T29" fmla="*/ 2762 h 3391"/>
              <a:gd name="T30" fmla="*/ 2414 w 5024"/>
              <a:gd name="T31" fmla="*/ 2802 h 3391"/>
              <a:gd name="T32" fmla="*/ 2307 w 5024"/>
              <a:gd name="T33" fmla="*/ 2794 h 3391"/>
              <a:gd name="T34" fmla="*/ 2226 w 5024"/>
              <a:gd name="T35" fmla="*/ 2794 h 3391"/>
              <a:gd name="T36" fmla="*/ 2250 w 5024"/>
              <a:gd name="T37" fmla="*/ 2977 h 3391"/>
              <a:gd name="T38" fmla="*/ 2201 w 5024"/>
              <a:gd name="T39" fmla="*/ 3128 h 3391"/>
              <a:gd name="T40" fmla="*/ 2185 w 5024"/>
              <a:gd name="T41" fmla="*/ 3247 h 3391"/>
              <a:gd name="T42" fmla="*/ 2078 w 5024"/>
              <a:gd name="T43" fmla="*/ 3279 h 3391"/>
              <a:gd name="T44" fmla="*/ 2569 w 5024"/>
              <a:gd name="T45" fmla="*/ 2985 h 3391"/>
              <a:gd name="T46" fmla="*/ 2986 w 5024"/>
              <a:gd name="T47" fmla="*/ 2620 h 3391"/>
              <a:gd name="T48" fmla="*/ 3461 w 5024"/>
              <a:gd name="T49" fmla="*/ 2810 h 3391"/>
              <a:gd name="T50" fmla="*/ 3755 w 5024"/>
              <a:gd name="T51" fmla="*/ 3223 h 3391"/>
              <a:gd name="T52" fmla="*/ 4221 w 5024"/>
              <a:gd name="T53" fmla="*/ 2897 h 3391"/>
              <a:gd name="T54" fmla="*/ 4262 w 5024"/>
              <a:gd name="T55" fmla="*/ 2620 h 3391"/>
              <a:gd name="T56" fmla="*/ 3772 w 5024"/>
              <a:gd name="T57" fmla="*/ 2532 h 3391"/>
              <a:gd name="T58" fmla="*/ 3796 w 5024"/>
              <a:gd name="T59" fmla="*/ 2469 h 3391"/>
              <a:gd name="T60" fmla="*/ 4320 w 5024"/>
              <a:gd name="T61" fmla="*/ 2024 h 3391"/>
              <a:gd name="T62" fmla="*/ 4680 w 5024"/>
              <a:gd name="T63" fmla="*/ 1643 h 3391"/>
              <a:gd name="T64" fmla="*/ 4999 w 5024"/>
              <a:gd name="T65" fmla="*/ 1238 h 3391"/>
              <a:gd name="T66" fmla="*/ 4860 w 5024"/>
              <a:gd name="T67" fmla="*/ 833 h 3391"/>
              <a:gd name="T68" fmla="*/ 4770 w 5024"/>
              <a:gd name="T69" fmla="*/ 523 h 3391"/>
              <a:gd name="T70" fmla="*/ 4426 w 5024"/>
              <a:gd name="T71" fmla="*/ 555 h 3391"/>
              <a:gd name="T72" fmla="*/ 4091 w 5024"/>
              <a:gd name="T73" fmla="*/ 587 h 3391"/>
              <a:gd name="T74" fmla="*/ 3739 w 5024"/>
              <a:gd name="T75" fmla="*/ 642 h 3391"/>
              <a:gd name="T76" fmla="*/ 3469 w 5024"/>
              <a:gd name="T77" fmla="*/ 682 h 3391"/>
              <a:gd name="T78" fmla="*/ 3093 w 5024"/>
              <a:gd name="T79" fmla="*/ 396 h 3391"/>
              <a:gd name="T80" fmla="*/ 2953 w 5024"/>
              <a:gd name="T81" fmla="*/ 207 h 3391"/>
              <a:gd name="T82" fmla="*/ 2561 w 5024"/>
              <a:gd name="T83" fmla="*/ 64 h 3391"/>
              <a:gd name="T84" fmla="*/ 2209 w 5024"/>
              <a:gd name="T85" fmla="*/ 285 h 3391"/>
              <a:gd name="T86" fmla="*/ 1988 w 5024"/>
              <a:gd name="T87" fmla="*/ 674 h 3391"/>
              <a:gd name="T88" fmla="*/ 1743 w 5024"/>
              <a:gd name="T89" fmla="*/ 730 h 3391"/>
              <a:gd name="T90" fmla="*/ 1506 w 5024"/>
              <a:gd name="T91" fmla="*/ 817 h 3391"/>
              <a:gd name="T92" fmla="*/ 1219 w 5024"/>
              <a:gd name="T93" fmla="*/ 833 h 3391"/>
              <a:gd name="T94" fmla="*/ 720 w 5024"/>
              <a:gd name="T95" fmla="*/ 817 h 3391"/>
              <a:gd name="T96" fmla="*/ 328 w 5024"/>
              <a:gd name="T97" fmla="*/ 904 h 3391"/>
              <a:gd name="T98" fmla="*/ 139 w 5024"/>
              <a:gd name="T99" fmla="*/ 1047 h 3391"/>
              <a:gd name="T100" fmla="*/ 262 w 5024"/>
              <a:gd name="T101" fmla="*/ 1238 h 3391"/>
              <a:gd name="T102" fmla="*/ 377 w 5024"/>
              <a:gd name="T103" fmla="*/ 1444 h 3391"/>
              <a:gd name="T104" fmla="*/ 238 w 5024"/>
              <a:gd name="T105" fmla="*/ 1675 h 3391"/>
              <a:gd name="T106" fmla="*/ 115 w 5024"/>
              <a:gd name="T107" fmla="*/ 2072 h 3391"/>
              <a:gd name="T108" fmla="*/ 131 w 5024"/>
              <a:gd name="T109" fmla="*/ 2175 h 3391"/>
              <a:gd name="T110" fmla="*/ 49 w 5024"/>
              <a:gd name="T111" fmla="*/ 2215 h 3391"/>
              <a:gd name="T112" fmla="*/ 33 w 5024"/>
              <a:gd name="T113" fmla="*/ 2318 h 3391"/>
              <a:gd name="T114" fmla="*/ 8 w 5024"/>
              <a:gd name="T115" fmla="*/ 2429 h 3391"/>
              <a:gd name="T116" fmla="*/ 66 w 5024"/>
              <a:gd name="T117" fmla="*/ 2469 h 3391"/>
              <a:gd name="T118" fmla="*/ 278 w 5024"/>
              <a:gd name="T119" fmla="*/ 2612 h 3391"/>
              <a:gd name="T120" fmla="*/ 737 w 5024"/>
              <a:gd name="T121" fmla="*/ 2556 h 3391"/>
              <a:gd name="T122" fmla="*/ 1080 w 5024"/>
              <a:gd name="T123" fmla="*/ 2461 h 3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024" h="3391">
                <a:moveTo>
                  <a:pt x="1154" y="2421"/>
                </a:moveTo>
                <a:cubicBezTo>
                  <a:pt x="1162" y="2421"/>
                  <a:pt x="1186" y="2381"/>
                  <a:pt x="1211" y="2381"/>
                </a:cubicBezTo>
                <a:cubicBezTo>
                  <a:pt x="1227" y="2373"/>
                  <a:pt x="1219" y="2334"/>
                  <a:pt x="1227" y="2318"/>
                </a:cubicBezTo>
                <a:cubicBezTo>
                  <a:pt x="1236" y="2302"/>
                  <a:pt x="1276" y="2270"/>
                  <a:pt x="1301" y="2262"/>
                </a:cubicBezTo>
                <a:lnTo>
                  <a:pt x="1309" y="2262"/>
                </a:lnTo>
                <a:lnTo>
                  <a:pt x="1309" y="2246"/>
                </a:lnTo>
                <a:cubicBezTo>
                  <a:pt x="1309" y="2246"/>
                  <a:pt x="1334" y="2238"/>
                  <a:pt x="1334" y="2230"/>
                </a:cubicBezTo>
                <a:cubicBezTo>
                  <a:pt x="1342" y="2230"/>
                  <a:pt x="1342" y="2238"/>
                  <a:pt x="1342" y="2238"/>
                </a:cubicBezTo>
                <a:cubicBezTo>
                  <a:pt x="1342" y="2238"/>
                  <a:pt x="1350" y="2246"/>
                  <a:pt x="1358" y="2246"/>
                </a:cubicBezTo>
                <a:lnTo>
                  <a:pt x="1366" y="2238"/>
                </a:lnTo>
                <a:lnTo>
                  <a:pt x="1366" y="2222"/>
                </a:lnTo>
                <a:cubicBezTo>
                  <a:pt x="1358" y="2214"/>
                  <a:pt x="1358" y="2207"/>
                  <a:pt x="1358" y="2207"/>
                </a:cubicBezTo>
                <a:lnTo>
                  <a:pt x="1366" y="2207"/>
                </a:lnTo>
                <a:lnTo>
                  <a:pt x="1375" y="2199"/>
                </a:lnTo>
                <a:lnTo>
                  <a:pt x="1391" y="2207"/>
                </a:lnTo>
                <a:lnTo>
                  <a:pt x="1399" y="2207"/>
                </a:lnTo>
                <a:cubicBezTo>
                  <a:pt x="1407" y="2214"/>
                  <a:pt x="1416" y="2199"/>
                  <a:pt x="1416" y="2199"/>
                </a:cubicBezTo>
                <a:lnTo>
                  <a:pt x="1424" y="2191"/>
                </a:lnTo>
                <a:lnTo>
                  <a:pt x="1424" y="2183"/>
                </a:lnTo>
                <a:lnTo>
                  <a:pt x="1473" y="2183"/>
                </a:lnTo>
                <a:lnTo>
                  <a:pt x="1489" y="2175"/>
                </a:lnTo>
                <a:lnTo>
                  <a:pt x="1497" y="2167"/>
                </a:lnTo>
                <a:lnTo>
                  <a:pt x="1497" y="2151"/>
                </a:lnTo>
                <a:cubicBezTo>
                  <a:pt x="1497" y="2143"/>
                  <a:pt x="1514" y="2143"/>
                  <a:pt x="1514" y="2143"/>
                </a:cubicBezTo>
                <a:cubicBezTo>
                  <a:pt x="1522" y="2143"/>
                  <a:pt x="1522" y="2151"/>
                  <a:pt x="1522" y="2151"/>
                </a:cubicBezTo>
                <a:lnTo>
                  <a:pt x="1530" y="2143"/>
                </a:lnTo>
                <a:cubicBezTo>
                  <a:pt x="1530" y="2135"/>
                  <a:pt x="1538" y="2135"/>
                  <a:pt x="1538" y="2135"/>
                </a:cubicBezTo>
                <a:cubicBezTo>
                  <a:pt x="1538" y="2135"/>
                  <a:pt x="1555" y="2127"/>
                  <a:pt x="1555" y="2119"/>
                </a:cubicBezTo>
                <a:cubicBezTo>
                  <a:pt x="1563" y="2111"/>
                  <a:pt x="1563" y="2119"/>
                  <a:pt x="1563" y="2103"/>
                </a:cubicBezTo>
                <a:cubicBezTo>
                  <a:pt x="1563" y="2095"/>
                  <a:pt x="1571" y="2103"/>
                  <a:pt x="1571" y="2111"/>
                </a:cubicBezTo>
                <a:lnTo>
                  <a:pt x="1579" y="2119"/>
                </a:lnTo>
                <a:lnTo>
                  <a:pt x="1596" y="2119"/>
                </a:lnTo>
                <a:cubicBezTo>
                  <a:pt x="1604" y="2127"/>
                  <a:pt x="1604" y="2111"/>
                  <a:pt x="1620" y="2111"/>
                </a:cubicBezTo>
                <a:cubicBezTo>
                  <a:pt x="1636" y="2111"/>
                  <a:pt x="1628" y="2111"/>
                  <a:pt x="1636" y="2119"/>
                </a:cubicBezTo>
                <a:lnTo>
                  <a:pt x="1653" y="2119"/>
                </a:lnTo>
                <a:lnTo>
                  <a:pt x="1661" y="2127"/>
                </a:lnTo>
                <a:cubicBezTo>
                  <a:pt x="1661" y="2127"/>
                  <a:pt x="1669" y="2127"/>
                  <a:pt x="1677" y="2135"/>
                </a:cubicBezTo>
                <a:cubicBezTo>
                  <a:pt x="1677" y="2143"/>
                  <a:pt x="1694" y="2143"/>
                  <a:pt x="1694" y="2143"/>
                </a:cubicBezTo>
                <a:lnTo>
                  <a:pt x="1726" y="2143"/>
                </a:lnTo>
                <a:lnTo>
                  <a:pt x="1735" y="2151"/>
                </a:lnTo>
                <a:cubicBezTo>
                  <a:pt x="1735" y="2151"/>
                  <a:pt x="1735" y="2167"/>
                  <a:pt x="1743" y="2167"/>
                </a:cubicBezTo>
                <a:cubicBezTo>
                  <a:pt x="1743" y="2175"/>
                  <a:pt x="1743" y="2175"/>
                  <a:pt x="1751" y="2175"/>
                </a:cubicBezTo>
                <a:cubicBezTo>
                  <a:pt x="1751" y="2175"/>
                  <a:pt x="1759" y="2159"/>
                  <a:pt x="1759" y="2151"/>
                </a:cubicBezTo>
                <a:lnTo>
                  <a:pt x="1767" y="2159"/>
                </a:lnTo>
                <a:cubicBezTo>
                  <a:pt x="1767" y="2159"/>
                  <a:pt x="1767" y="2175"/>
                  <a:pt x="1776" y="2175"/>
                </a:cubicBezTo>
                <a:cubicBezTo>
                  <a:pt x="1776" y="2167"/>
                  <a:pt x="1784" y="2167"/>
                  <a:pt x="1784" y="2167"/>
                </a:cubicBezTo>
                <a:cubicBezTo>
                  <a:pt x="1792" y="2167"/>
                  <a:pt x="1784" y="2159"/>
                  <a:pt x="1784" y="2159"/>
                </a:cubicBezTo>
                <a:lnTo>
                  <a:pt x="1792" y="2151"/>
                </a:lnTo>
                <a:lnTo>
                  <a:pt x="1816" y="2151"/>
                </a:lnTo>
                <a:cubicBezTo>
                  <a:pt x="1825" y="2151"/>
                  <a:pt x="1825" y="2167"/>
                  <a:pt x="1825" y="2167"/>
                </a:cubicBezTo>
                <a:lnTo>
                  <a:pt x="1816" y="2183"/>
                </a:lnTo>
                <a:cubicBezTo>
                  <a:pt x="1816" y="2183"/>
                  <a:pt x="1808" y="2191"/>
                  <a:pt x="1808" y="2199"/>
                </a:cubicBezTo>
                <a:lnTo>
                  <a:pt x="1816" y="2191"/>
                </a:lnTo>
                <a:cubicBezTo>
                  <a:pt x="1833" y="2191"/>
                  <a:pt x="1825" y="2183"/>
                  <a:pt x="1825" y="2183"/>
                </a:cubicBezTo>
                <a:lnTo>
                  <a:pt x="1833" y="2167"/>
                </a:lnTo>
                <a:cubicBezTo>
                  <a:pt x="1833" y="2167"/>
                  <a:pt x="1849" y="2175"/>
                  <a:pt x="1849" y="2183"/>
                </a:cubicBezTo>
                <a:lnTo>
                  <a:pt x="1849" y="2191"/>
                </a:lnTo>
                <a:cubicBezTo>
                  <a:pt x="1849" y="2199"/>
                  <a:pt x="1857" y="2199"/>
                  <a:pt x="1857" y="2207"/>
                </a:cubicBezTo>
                <a:cubicBezTo>
                  <a:pt x="1866" y="2214"/>
                  <a:pt x="1857" y="2207"/>
                  <a:pt x="1857" y="2207"/>
                </a:cubicBezTo>
                <a:cubicBezTo>
                  <a:pt x="1857" y="2199"/>
                  <a:pt x="1866" y="2183"/>
                  <a:pt x="1866" y="2183"/>
                </a:cubicBezTo>
                <a:lnTo>
                  <a:pt x="1874" y="2167"/>
                </a:lnTo>
                <a:lnTo>
                  <a:pt x="1939" y="2167"/>
                </a:lnTo>
                <a:cubicBezTo>
                  <a:pt x="1972" y="2167"/>
                  <a:pt x="1947" y="2159"/>
                  <a:pt x="1947" y="2159"/>
                </a:cubicBezTo>
                <a:lnTo>
                  <a:pt x="1964" y="2159"/>
                </a:lnTo>
                <a:lnTo>
                  <a:pt x="1972" y="2191"/>
                </a:lnTo>
                <a:cubicBezTo>
                  <a:pt x="1972" y="2191"/>
                  <a:pt x="1988" y="2207"/>
                  <a:pt x="1996" y="2207"/>
                </a:cubicBezTo>
                <a:cubicBezTo>
                  <a:pt x="2005" y="2214"/>
                  <a:pt x="2005" y="2214"/>
                  <a:pt x="2021" y="2222"/>
                </a:cubicBezTo>
                <a:cubicBezTo>
                  <a:pt x="2046" y="2222"/>
                  <a:pt x="2037" y="2222"/>
                  <a:pt x="2037" y="2222"/>
                </a:cubicBezTo>
                <a:cubicBezTo>
                  <a:pt x="2046" y="2222"/>
                  <a:pt x="2046" y="2207"/>
                  <a:pt x="2054" y="2199"/>
                </a:cubicBezTo>
                <a:cubicBezTo>
                  <a:pt x="2054" y="2191"/>
                  <a:pt x="2062" y="2191"/>
                  <a:pt x="2062" y="2191"/>
                </a:cubicBezTo>
                <a:lnTo>
                  <a:pt x="2078" y="2207"/>
                </a:lnTo>
                <a:cubicBezTo>
                  <a:pt x="2086" y="2214"/>
                  <a:pt x="2086" y="2222"/>
                  <a:pt x="2086" y="2222"/>
                </a:cubicBezTo>
                <a:lnTo>
                  <a:pt x="2111" y="2230"/>
                </a:lnTo>
                <a:lnTo>
                  <a:pt x="2111" y="2238"/>
                </a:lnTo>
                <a:lnTo>
                  <a:pt x="2111" y="2262"/>
                </a:lnTo>
                <a:lnTo>
                  <a:pt x="2127" y="2270"/>
                </a:lnTo>
                <a:lnTo>
                  <a:pt x="2119" y="2286"/>
                </a:lnTo>
                <a:cubicBezTo>
                  <a:pt x="2119" y="2286"/>
                  <a:pt x="2127" y="2302"/>
                  <a:pt x="2127" y="2310"/>
                </a:cubicBezTo>
                <a:lnTo>
                  <a:pt x="2136" y="2326"/>
                </a:lnTo>
                <a:lnTo>
                  <a:pt x="2136" y="2349"/>
                </a:lnTo>
                <a:lnTo>
                  <a:pt x="2127" y="2365"/>
                </a:lnTo>
                <a:lnTo>
                  <a:pt x="2136" y="2373"/>
                </a:lnTo>
                <a:cubicBezTo>
                  <a:pt x="2136" y="2373"/>
                  <a:pt x="2136" y="2397"/>
                  <a:pt x="2144" y="2405"/>
                </a:cubicBezTo>
                <a:cubicBezTo>
                  <a:pt x="2152" y="2421"/>
                  <a:pt x="2160" y="2397"/>
                  <a:pt x="2160" y="2397"/>
                </a:cubicBezTo>
                <a:lnTo>
                  <a:pt x="2176" y="2397"/>
                </a:lnTo>
                <a:lnTo>
                  <a:pt x="2193" y="2421"/>
                </a:lnTo>
                <a:lnTo>
                  <a:pt x="2201" y="2421"/>
                </a:lnTo>
                <a:lnTo>
                  <a:pt x="2217" y="2429"/>
                </a:lnTo>
                <a:lnTo>
                  <a:pt x="2226" y="2453"/>
                </a:lnTo>
                <a:lnTo>
                  <a:pt x="2242" y="2445"/>
                </a:lnTo>
                <a:lnTo>
                  <a:pt x="2250" y="2421"/>
                </a:lnTo>
                <a:lnTo>
                  <a:pt x="2266" y="2429"/>
                </a:lnTo>
                <a:lnTo>
                  <a:pt x="2283" y="2429"/>
                </a:lnTo>
                <a:lnTo>
                  <a:pt x="2283" y="2461"/>
                </a:lnTo>
                <a:cubicBezTo>
                  <a:pt x="2283" y="2461"/>
                  <a:pt x="2291" y="2469"/>
                  <a:pt x="2291" y="2476"/>
                </a:cubicBezTo>
                <a:lnTo>
                  <a:pt x="2291" y="2492"/>
                </a:lnTo>
                <a:lnTo>
                  <a:pt x="2299" y="2508"/>
                </a:lnTo>
                <a:lnTo>
                  <a:pt x="2275" y="2516"/>
                </a:lnTo>
                <a:lnTo>
                  <a:pt x="2291" y="2524"/>
                </a:lnTo>
                <a:lnTo>
                  <a:pt x="2316" y="2524"/>
                </a:lnTo>
                <a:cubicBezTo>
                  <a:pt x="2324" y="2524"/>
                  <a:pt x="2324" y="2548"/>
                  <a:pt x="2324" y="2548"/>
                </a:cubicBezTo>
                <a:cubicBezTo>
                  <a:pt x="2324" y="2548"/>
                  <a:pt x="2324" y="2556"/>
                  <a:pt x="2316" y="2564"/>
                </a:cubicBezTo>
                <a:lnTo>
                  <a:pt x="2316" y="2580"/>
                </a:lnTo>
                <a:cubicBezTo>
                  <a:pt x="2324" y="2580"/>
                  <a:pt x="2340" y="2588"/>
                  <a:pt x="2348" y="2588"/>
                </a:cubicBezTo>
                <a:lnTo>
                  <a:pt x="2381" y="2588"/>
                </a:lnTo>
                <a:cubicBezTo>
                  <a:pt x="2381" y="2588"/>
                  <a:pt x="2389" y="2596"/>
                  <a:pt x="2397" y="2596"/>
                </a:cubicBezTo>
                <a:cubicBezTo>
                  <a:pt x="2397" y="2588"/>
                  <a:pt x="2414" y="2588"/>
                  <a:pt x="2414" y="2588"/>
                </a:cubicBezTo>
                <a:lnTo>
                  <a:pt x="2430" y="2604"/>
                </a:lnTo>
                <a:lnTo>
                  <a:pt x="2446" y="2596"/>
                </a:lnTo>
                <a:lnTo>
                  <a:pt x="2446" y="2611"/>
                </a:lnTo>
                <a:lnTo>
                  <a:pt x="2463" y="2643"/>
                </a:lnTo>
                <a:cubicBezTo>
                  <a:pt x="2471" y="2651"/>
                  <a:pt x="2471" y="2667"/>
                  <a:pt x="2471" y="2675"/>
                </a:cubicBezTo>
                <a:cubicBezTo>
                  <a:pt x="2471" y="2683"/>
                  <a:pt x="2479" y="2699"/>
                  <a:pt x="2479" y="2699"/>
                </a:cubicBezTo>
                <a:cubicBezTo>
                  <a:pt x="2479" y="2699"/>
                  <a:pt x="2471" y="2699"/>
                  <a:pt x="2463" y="2707"/>
                </a:cubicBezTo>
                <a:cubicBezTo>
                  <a:pt x="2455" y="2715"/>
                  <a:pt x="2471" y="2723"/>
                  <a:pt x="2471" y="2723"/>
                </a:cubicBezTo>
                <a:lnTo>
                  <a:pt x="2487" y="2723"/>
                </a:lnTo>
                <a:cubicBezTo>
                  <a:pt x="2487" y="2723"/>
                  <a:pt x="2504" y="2739"/>
                  <a:pt x="2504" y="2746"/>
                </a:cubicBezTo>
                <a:cubicBezTo>
                  <a:pt x="2512" y="2754"/>
                  <a:pt x="2528" y="2746"/>
                  <a:pt x="2536" y="2746"/>
                </a:cubicBezTo>
                <a:cubicBezTo>
                  <a:pt x="2545" y="2739"/>
                  <a:pt x="2561" y="2746"/>
                  <a:pt x="2561" y="2754"/>
                </a:cubicBezTo>
                <a:cubicBezTo>
                  <a:pt x="2561" y="2754"/>
                  <a:pt x="2536" y="2762"/>
                  <a:pt x="2528" y="2762"/>
                </a:cubicBezTo>
                <a:cubicBezTo>
                  <a:pt x="2520" y="2770"/>
                  <a:pt x="2496" y="2770"/>
                  <a:pt x="2496" y="2770"/>
                </a:cubicBezTo>
                <a:lnTo>
                  <a:pt x="2487" y="2794"/>
                </a:lnTo>
                <a:lnTo>
                  <a:pt x="2471" y="2802"/>
                </a:lnTo>
                <a:lnTo>
                  <a:pt x="2463" y="2778"/>
                </a:lnTo>
                <a:lnTo>
                  <a:pt x="2430" y="2754"/>
                </a:lnTo>
                <a:lnTo>
                  <a:pt x="2430" y="2778"/>
                </a:lnTo>
                <a:lnTo>
                  <a:pt x="2414" y="2786"/>
                </a:lnTo>
                <a:lnTo>
                  <a:pt x="2414" y="2802"/>
                </a:lnTo>
                <a:cubicBezTo>
                  <a:pt x="2414" y="2810"/>
                  <a:pt x="2406" y="2810"/>
                  <a:pt x="2406" y="2810"/>
                </a:cubicBezTo>
                <a:lnTo>
                  <a:pt x="2389" y="2802"/>
                </a:lnTo>
                <a:lnTo>
                  <a:pt x="2365" y="2802"/>
                </a:lnTo>
                <a:cubicBezTo>
                  <a:pt x="2356" y="2802"/>
                  <a:pt x="2356" y="2786"/>
                  <a:pt x="2356" y="2786"/>
                </a:cubicBezTo>
                <a:lnTo>
                  <a:pt x="2348" y="2794"/>
                </a:lnTo>
                <a:cubicBezTo>
                  <a:pt x="2348" y="2794"/>
                  <a:pt x="2348" y="2802"/>
                  <a:pt x="2340" y="2810"/>
                </a:cubicBezTo>
                <a:cubicBezTo>
                  <a:pt x="2340" y="2818"/>
                  <a:pt x="2340" y="2810"/>
                  <a:pt x="2324" y="2810"/>
                </a:cubicBezTo>
                <a:cubicBezTo>
                  <a:pt x="2316" y="2818"/>
                  <a:pt x="2316" y="2802"/>
                  <a:pt x="2307" y="2794"/>
                </a:cubicBezTo>
                <a:cubicBezTo>
                  <a:pt x="2307" y="2778"/>
                  <a:pt x="2307" y="2794"/>
                  <a:pt x="2299" y="2794"/>
                </a:cubicBezTo>
                <a:cubicBezTo>
                  <a:pt x="2291" y="2794"/>
                  <a:pt x="2307" y="2818"/>
                  <a:pt x="2307" y="2818"/>
                </a:cubicBezTo>
                <a:lnTo>
                  <a:pt x="2299" y="2826"/>
                </a:lnTo>
                <a:cubicBezTo>
                  <a:pt x="2299" y="2826"/>
                  <a:pt x="2299" y="2842"/>
                  <a:pt x="2283" y="2850"/>
                </a:cubicBezTo>
                <a:cubicBezTo>
                  <a:pt x="2275" y="2850"/>
                  <a:pt x="2283" y="2834"/>
                  <a:pt x="2283" y="2834"/>
                </a:cubicBezTo>
                <a:lnTo>
                  <a:pt x="2283" y="2802"/>
                </a:lnTo>
                <a:lnTo>
                  <a:pt x="2266" y="2762"/>
                </a:lnTo>
                <a:cubicBezTo>
                  <a:pt x="2266" y="2762"/>
                  <a:pt x="2234" y="2794"/>
                  <a:pt x="2226" y="2794"/>
                </a:cubicBezTo>
                <a:cubicBezTo>
                  <a:pt x="2226" y="2802"/>
                  <a:pt x="2209" y="2834"/>
                  <a:pt x="2201" y="2834"/>
                </a:cubicBezTo>
                <a:lnTo>
                  <a:pt x="2201" y="2858"/>
                </a:lnTo>
                <a:lnTo>
                  <a:pt x="2217" y="2882"/>
                </a:lnTo>
                <a:lnTo>
                  <a:pt x="2217" y="2905"/>
                </a:lnTo>
                <a:lnTo>
                  <a:pt x="2234" y="2921"/>
                </a:lnTo>
                <a:cubicBezTo>
                  <a:pt x="2234" y="2921"/>
                  <a:pt x="2250" y="2921"/>
                  <a:pt x="2258" y="2929"/>
                </a:cubicBezTo>
                <a:cubicBezTo>
                  <a:pt x="2266" y="2929"/>
                  <a:pt x="2258" y="2945"/>
                  <a:pt x="2258" y="2945"/>
                </a:cubicBezTo>
                <a:lnTo>
                  <a:pt x="2250" y="2977"/>
                </a:lnTo>
                <a:cubicBezTo>
                  <a:pt x="2250" y="2977"/>
                  <a:pt x="2258" y="2985"/>
                  <a:pt x="2266" y="2993"/>
                </a:cubicBezTo>
                <a:cubicBezTo>
                  <a:pt x="2266" y="3001"/>
                  <a:pt x="2250" y="3016"/>
                  <a:pt x="2250" y="3016"/>
                </a:cubicBezTo>
                <a:cubicBezTo>
                  <a:pt x="2242" y="3016"/>
                  <a:pt x="2217" y="3040"/>
                  <a:pt x="2217" y="3040"/>
                </a:cubicBezTo>
                <a:cubicBezTo>
                  <a:pt x="2217" y="3040"/>
                  <a:pt x="2209" y="3048"/>
                  <a:pt x="2201" y="3048"/>
                </a:cubicBezTo>
                <a:cubicBezTo>
                  <a:pt x="2193" y="3048"/>
                  <a:pt x="2209" y="3072"/>
                  <a:pt x="2209" y="3072"/>
                </a:cubicBezTo>
                <a:lnTo>
                  <a:pt x="2217" y="3096"/>
                </a:lnTo>
                <a:lnTo>
                  <a:pt x="2209" y="3104"/>
                </a:lnTo>
                <a:cubicBezTo>
                  <a:pt x="2201" y="3112"/>
                  <a:pt x="2201" y="3128"/>
                  <a:pt x="2201" y="3128"/>
                </a:cubicBezTo>
                <a:lnTo>
                  <a:pt x="2185" y="3128"/>
                </a:lnTo>
                <a:lnTo>
                  <a:pt x="2176" y="3144"/>
                </a:lnTo>
                <a:cubicBezTo>
                  <a:pt x="2176" y="3144"/>
                  <a:pt x="2176" y="3167"/>
                  <a:pt x="2168" y="3167"/>
                </a:cubicBezTo>
                <a:cubicBezTo>
                  <a:pt x="2160" y="3167"/>
                  <a:pt x="2168" y="3183"/>
                  <a:pt x="2168" y="3183"/>
                </a:cubicBezTo>
                <a:lnTo>
                  <a:pt x="2160" y="3199"/>
                </a:lnTo>
                <a:lnTo>
                  <a:pt x="2193" y="3215"/>
                </a:lnTo>
                <a:lnTo>
                  <a:pt x="2185" y="3231"/>
                </a:lnTo>
                <a:lnTo>
                  <a:pt x="2185" y="3247"/>
                </a:lnTo>
                <a:lnTo>
                  <a:pt x="2193" y="3247"/>
                </a:lnTo>
                <a:cubicBezTo>
                  <a:pt x="2193" y="3247"/>
                  <a:pt x="2176" y="3255"/>
                  <a:pt x="2168" y="3255"/>
                </a:cubicBezTo>
                <a:cubicBezTo>
                  <a:pt x="2160" y="3263"/>
                  <a:pt x="2152" y="3255"/>
                  <a:pt x="2144" y="3263"/>
                </a:cubicBezTo>
                <a:cubicBezTo>
                  <a:pt x="2136" y="3263"/>
                  <a:pt x="2111" y="3271"/>
                  <a:pt x="2111" y="3271"/>
                </a:cubicBezTo>
                <a:lnTo>
                  <a:pt x="2103" y="3302"/>
                </a:lnTo>
                <a:lnTo>
                  <a:pt x="2086" y="3302"/>
                </a:lnTo>
                <a:lnTo>
                  <a:pt x="2086" y="3286"/>
                </a:lnTo>
                <a:lnTo>
                  <a:pt x="2078" y="3279"/>
                </a:lnTo>
                <a:lnTo>
                  <a:pt x="2078" y="3302"/>
                </a:lnTo>
                <a:lnTo>
                  <a:pt x="2160" y="3358"/>
                </a:lnTo>
                <a:lnTo>
                  <a:pt x="2299" y="3390"/>
                </a:lnTo>
                <a:lnTo>
                  <a:pt x="2332" y="3334"/>
                </a:lnTo>
                <a:cubicBezTo>
                  <a:pt x="2332" y="3334"/>
                  <a:pt x="2405" y="3207"/>
                  <a:pt x="2463" y="3215"/>
                </a:cubicBezTo>
                <a:cubicBezTo>
                  <a:pt x="2504" y="3223"/>
                  <a:pt x="2561" y="3239"/>
                  <a:pt x="2569" y="3239"/>
                </a:cubicBezTo>
                <a:cubicBezTo>
                  <a:pt x="2561" y="3191"/>
                  <a:pt x="2471" y="3112"/>
                  <a:pt x="2487" y="3096"/>
                </a:cubicBezTo>
                <a:cubicBezTo>
                  <a:pt x="2504" y="3072"/>
                  <a:pt x="2545" y="3017"/>
                  <a:pt x="2569" y="2985"/>
                </a:cubicBezTo>
                <a:cubicBezTo>
                  <a:pt x="2585" y="2953"/>
                  <a:pt x="2667" y="2929"/>
                  <a:pt x="2667" y="2929"/>
                </a:cubicBezTo>
                <a:lnTo>
                  <a:pt x="2733" y="2810"/>
                </a:lnTo>
                <a:cubicBezTo>
                  <a:pt x="2716" y="2627"/>
                  <a:pt x="2700" y="2580"/>
                  <a:pt x="2896" y="2556"/>
                </a:cubicBezTo>
                <a:cubicBezTo>
                  <a:pt x="2929" y="2548"/>
                  <a:pt x="2970" y="2524"/>
                  <a:pt x="2970" y="2524"/>
                </a:cubicBezTo>
                <a:lnTo>
                  <a:pt x="3035" y="2500"/>
                </a:lnTo>
                <a:lnTo>
                  <a:pt x="3158" y="2485"/>
                </a:lnTo>
                <a:lnTo>
                  <a:pt x="3060" y="2540"/>
                </a:lnTo>
                <a:lnTo>
                  <a:pt x="2986" y="2620"/>
                </a:lnTo>
                <a:lnTo>
                  <a:pt x="3084" y="2643"/>
                </a:lnTo>
                <a:cubicBezTo>
                  <a:pt x="3084" y="2643"/>
                  <a:pt x="3084" y="2715"/>
                  <a:pt x="3134" y="2699"/>
                </a:cubicBezTo>
                <a:cubicBezTo>
                  <a:pt x="3174" y="2683"/>
                  <a:pt x="3273" y="2643"/>
                  <a:pt x="3289" y="2643"/>
                </a:cubicBezTo>
                <a:cubicBezTo>
                  <a:pt x="3305" y="2635"/>
                  <a:pt x="3395" y="2612"/>
                  <a:pt x="3420" y="2612"/>
                </a:cubicBezTo>
                <a:cubicBezTo>
                  <a:pt x="3444" y="2612"/>
                  <a:pt x="3575" y="2596"/>
                  <a:pt x="3575" y="2596"/>
                </a:cubicBezTo>
                <a:lnTo>
                  <a:pt x="3592" y="2667"/>
                </a:lnTo>
                <a:lnTo>
                  <a:pt x="3534" y="2739"/>
                </a:lnTo>
                <a:lnTo>
                  <a:pt x="3461" y="2810"/>
                </a:lnTo>
                <a:lnTo>
                  <a:pt x="3346" y="2913"/>
                </a:lnTo>
                <a:cubicBezTo>
                  <a:pt x="3346" y="2913"/>
                  <a:pt x="3313" y="2969"/>
                  <a:pt x="3330" y="2977"/>
                </a:cubicBezTo>
                <a:cubicBezTo>
                  <a:pt x="3346" y="2985"/>
                  <a:pt x="3469" y="2969"/>
                  <a:pt x="3469" y="2969"/>
                </a:cubicBezTo>
                <a:lnTo>
                  <a:pt x="3608" y="2977"/>
                </a:lnTo>
                <a:cubicBezTo>
                  <a:pt x="3608" y="2977"/>
                  <a:pt x="3633" y="2985"/>
                  <a:pt x="3649" y="3032"/>
                </a:cubicBezTo>
                <a:cubicBezTo>
                  <a:pt x="3673" y="3088"/>
                  <a:pt x="3690" y="3112"/>
                  <a:pt x="3698" y="3128"/>
                </a:cubicBezTo>
                <a:cubicBezTo>
                  <a:pt x="3714" y="3151"/>
                  <a:pt x="3747" y="3199"/>
                  <a:pt x="3747" y="3199"/>
                </a:cubicBezTo>
                <a:cubicBezTo>
                  <a:pt x="3747" y="3199"/>
                  <a:pt x="3714" y="3231"/>
                  <a:pt x="3755" y="3223"/>
                </a:cubicBezTo>
                <a:cubicBezTo>
                  <a:pt x="3804" y="3223"/>
                  <a:pt x="3837" y="3215"/>
                  <a:pt x="3837" y="3215"/>
                </a:cubicBezTo>
                <a:cubicBezTo>
                  <a:pt x="3837" y="3215"/>
                  <a:pt x="3845" y="3167"/>
                  <a:pt x="3862" y="3151"/>
                </a:cubicBezTo>
                <a:cubicBezTo>
                  <a:pt x="3886" y="3144"/>
                  <a:pt x="3911" y="3120"/>
                  <a:pt x="3911" y="3120"/>
                </a:cubicBezTo>
                <a:cubicBezTo>
                  <a:pt x="3911" y="3120"/>
                  <a:pt x="3902" y="3072"/>
                  <a:pt x="3927" y="3056"/>
                </a:cubicBezTo>
                <a:cubicBezTo>
                  <a:pt x="3952" y="3048"/>
                  <a:pt x="3984" y="3040"/>
                  <a:pt x="4017" y="3032"/>
                </a:cubicBezTo>
                <a:cubicBezTo>
                  <a:pt x="4050" y="3016"/>
                  <a:pt x="4082" y="2961"/>
                  <a:pt x="4082" y="2961"/>
                </a:cubicBezTo>
                <a:lnTo>
                  <a:pt x="4123" y="2929"/>
                </a:lnTo>
                <a:lnTo>
                  <a:pt x="4221" y="2897"/>
                </a:lnTo>
                <a:lnTo>
                  <a:pt x="4213" y="2818"/>
                </a:lnTo>
                <a:cubicBezTo>
                  <a:pt x="4213" y="2818"/>
                  <a:pt x="4221" y="2802"/>
                  <a:pt x="4246" y="2802"/>
                </a:cubicBezTo>
                <a:cubicBezTo>
                  <a:pt x="4262" y="2794"/>
                  <a:pt x="4434" y="2739"/>
                  <a:pt x="4434" y="2739"/>
                </a:cubicBezTo>
                <a:lnTo>
                  <a:pt x="4483" y="2659"/>
                </a:lnTo>
                <a:lnTo>
                  <a:pt x="4483" y="2580"/>
                </a:lnTo>
                <a:cubicBezTo>
                  <a:pt x="4483" y="2580"/>
                  <a:pt x="4500" y="2532"/>
                  <a:pt x="4467" y="2532"/>
                </a:cubicBezTo>
                <a:cubicBezTo>
                  <a:pt x="4434" y="2532"/>
                  <a:pt x="4352" y="2612"/>
                  <a:pt x="4352" y="2612"/>
                </a:cubicBezTo>
                <a:lnTo>
                  <a:pt x="4262" y="2620"/>
                </a:lnTo>
                <a:cubicBezTo>
                  <a:pt x="4262" y="2620"/>
                  <a:pt x="4221" y="2691"/>
                  <a:pt x="4205" y="2691"/>
                </a:cubicBezTo>
                <a:cubicBezTo>
                  <a:pt x="4189" y="2699"/>
                  <a:pt x="4140" y="2715"/>
                  <a:pt x="4123" y="2707"/>
                </a:cubicBezTo>
                <a:cubicBezTo>
                  <a:pt x="4107" y="2707"/>
                  <a:pt x="4131" y="2794"/>
                  <a:pt x="4074" y="2691"/>
                </a:cubicBezTo>
                <a:cubicBezTo>
                  <a:pt x="4017" y="2588"/>
                  <a:pt x="3992" y="2588"/>
                  <a:pt x="3992" y="2588"/>
                </a:cubicBezTo>
                <a:lnTo>
                  <a:pt x="3935" y="2588"/>
                </a:lnTo>
                <a:cubicBezTo>
                  <a:pt x="3935" y="2588"/>
                  <a:pt x="3886" y="2612"/>
                  <a:pt x="3878" y="2596"/>
                </a:cubicBezTo>
                <a:cubicBezTo>
                  <a:pt x="3878" y="2580"/>
                  <a:pt x="3853" y="2532"/>
                  <a:pt x="3853" y="2532"/>
                </a:cubicBezTo>
                <a:lnTo>
                  <a:pt x="3772" y="2532"/>
                </a:lnTo>
                <a:lnTo>
                  <a:pt x="3739" y="2548"/>
                </a:lnTo>
                <a:lnTo>
                  <a:pt x="3616" y="2540"/>
                </a:lnTo>
                <a:lnTo>
                  <a:pt x="3567" y="2508"/>
                </a:lnTo>
                <a:lnTo>
                  <a:pt x="3633" y="2477"/>
                </a:lnTo>
                <a:cubicBezTo>
                  <a:pt x="3633" y="2477"/>
                  <a:pt x="3657" y="2500"/>
                  <a:pt x="3665" y="2500"/>
                </a:cubicBezTo>
                <a:cubicBezTo>
                  <a:pt x="3682" y="2492"/>
                  <a:pt x="3665" y="2469"/>
                  <a:pt x="3682" y="2461"/>
                </a:cubicBezTo>
                <a:cubicBezTo>
                  <a:pt x="3706" y="2453"/>
                  <a:pt x="3731" y="2429"/>
                  <a:pt x="3755" y="2445"/>
                </a:cubicBezTo>
                <a:cubicBezTo>
                  <a:pt x="3780" y="2453"/>
                  <a:pt x="3755" y="2500"/>
                  <a:pt x="3796" y="2469"/>
                </a:cubicBezTo>
                <a:cubicBezTo>
                  <a:pt x="3837" y="2437"/>
                  <a:pt x="3878" y="2445"/>
                  <a:pt x="3878" y="2445"/>
                </a:cubicBezTo>
                <a:lnTo>
                  <a:pt x="3927" y="2365"/>
                </a:lnTo>
                <a:lnTo>
                  <a:pt x="3960" y="2294"/>
                </a:lnTo>
                <a:cubicBezTo>
                  <a:pt x="3960" y="2294"/>
                  <a:pt x="3976" y="2302"/>
                  <a:pt x="3992" y="2310"/>
                </a:cubicBezTo>
                <a:cubicBezTo>
                  <a:pt x="4017" y="2310"/>
                  <a:pt x="4074" y="2215"/>
                  <a:pt x="4074" y="2215"/>
                </a:cubicBezTo>
                <a:cubicBezTo>
                  <a:pt x="4074" y="2215"/>
                  <a:pt x="4082" y="2119"/>
                  <a:pt x="4099" y="2119"/>
                </a:cubicBezTo>
                <a:cubicBezTo>
                  <a:pt x="4115" y="2111"/>
                  <a:pt x="4238" y="2072"/>
                  <a:pt x="4238" y="2072"/>
                </a:cubicBezTo>
                <a:lnTo>
                  <a:pt x="4320" y="2024"/>
                </a:lnTo>
                <a:cubicBezTo>
                  <a:pt x="4320" y="2024"/>
                  <a:pt x="4361" y="1968"/>
                  <a:pt x="4377" y="1960"/>
                </a:cubicBezTo>
                <a:cubicBezTo>
                  <a:pt x="4393" y="1960"/>
                  <a:pt x="4410" y="1929"/>
                  <a:pt x="4426" y="1889"/>
                </a:cubicBezTo>
                <a:cubicBezTo>
                  <a:pt x="4451" y="1857"/>
                  <a:pt x="4467" y="1833"/>
                  <a:pt x="4467" y="1833"/>
                </a:cubicBezTo>
                <a:cubicBezTo>
                  <a:pt x="4467" y="1833"/>
                  <a:pt x="4565" y="1810"/>
                  <a:pt x="4557" y="1802"/>
                </a:cubicBezTo>
                <a:cubicBezTo>
                  <a:pt x="4557" y="1786"/>
                  <a:pt x="4516" y="1754"/>
                  <a:pt x="4565" y="1754"/>
                </a:cubicBezTo>
                <a:cubicBezTo>
                  <a:pt x="4614" y="1754"/>
                  <a:pt x="4614" y="1754"/>
                  <a:pt x="4639" y="1738"/>
                </a:cubicBezTo>
                <a:cubicBezTo>
                  <a:pt x="4655" y="1730"/>
                  <a:pt x="4647" y="1722"/>
                  <a:pt x="4655" y="1698"/>
                </a:cubicBezTo>
                <a:cubicBezTo>
                  <a:pt x="4671" y="1683"/>
                  <a:pt x="4680" y="1659"/>
                  <a:pt x="4680" y="1643"/>
                </a:cubicBezTo>
                <a:cubicBezTo>
                  <a:pt x="4671" y="1627"/>
                  <a:pt x="4630" y="1563"/>
                  <a:pt x="4630" y="1548"/>
                </a:cubicBezTo>
                <a:cubicBezTo>
                  <a:pt x="4622" y="1524"/>
                  <a:pt x="4630" y="1476"/>
                  <a:pt x="4630" y="1476"/>
                </a:cubicBezTo>
                <a:cubicBezTo>
                  <a:pt x="4630" y="1476"/>
                  <a:pt x="4655" y="1468"/>
                  <a:pt x="4680" y="1460"/>
                </a:cubicBezTo>
                <a:cubicBezTo>
                  <a:pt x="4696" y="1444"/>
                  <a:pt x="4729" y="1389"/>
                  <a:pt x="4729" y="1389"/>
                </a:cubicBezTo>
                <a:lnTo>
                  <a:pt x="4737" y="1349"/>
                </a:lnTo>
                <a:cubicBezTo>
                  <a:pt x="4737" y="1349"/>
                  <a:pt x="4770" y="1325"/>
                  <a:pt x="4778" y="1325"/>
                </a:cubicBezTo>
                <a:cubicBezTo>
                  <a:pt x="4794" y="1317"/>
                  <a:pt x="4925" y="1270"/>
                  <a:pt x="4933" y="1270"/>
                </a:cubicBezTo>
                <a:cubicBezTo>
                  <a:pt x="4941" y="1270"/>
                  <a:pt x="5023" y="1278"/>
                  <a:pt x="4999" y="1238"/>
                </a:cubicBezTo>
                <a:cubicBezTo>
                  <a:pt x="4974" y="1206"/>
                  <a:pt x="4966" y="1190"/>
                  <a:pt x="4958" y="1166"/>
                </a:cubicBezTo>
                <a:cubicBezTo>
                  <a:pt x="4950" y="1143"/>
                  <a:pt x="4950" y="1087"/>
                  <a:pt x="4950" y="1079"/>
                </a:cubicBezTo>
                <a:cubicBezTo>
                  <a:pt x="4958" y="1071"/>
                  <a:pt x="5023" y="1047"/>
                  <a:pt x="4950" y="1039"/>
                </a:cubicBezTo>
                <a:cubicBezTo>
                  <a:pt x="4876" y="1031"/>
                  <a:pt x="4933" y="1008"/>
                  <a:pt x="4917" y="992"/>
                </a:cubicBezTo>
                <a:cubicBezTo>
                  <a:pt x="4892" y="976"/>
                  <a:pt x="4843" y="944"/>
                  <a:pt x="4843" y="944"/>
                </a:cubicBezTo>
                <a:lnTo>
                  <a:pt x="4819" y="944"/>
                </a:lnTo>
                <a:lnTo>
                  <a:pt x="4827" y="865"/>
                </a:lnTo>
                <a:cubicBezTo>
                  <a:pt x="4827" y="865"/>
                  <a:pt x="4851" y="833"/>
                  <a:pt x="4860" y="833"/>
                </a:cubicBezTo>
                <a:cubicBezTo>
                  <a:pt x="4868" y="825"/>
                  <a:pt x="4876" y="793"/>
                  <a:pt x="4860" y="793"/>
                </a:cubicBezTo>
                <a:cubicBezTo>
                  <a:pt x="4843" y="801"/>
                  <a:pt x="4794" y="809"/>
                  <a:pt x="4794" y="809"/>
                </a:cubicBezTo>
                <a:cubicBezTo>
                  <a:pt x="4794" y="809"/>
                  <a:pt x="4753" y="809"/>
                  <a:pt x="4761" y="793"/>
                </a:cubicBezTo>
                <a:cubicBezTo>
                  <a:pt x="4761" y="769"/>
                  <a:pt x="4778" y="769"/>
                  <a:pt x="4802" y="746"/>
                </a:cubicBezTo>
                <a:cubicBezTo>
                  <a:pt x="4827" y="722"/>
                  <a:pt x="4835" y="706"/>
                  <a:pt x="4835" y="706"/>
                </a:cubicBezTo>
                <a:lnTo>
                  <a:pt x="4827" y="658"/>
                </a:lnTo>
                <a:cubicBezTo>
                  <a:pt x="4827" y="658"/>
                  <a:pt x="4827" y="626"/>
                  <a:pt x="4819" y="626"/>
                </a:cubicBezTo>
                <a:cubicBezTo>
                  <a:pt x="4819" y="619"/>
                  <a:pt x="4770" y="523"/>
                  <a:pt x="4770" y="523"/>
                </a:cubicBezTo>
                <a:cubicBezTo>
                  <a:pt x="4770" y="523"/>
                  <a:pt x="4720" y="507"/>
                  <a:pt x="4712" y="523"/>
                </a:cubicBezTo>
                <a:cubicBezTo>
                  <a:pt x="4712" y="539"/>
                  <a:pt x="4696" y="571"/>
                  <a:pt x="4696" y="571"/>
                </a:cubicBezTo>
                <a:lnTo>
                  <a:pt x="4639" y="571"/>
                </a:lnTo>
                <a:lnTo>
                  <a:pt x="4606" y="547"/>
                </a:lnTo>
                <a:lnTo>
                  <a:pt x="4541" y="531"/>
                </a:lnTo>
                <a:cubicBezTo>
                  <a:pt x="4541" y="531"/>
                  <a:pt x="4532" y="539"/>
                  <a:pt x="4524" y="547"/>
                </a:cubicBezTo>
                <a:cubicBezTo>
                  <a:pt x="4524" y="555"/>
                  <a:pt x="4459" y="515"/>
                  <a:pt x="4459" y="515"/>
                </a:cubicBezTo>
                <a:cubicBezTo>
                  <a:pt x="4459" y="515"/>
                  <a:pt x="4434" y="547"/>
                  <a:pt x="4426" y="555"/>
                </a:cubicBezTo>
                <a:lnTo>
                  <a:pt x="4361" y="539"/>
                </a:lnTo>
                <a:lnTo>
                  <a:pt x="4295" y="547"/>
                </a:lnTo>
                <a:lnTo>
                  <a:pt x="4238" y="555"/>
                </a:lnTo>
                <a:lnTo>
                  <a:pt x="4189" y="531"/>
                </a:lnTo>
                <a:lnTo>
                  <a:pt x="4172" y="555"/>
                </a:lnTo>
                <a:lnTo>
                  <a:pt x="4181" y="595"/>
                </a:lnTo>
                <a:lnTo>
                  <a:pt x="4140" y="619"/>
                </a:lnTo>
                <a:lnTo>
                  <a:pt x="4091" y="587"/>
                </a:lnTo>
                <a:lnTo>
                  <a:pt x="4050" y="579"/>
                </a:lnTo>
                <a:lnTo>
                  <a:pt x="3992" y="523"/>
                </a:lnTo>
                <a:lnTo>
                  <a:pt x="3943" y="507"/>
                </a:lnTo>
                <a:lnTo>
                  <a:pt x="3894" y="484"/>
                </a:lnTo>
                <a:cubicBezTo>
                  <a:pt x="3894" y="484"/>
                  <a:pt x="3870" y="547"/>
                  <a:pt x="3862" y="555"/>
                </a:cubicBezTo>
                <a:cubicBezTo>
                  <a:pt x="3853" y="555"/>
                  <a:pt x="3812" y="571"/>
                  <a:pt x="3804" y="571"/>
                </a:cubicBezTo>
                <a:cubicBezTo>
                  <a:pt x="3788" y="579"/>
                  <a:pt x="3780" y="619"/>
                  <a:pt x="3780" y="619"/>
                </a:cubicBezTo>
                <a:lnTo>
                  <a:pt x="3739" y="642"/>
                </a:lnTo>
                <a:cubicBezTo>
                  <a:pt x="3739" y="642"/>
                  <a:pt x="3714" y="626"/>
                  <a:pt x="3698" y="626"/>
                </a:cubicBezTo>
                <a:cubicBezTo>
                  <a:pt x="3690" y="626"/>
                  <a:pt x="3682" y="634"/>
                  <a:pt x="3682" y="634"/>
                </a:cubicBezTo>
                <a:lnTo>
                  <a:pt x="3665" y="658"/>
                </a:lnTo>
                <a:cubicBezTo>
                  <a:pt x="3665" y="658"/>
                  <a:pt x="3657" y="658"/>
                  <a:pt x="3632" y="642"/>
                </a:cubicBezTo>
                <a:cubicBezTo>
                  <a:pt x="3616" y="634"/>
                  <a:pt x="3592" y="619"/>
                  <a:pt x="3592" y="619"/>
                </a:cubicBezTo>
                <a:lnTo>
                  <a:pt x="3567" y="611"/>
                </a:lnTo>
                <a:cubicBezTo>
                  <a:pt x="3567" y="611"/>
                  <a:pt x="3493" y="642"/>
                  <a:pt x="3485" y="650"/>
                </a:cubicBezTo>
                <a:cubicBezTo>
                  <a:pt x="3485" y="658"/>
                  <a:pt x="3469" y="682"/>
                  <a:pt x="3469" y="682"/>
                </a:cubicBezTo>
                <a:lnTo>
                  <a:pt x="3428" y="650"/>
                </a:lnTo>
                <a:lnTo>
                  <a:pt x="3379" y="619"/>
                </a:lnTo>
                <a:lnTo>
                  <a:pt x="3371" y="563"/>
                </a:lnTo>
                <a:lnTo>
                  <a:pt x="3281" y="484"/>
                </a:lnTo>
                <a:lnTo>
                  <a:pt x="3264" y="404"/>
                </a:lnTo>
                <a:lnTo>
                  <a:pt x="3199" y="357"/>
                </a:lnTo>
                <a:lnTo>
                  <a:pt x="3158" y="404"/>
                </a:lnTo>
                <a:lnTo>
                  <a:pt x="3093" y="396"/>
                </a:lnTo>
                <a:lnTo>
                  <a:pt x="3027" y="412"/>
                </a:lnTo>
                <a:cubicBezTo>
                  <a:pt x="3027" y="412"/>
                  <a:pt x="2986" y="452"/>
                  <a:pt x="2986" y="436"/>
                </a:cubicBezTo>
                <a:cubicBezTo>
                  <a:pt x="2978" y="420"/>
                  <a:pt x="2994" y="388"/>
                  <a:pt x="2994" y="372"/>
                </a:cubicBezTo>
                <a:cubicBezTo>
                  <a:pt x="2986" y="364"/>
                  <a:pt x="2945" y="388"/>
                  <a:pt x="2953" y="357"/>
                </a:cubicBezTo>
                <a:cubicBezTo>
                  <a:pt x="2962" y="341"/>
                  <a:pt x="2953" y="317"/>
                  <a:pt x="2945" y="309"/>
                </a:cubicBezTo>
                <a:cubicBezTo>
                  <a:pt x="2929" y="293"/>
                  <a:pt x="2880" y="293"/>
                  <a:pt x="2896" y="262"/>
                </a:cubicBezTo>
                <a:cubicBezTo>
                  <a:pt x="2913" y="238"/>
                  <a:pt x="2953" y="223"/>
                  <a:pt x="2953" y="223"/>
                </a:cubicBezTo>
                <a:lnTo>
                  <a:pt x="2953" y="207"/>
                </a:lnTo>
                <a:lnTo>
                  <a:pt x="2921" y="175"/>
                </a:lnTo>
                <a:lnTo>
                  <a:pt x="2831" y="135"/>
                </a:lnTo>
                <a:cubicBezTo>
                  <a:pt x="2831" y="135"/>
                  <a:pt x="2823" y="88"/>
                  <a:pt x="2806" y="88"/>
                </a:cubicBezTo>
                <a:cubicBezTo>
                  <a:pt x="2798" y="80"/>
                  <a:pt x="2774" y="56"/>
                  <a:pt x="2774" y="56"/>
                </a:cubicBezTo>
                <a:cubicBezTo>
                  <a:pt x="2774" y="56"/>
                  <a:pt x="2749" y="24"/>
                  <a:pt x="2716" y="16"/>
                </a:cubicBezTo>
                <a:cubicBezTo>
                  <a:pt x="2684" y="0"/>
                  <a:pt x="2659" y="72"/>
                  <a:pt x="2659" y="72"/>
                </a:cubicBezTo>
                <a:lnTo>
                  <a:pt x="2626" y="40"/>
                </a:lnTo>
                <a:lnTo>
                  <a:pt x="2561" y="64"/>
                </a:lnTo>
                <a:lnTo>
                  <a:pt x="2512" y="135"/>
                </a:lnTo>
                <a:lnTo>
                  <a:pt x="2479" y="143"/>
                </a:lnTo>
                <a:lnTo>
                  <a:pt x="2430" y="151"/>
                </a:lnTo>
                <a:lnTo>
                  <a:pt x="2356" y="167"/>
                </a:lnTo>
                <a:lnTo>
                  <a:pt x="2340" y="215"/>
                </a:lnTo>
                <a:lnTo>
                  <a:pt x="2348" y="262"/>
                </a:lnTo>
                <a:lnTo>
                  <a:pt x="2307" y="293"/>
                </a:lnTo>
                <a:lnTo>
                  <a:pt x="2209" y="285"/>
                </a:lnTo>
                <a:lnTo>
                  <a:pt x="2144" y="301"/>
                </a:lnTo>
                <a:lnTo>
                  <a:pt x="2111" y="349"/>
                </a:lnTo>
                <a:lnTo>
                  <a:pt x="2013" y="349"/>
                </a:lnTo>
                <a:lnTo>
                  <a:pt x="1996" y="444"/>
                </a:lnTo>
                <a:lnTo>
                  <a:pt x="1972" y="507"/>
                </a:lnTo>
                <a:lnTo>
                  <a:pt x="1947" y="579"/>
                </a:lnTo>
                <a:lnTo>
                  <a:pt x="1964" y="619"/>
                </a:lnTo>
                <a:lnTo>
                  <a:pt x="1988" y="674"/>
                </a:lnTo>
                <a:lnTo>
                  <a:pt x="2037" y="730"/>
                </a:lnTo>
                <a:lnTo>
                  <a:pt x="1988" y="746"/>
                </a:lnTo>
                <a:lnTo>
                  <a:pt x="1955" y="753"/>
                </a:lnTo>
                <a:lnTo>
                  <a:pt x="1923" y="706"/>
                </a:lnTo>
                <a:lnTo>
                  <a:pt x="1874" y="690"/>
                </a:lnTo>
                <a:lnTo>
                  <a:pt x="1816" y="714"/>
                </a:lnTo>
                <a:lnTo>
                  <a:pt x="1759" y="730"/>
                </a:lnTo>
                <a:lnTo>
                  <a:pt x="1743" y="730"/>
                </a:lnTo>
                <a:lnTo>
                  <a:pt x="1726" y="761"/>
                </a:lnTo>
                <a:lnTo>
                  <a:pt x="1677" y="785"/>
                </a:lnTo>
                <a:cubicBezTo>
                  <a:pt x="1677" y="785"/>
                  <a:pt x="1661" y="769"/>
                  <a:pt x="1653" y="761"/>
                </a:cubicBezTo>
                <a:cubicBezTo>
                  <a:pt x="1645" y="753"/>
                  <a:pt x="1620" y="738"/>
                  <a:pt x="1620" y="738"/>
                </a:cubicBezTo>
                <a:cubicBezTo>
                  <a:pt x="1620" y="738"/>
                  <a:pt x="1612" y="722"/>
                  <a:pt x="1604" y="714"/>
                </a:cubicBezTo>
                <a:cubicBezTo>
                  <a:pt x="1596" y="714"/>
                  <a:pt x="1547" y="746"/>
                  <a:pt x="1547" y="746"/>
                </a:cubicBezTo>
                <a:cubicBezTo>
                  <a:pt x="1547" y="746"/>
                  <a:pt x="1506" y="769"/>
                  <a:pt x="1506" y="777"/>
                </a:cubicBezTo>
                <a:cubicBezTo>
                  <a:pt x="1514" y="777"/>
                  <a:pt x="1506" y="817"/>
                  <a:pt x="1506" y="817"/>
                </a:cubicBezTo>
                <a:lnTo>
                  <a:pt x="1448" y="769"/>
                </a:lnTo>
                <a:lnTo>
                  <a:pt x="1407" y="801"/>
                </a:lnTo>
                <a:lnTo>
                  <a:pt x="1375" y="777"/>
                </a:lnTo>
                <a:lnTo>
                  <a:pt x="1358" y="769"/>
                </a:lnTo>
                <a:lnTo>
                  <a:pt x="1309" y="825"/>
                </a:lnTo>
                <a:lnTo>
                  <a:pt x="1277" y="809"/>
                </a:lnTo>
                <a:lnTo>
                  <a:pt x="1260" y="865"/>
                </a:lnTo>
                <a:lnTo>
                  <a:pt x="1219" y="833"/>
                </a:lnTo>
                <a:cubicBezTo>
                  <a:pt x="1219" y="833"/>
                  <a:pt x="1178" y="825"/>
                  <a:pt x="1170" y="825"/>
                </a:cubicBezTo>
                <a:cubicBezTo>
                  <a:pt x="1162" y="825"/>
                  <a:pt x="1137" y="857"/>
                  <a:pt x="1137" y="857"/>
                </a:cubicBezTo>
                <a:lnTo>
                  <a:pt x="1097" y="825"/>
                </a:lnTo>
                <a:lnTo>
                  <a:pt x="1064" y="801"/>
                </a:lnTo>
                <a:cubicBezTo>
                  <a:pt x="1064" y="801"/>
                  <a:pt x="974" y="809"/>
                  <a:pt x="966" y="809"/>
                </a:cubicBezTo>
                <a:cubicBezTo>
                  <a:pt x="957" y="809"/>
                  <a:pt x="900" y="801"/>
                  <a:pt x="900" y="801"/>
                </a:cubicBezTo>
                <a:lnTo>
                  <a:pt x="827" y="817"/>
                </a:lnTo>
                <a:lnTo>
                  <a:pt x="720" y="817"/>
                </a:lnTo>
                <a:lnTo>
                  <a:pt x="622" y="825"/>
                </a:lnTo>
                <a:lnTo>
                  <a:pt x="548" y="825"/>
                </a:lnTo>
                <a:lnTo>
                  <a:pt x="491" y="865"/>
                </a:lnTo>
                <a:lnTo>
                  <a:pt x="434" y="873"/>
                </a:lnTo>
                <a:lnTo>
                  <a:pt x="368" y="881"/>
                </a:lnTo>
                <a:lnTo>
                  <a:pt x="360" y="881"/>
                </a:lnTo>
                <a:lnTo>
                  <a:pt x="352" y="888"/>
                </a:lnTo>
                <a:lnTo>
                  <a:pt x="328" y="904"/>
                </a:lnTo>
                <a:lnTo>
                  <a:pt x="328" y="912"/>
                </a:lnTo>
                <a:lnTo>
                  <a:pt x="311" y="928"/>
                </a:lnTo>
                <a:lnTo>
                  <a:pt x="303" y="968"/>
                </a:lnTo>
                <a:cubicBezTo>
                  <a:pt x="295" y="984"/>
                  <a:pt x="278" y="1000"/>
                  <a:pt x="270" y="1015"/>
                </a:cubicBezTo>
                <a:cubicBezTo>
                  <a:pt x="270" y="1015"/>
                  <a:pt x="246" y="1008"/>
                  <a:pt x="246" y="1023"/>
                </a:cubicBezTo>
                <a:lnTo>
                  <a:pt x="246" y="1031"/>
                </a:lnTo>
                <a:cubicBezTo>
                  <a:pt x="221" y="1039"/>
                  <a:pt x="180" y="1023"/>
                  <a:pt x="180" y="1023"/>
                </a:cubicBezTo>
                <a:lnTo>
                  <a:pt x="139" y="1047"/>
                </a:lnTo>
                <a:cubicBezTo>
                  <a:pt x="139" y="1055"/>
                  <a:pt x="139" y="1063"/>
                  <a:pt x="148" y="1063"/>
                </a:cubicBezTo>
                <a:cubicBezTo>
                  <a:pt x="156" y="1071"/>
                  <a:pt x="156" y="1071"/>
                  <a:pt x="156" y="1079"/>
                </a:cubicBezTo>
                <a:cubicBezTo>
                  <a:pt x="164" y="1079"/>
                  <a:pt x="164" y="1087"/>
                  <a:pt x="164" y="1087"/>
                </a:cubicBezTo>
                <a:lnTo>
                  <a:pt x="180" y="1127"/>
                </a:lnTo>
                <a:lnTo>
                  <a:pt x="180" y="1158"/>
                </a:lnTo>
                <a:cubicBezTo>
                  <a:pt x="180" y="1158"/>
                  <a:pt x="180" y="1182"/>
                  <a:pt x="197" y="1182"/>
                </a:cubicBezTo>
                <a:cubicBezTo>
                  <a:pt x="213" y="1182"/>
                  <a:pt x="221" y="1190"/>
                  <a:pt x="221" y="1206"/>
                </a:cubicBezTo>
                <a:cubicBezTo>
                  <a:pt x="221" y="1222"/>
                  <a:pt x="262" y="1238"/>
                  <a:pt x="262" y="1238"/>
                </a:cubicBezTo>
                <a:cubicBezTo>
                  <a:pt x="262" y="1238"/>
                  <a:pt x="262" y="1270"/>
                  <a:pt x="270" y="1278"/>
                </a:cubicBezTo>
                <a:cubicBezTo>
                  <a:pt x="287" y="1286"/>
                  <a:pt x="303" y="1293"/>
                  <a:pt x="328" y="1293"/>
                </a:cubicBezTo>
                <a:cubicBezTo>
                  <a:pt x="352" y="1301"/>
                  <a:pt x="344" y="1333"/>
                  <a:pt x="360" y="1341"/>
                </a:cubicBezTo>
                <a:cubicBezTo>
                  <a:pt x="377" y="1349"/>
                  <a:pt x="393" y="1365"/>
                  <a:pt x="377" y="1365"/>
                </a:cubicBezTo>
                <a:cubicBezTo>
                  <a:pt x="368" y="1373"/>
                  <a:pt x="344" y="1373"/>
                  <a:pt x="344" y="1373"/>
                </a:cubicBezTo>
                <a:cubicBezTo>
                  <a:pt x="344" y="1373"/>
                  <a:pt x="336" y="1381"/>
                  <a:pt x="336" y="1397"/>
                </a:cubicBezTo>
                <a:lnTo>
                  <a:pt x="344" y="1405"/>
                </a:lnTo>
                <a:lnTo>
                  <a:pt x="377" y="1444"/>
                </a:lnTo>
                <a:lnTo>
                  <a:pt x="377" y="1492"/>
                </a:lnTo>
                <a:lnTo>
                  <a:pt x="377" y="1524"/>
                </a:lnTo>
                <a:cubicBezTo>
                  <a:pt x="377" y="1532"/>
                  <a:pt x="368" y="1548"/>
                  <a:pt x="352" y="1548"/>
                </a:cubicBezTo>
                <a:lnTo>
                  <a:pt x="344" y="1548"/>
                </a:lnTo>
                <a:cubicBezTo>
                  <a:pt x="336" y="1555"/>
                  <a:pt x="336" y="1571"/>
                  <a:pt x="328" y="1571"/>
                </a:cubicBezTo>
                <a:cubicBezTo>
                  <a:pt x="319" y="1579"/>
                  <a:pt x="303" y="1555"/>
                  <a:pt x="295" y="1579"/>
                </a:cubicBezTo>
                <a:cubicBezTo>
                  <a:pt x="287" y="1611"/>
                  <a:pt x="270" y="1635"/>
                  <a:pt x="270" y="1643"/>
                </a:cubicBezTo>
                <a:cubicBezTo>
                  <a:pt x="262" y="1651"/>
                  <a:pt x="238" y="1659"/>
                  <a:pt x="238" y="1675"/>
                </a:cubicBezTo>
                <a:cubicBezTo>
                  <a:pt x="229" y="1690"/>
                  <a:pt x="229" y="1675"/>
                  <a:pt x="213" y="1714"/>
                </a:cubicBezTo>
                <a:cubicBezTo>
                  <a:pt x="197" y="1754"/>
                  <a:pt x="188" y="1770"/>
                  <a:pt x="188" y="1770"/>
                </a:cubicBezTo>
                <a:lnTo>
                  <a:pt x="115" y="1865"/>
                </a:lnTo>
                <a:cubicBezTo>
                  <a:pt x="115" y="1865"/>
                  <a:pt x="74" y="1929"/>
                  <a:pt x="74" y="1937"/>
                </a:cubicBezTo>
                <a:lnTo>
                  <a:pt x="74" y="1976"/>
                </a:lnTo>
                <a:lnTo>
                  <a:pt x="107" y="2008"/>
                </a:lnTo>
                <a:lnTo>
                  <a:pt x="107" y="2040"/>
                </a:lnTo>
                <a:cubicBezTo>
                  <a:pt x="107" y="2040"/>
                  <a:pt x="107" y="2064"/>
                  <a:pt x="115" y="2072"/>
                </a:cubicBezTo>
                <a:lnTo>
                  <a:pt x="123" y="2072"/>
                </a:lnTo>
                <a:lnTo>
                  <a:pt x="115" y="2095"/>
                </a:lnTo>
                <a:cubicBezTo>
                  <a:pt x="115" y="2095"/>
                  <a:pt x="123" y="2119"/>
                  <a:pt x="131" y="2119"/>
                </a:cubicBezTo>
                <a:lnTo>
                  <a:pt x="148" y="2127"/>
                </a:lnTo>
                <a:lnTo>
                  <a:pt x="164" y="2143"/>
                </a:lnTo>
                <a:cubicBezTo>
                  <a:pt x="172" y="2151"/>
                  <a:pt x="164" y="2167"/>
                  <a:pt x="164" y="2167"/>
                </a:cubicBezTo>
                <a:cubicBezTo>
                  <a:pt x="164" y="2167"/>
                  <a:pt x="164" y="2175"/>
                  <a:pt x="156" y="2175"/>
                </a:cubicBezTo>
                <a:lnTo>
                  <a:pt x="131" y="2175"/>
                </a:lnTo>
                <a:cubicBezTo>
                  <a:pt x="131" y="2167"/>
                  <a:pt x="131" y="2167"/>
                  <a:pt x="123" y="2167"/>
                </a:cubicBezTo>
                <a:lnTo>
                  <a:pt x="107" y="2167"/>
                </a:lnTo>
                <a:lnTo>
                  <a:pt x="90" y="2167"/>
                </a:lnTo>
                <a:lnTo>
                  <a:pt x="82" y="2167"/>
                </a:lnTo>
                <a:cubicBezTo>
                  <a:pt x="74" y="2167"/>
                  <a:pt x="74" y="2167"/>
                  <a:pt x="66" y="2175"/>
                </a:cubicBezTo>
                <a:lnTo>
                  <a:pt x="66" y="2183"/>
                </a:lnTo>
                <a:cubicBezTo>
                  <a:pt x="66" y="2183"/>
                  <a:pt x="58" y="2191"/>
                  <a:pt x="58" y="2199"/>
                </a:cubicBezTo>
                <a:cubicBezTo>
                  <a:pt x="49" y="2199"/>
                  <a:pt x="49" y="2215"/>
                  <a:pt x="49" y="2215"/>
                </a:cubicBezTo>
                <a:lnTo>
                  <a:pt x="49" y="2222"/>
                </a:lnTo>
                <a:lnTo>
                  <a:pt x="49" y="2238"/>
                </a:lnTo>
                <a:lnTo>
                  <a:pt x="41" y="2254"/>
                </a:lnTo>
                <a:cubicBezTo>
                  <a:pt x="41" y="2254"/>
                  <a:pt x="33" y="2262"/>
                  <a:pt x="41" y="2270"/>
                </a:cubicBezTo>
                <a:lnTo>
                  <a:pt x="41" y="2278"/>
                </a:lnTo>
                <a:lnTo>
                  <a:pt x="49" y="2286"/>
                </a:lnTo>
                <a:lnTo>
                  <a:pt x="33" y="2302"/>
                </a:lnTo>
                <a:lnTo>
                  <a:pt x="33" y="2318"/>
                </a:lnTo>
                <a:cubicBezTo>
                  <a:pt x="33" y="2318"/>
                  <a:pt x="41" y="2326"/>
                  <a:pt x="33" y="2334"/>
                </a:cubicBezTo>
                <a:lnTo>
                  <a:pt x="25" y="2342"/>
                </a:lnTo>
                <a:lnTo>
                  <a:pt x="8" y="2357"/>
                </a:lnTo>
                <a:lnTo>
                  <a:pt x="8" y="2365"/>
                </a:lnTo>
                <a:lnTo>
                  <a:pt x="0" y="2381"/>
                </a:lnTo>
                <a:lnTo>
                  <a:pt x="0" y="2405"/>
                </a:lnTo>
                <a:lnTo>
                  <a:pt x="8" y="2413"/>
                </a:lnTo>
                <a:lnTo>
                  <a:pt x="8" y="2429"/>
                </a:lnTo>
                <a:cubicBezTo>
                  <a:pt x="0" y="2429"/>
                  <a:pt x="8" y="2437"/>
                  <a:pt x="8" y="2445"/>
                </a:cubicBezTo>
                <a:lnTo>
                  <a:pt x="8" y="2453"/>
                </a:lnTo>
                <a:lnTo>
                  <a:pt x="0" y="2469"/>
                </a:lnTo>
                <a:lnTo>
                  <a:pt x="0" y="2477"/>
                </a:lnTo>
                <a:lnTo>
                  <a:pt x="0" y="2492"/>
                </a:lnTo>
                <a:lnTo>
                  <a:pt x="17" y="2492"/>
                </a:lnTo>
                <a:lnTo>
                  <a:pt x="25" y="2485"/>
                </a:lnTo>
                <a:lnTo>
                  <a:pt x="66" y="2469"/>
                </a:lnTo>
                <a:lnTo>
                  <a:pt x="90" y="2492"/>
                </a:lnTo>
                <a:lnTo>
                  <a:pt x="115" y="2516"/>
                </a:lnTo>
                <a:lnTo>
                  <a:pt x="156" y="2516"/>
                </a:lnTo>
                <a:lnTo>
                  <a:pt x="180" y="2548"/>
                </a:lnTo>
                <a:lnTo>
                  <a:pt x="205" y="2572"/>
                </a:lnTo>
                <a:lnTo>
                  <a:pt x="246" y="2564"/>
                </a:lnTo>
                <a:lnTo>
                  <a:pt x="287" y="2588"/>
                </a:lnTo>
                <a:lnTo>
                  <a:pt x="278" y="2612"/>
                </a:lnTo>
                <a:cubicBezTo>
                  <a:pt x="278" y="2612"/>
                  <a:pt x="311" y="2572"/>
                  <a:pt x="319" y="2564"/>
                </a:cubicBezTo>
                <a:cubicBezTo>
                  <a:pt x="328" y="2556"/>
                  <a:pt x="360" y="2548"/>
                  <a:pt x="360" y="2548"/>
                </a:cubicBezTo>
                <a:cubicBezTo>
                  <a:pt x="360" y="2548"/>
                  <a:pt x="377" y="2564"/>
                  <a:pt x="393" y="2572"/>
                </a:cubicBezTo>
                <a:lnTo>
                  <a:pt x="418" y="2572"/>
                </a:lnTo>
                <a:cubicBezTo>
                  <a:pt x="434" y="2572"/>
                  <a:pt x="499" y="2564"/>
                  <a:pt x="499" y="2564"/>
                </a:cubicBezTo>
                <a:lnTo>
                  <a:pt x="589" y="2572"/>
                </a:lnTo>
                <a:lnTo>
                  <a:pt x="638" y="2548"/>
                </a:lnTo>
                <a:lnTo>
                  <a:pt x="737" y="2556"/>
                </a:lnTo>
                <a:lnTo>
                  <a:pt x="753" y="2548"/>
                </a:lnTo>
                <a:lnTo>
                  <a:pt x="761" y="2556"/>
                </a:lnTo>
                <a:lnTo>
                  <a:pt x="794" y="2548"/>
                </a:lnTo>
                <a:lnTo>
                  <a:pt x="827" y="2580"/>
                </a:lnTo>
                <a:lnTo>
                  <a:pt x="892" y="2572"/>
                </a:lnTo>
                <a:lnTo>
                  <a:pt x="933" y="2516"/>
                </a:lnTo>
                <a:cubicBezTo>
                  <a:pt x="933" y="2516"/>
                  <a:pt x="957" y="2492"/>
                  <a:pt x="990" y="2485"/>
                </a:cubicBezTo>
                <a:cubicBezTo>
                  <a:pt x="1023" y="2485"/>
                  <a:pt x="1080" y="2461"/>
                  <a:pt x="1080" y="2461"/>
                </a:cubicBezTo>
                <a:lnTo>
                  <a:pt x="1154" y="2421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39" name="Freeform 131">
            <a:extLst>
              <a:ext uri="{FF2B5EF4-FFF2-40B4-BE49-F238E27FC236}">
                <a16:creationId xmlns:a16="http://schemas.microsoft.com/office/drawing/2014/main" id="{A3891DC1-73F6-8C1F-5BFE-0522846AE9AF}"/>
              </a:ext>
            </a:extLst>
          </p:cNvPr>
          <p:cNvSpPr>
            <a:spLocks noChangeArrowheads="1"/>
          </p:cNvSpPr>
          <p:nvPr>
            <p:custDataLst>
              <p:tags r:id="rId130"/>
            </p:custDataLst>
          </p:nvPr>
        </p:nvSpPr>
        <p:spPr bwMode="auto">
          <a:xfrm>
            <a:off x="7185123" y="568722"/>
            <a:ext cx="941833" cy="2488612"/>
          </a:xfrm>
          <a:custGeom>
            <a:avLst/>
            <a:gdLst>
              <a:gd name="T0" fmla="*/ 1722 w 2292"/>
              <a:gd name="T1" fmla="*/ 4903 h 6059"/>
              <a:gd name="T2" fmla="*/ 1909 w 2292"/>
              <a:gd name="T3" fmla="*/ 4801 h 6059"/>
              <a:gd name="T4" fmla="*/ 1828 w 2292"/>
              <a:gd name="T5" fmla="*/ 5014 h 6059"/>
              <a:gd name="T6" fmla="*/ 1755 w 2292"/>
              <a:gd name="T7" fmla="*/ 5251 h 6059"/>
              <a:gd name="T8" fmla="*/ 1348 w 2292"/>
              <a:gd name="T9" fmla="*/ 5552 h 6059"/>
              <a:gd name="T10" fmla="*/ 1422 w 2292"/>
              <a:gd name="T11" fmla="*/ 5188 h 6059"/>
              <a:gd name="T12" fmla="*/ 1422 w 2292"/>
              <a:gd name="T13" fmla="*/ 5283 h 6059"/>
              <a:gd name="T14" fmla="*/ 1365 w 2292"/>
              <a:gd name="T15" fmla="*/ 5615 h 6059"/>
              <a:gd name="T16" fmla="*/ 1998 w 2292"/>
              <a:gd name="T17" fmla="*/ 466 h 6059"/>
              <a:gd name="T18" fmla="*/ 1706 w 2292"/>
              <a:gd name="T19" fmla="*/ 237 h 6059"/>
              <a:gd name="T20" fmla="*/ 1487 w 2292"/>
              <a:gd name="T21" fmla="*/ 63 h 6059"/>
              <a:gd name="T22" fmla="*/ 1356 w 2292"/>
              <a:gd name="T23" fmla="*/ 253 h 6059"/>
              <a:gd name="T24" fmla="*/ 1000 w 2292"/>
              <a:gd name="T25" fmla="*/ 545 h 6059"/>
              <a:gd name="T26" fmla="*/ 813 w 2292"/>
              <a:gd name="T27" fmla="*/ 878 h 6059"/>
              <a:gd name="T28" fmla="*/ 529 w 2292"/>
              <a:gd name="T29" fmla="*/ 1423 h 6059"/>
              <a:gd name="T30" fmla="*/ 423 w 2292"/>
              <a:gd name="T31" fmla="*/ 2096 h 6059"/>
              <a:gd name="T32" fmla="*/ 122 w 2292"/>
              <a:gd name="T33" fmla="*/ 2634 h 6059"/>
              <a:gd name="T34" fmla="*/ 204 w 2292"/>
              <a:gd name="T35" fmla="*/ 3306 h 6059"/>
              <a:gd name="T36" fmla="*/ 220 w 2292"/>
              <a:gd name="T37" fmla="*/ 3685 h 6059"/>
              <a:gd name="T38" fmla="*/ 236 w 2292"/>
              <a:gd name="T39" fmla="*/ 4073 h 6059"/>
              <a:gd name="T40" fmla="*/ 106 w 2292"/>
              <a:gd name="T41" fmla="*/ 4231 h 6059"/>
              <a:gd name="T42" fmla="*/ 65 w 2292"/>
              <a:gd name="T43" fmla="*/ 4484 h 6059"/>
              <a:gd name="T44" fmla="*/ 82 w 2292"/>
              <a:gd name="T45" fmla="*/ 4769 h 6059"/>
              <a:gd name="T46" fmla="*/ 98 w 2292"/>
              <a:gd name="T47" fmla="*/ 4872 h 6059"/>
              <a:gd name="T48" fmla="*/ 155 w 2292"/>
              <a:gd name="T49" fmla="*/ 5030 h 6059"/>
              <a:gd name="T50" fmla="*/ 204 w 2292"/>
              <a:gd name="T51" fmla="*/ 5180 h 6059"/>
              <a:gd name="T52" fmla="*/ 374 w 2292"/>
              <a:gd name="T53" fmla="*/ 5418 h 6059"/>
              <a:gd name="T54" fmla="*/ 407 w 2292"/>
              <a:gd name="T55" fmla="*/ 5576 h 6059"/>
              <a:gd name="T56" fmla="*/ 488 w 2292"/>
              <a:gd name="T57" fmla="*/ 5845 h 6059"/>
              <a:gd name="T58" fmla="*/ 521 w 2292"/>
              <a:gd name="T59" fmla="*/ 6042 h 6059"/>
              <a:gd name="T60" fmla="*/ 756 w 2292"/>
              <a:gd name="T61" fmla="*/ 5995 h 6059"/>
              <a:gd name="T62" fmla="*/ 870 w 2292"/>
              <a:gd name="T63" fmla="*/ 5948 h 6059"/>
              <a:gd name="T64" fmla="*/ 927 w 2292"/>
              <a:gd name="T65" fmla="*/ 5766 h 6059"/>
              <a:gd name="T66" fmla="*/ 992 w 2292"/>
              <a:gd name="T67" fmla="*/ 5671 h 6059"/>
              <a:gd name="T68" fmla="*/ 1284 w 2292"/>
              <a:gd name="T69" fmla="*/ 5441 h 6059"/>
              <a:gd name="T70" fmla="*/ 1341 w 2292"/>
              <a:gd name="T71" fmla="*/ 4975 h 6059"/>
              <a:gd name="T72" fmla="*/ 1325 w 2292"/>
              <a:gd name="T73" fmla="*/ 4666 h 6059"/>
              <a:gd name="T74" fmla="*/ 1478 w 2292"/>
              <a:gd name="T75" fmla="*/ 4421 h 6059"/>
              <a:gd name="T76" fmla="*/ 1552 w 2292"/>
              <a:gd name="T77" fmla="*/ 4413 h 6059"/>
              <a:gd name="T78" fmla="*/ 1665 w 2292"/>
              <a:gd name="T79" fmla="*/ 4279 h 6059"/>
              <a:gd name="T80" fmla="*/ 1682 w 2292"/>
              <a:gd name="T81" fmla="*/ 4065 h 6059"/>
              <a:gd name="T82" fmla="*/ 1617 w 2292"/>
              <a:gd name="T83" fmla="*/ 3899 h 6059"/>
              <a:gd name="T84" fmla="*/ 1462 w 2292"/>
              <a:gd name="T85" fmla="*/ 3693 h 6059"/>
              <a:gd name="T86" fmla="*/ 1309 w 2292"/>
              <a:gd name="T87" fmla="*/ 3630 h 6059"/>
              <a:gd name="T88" fmla="*/ 1228 w 2292"/>
              <a:gd name="T89" fmla="*/ 3353 h 6059"/>
              <a:gd name="T90" fmla="*/ 1276 w 2292"/>
              <a:gd name="T91" fmla="*/ 3219 h 6059"/>
              <a:gd name="T92" fmla="*/ 1252 w 2292"/>
              <a:gd name="T93" fmla="*/ 2918 h 6059"/>
              <a:gd name="T94" fmla="*/ 1365 w 2292"/>
              <a:gd name="T95" fmla="*/ 2768 h 6059"/>
              <a:gd name="T96" fmla="*/ 1478 w 2292"/>
              <a:gd name="T97" fmla="*/ 2570 h 6059"/>
              <a:gd name="T98" fmla="*/ 1592 w 2292"/>
              <a:gd name="T99" fmla="*/ 2428 h 6059"/>
              <a:gd name="T100" fmla="*/ 1706 w 2292"/>
              <a:gd name="T101" fmla="*/ 2333 h 6059"/>
              <a:gd name="T102" fmla="*/ 1828 w 2292"/>
              <a:gd name="T103" fmla="*/ 2103 h 6059"/>
              <a:gd name="T104" fmla="*/ 1860 w 2292"/>
              <a:gd name="T105" fmla="*/ 1882 h 6059"/>
              <a:gd name="T106" fmla="*/ 1844 w 2292"/>
              <a:gd name="T107" fmla="*/ 1708 h 6059"/>
              <a:gd name="T108" fmla="*/ 1868 w 2292"/>
              <a:gd name="T109" fmla="*/ 1558 h 6059"/>
              <a:gd name="T110" fmla="*/ 1998 w 2292"/>
              <a:gd name="T111" fmla="*/ 1471 h 6059"/>
              <a:gd name="T112" fmla="*/ 2096 w 2292"/>
              <a:gd name="T113" fmla="*/ 1328 h 6059"/>
              <a:gd name="T114" fmla="*/ 2185 w 2292"/>
              <a:gd name="T115" fmla="*/ 1384 h 6059"/>
              <a:gd name="T116" fmla="*/ 2242 w 2292"/>
              <a:gd name="T117" fmla="*/ 1336 h 6059"/>
              <a:gd name="T118" fmla="*/ 2242 w 2292"/>
              <a:gd name="T119" fmla="*/ 1186 h 6059"/>
              <a:gd name="T120" fmla="*/ 2161 w 2292"/>
              <a:gd name="T121" fmla="*/ 854 h 6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292" h="6059">
                <a:moveTo>
                  <a:pt x="1673" y="5133"/>
                </a:moveTo>
                <a:lnTo>
                  <a:pt x="1665" y="5117"/>
                </a:lnTo>
                <a:lnTo>
                  <a:pt x="1690" y="5109"/>
                </a:lnTo>
                <a:cubicBezTo>
                  <a:pt x="1690" y="5109"/>
                  <a:pt x="1682" y="5078"/>
                  <a:pt x="1682" y="5070"/>
                </a:cubicBezTo>
                <a:cubicBezTo>
                  <a:pt x="1682" y="5062"/>
                  <a:pt x="1673" y="5070"/>
                  <a:pt x="1665" y="5054"/>
                </a:cubicBezTo>
                <a:cubicBezTo>
                  <a:pt x="1657" y="5046"/>
                  <a:pt x="1657" y="5022"/>
                  <a:pt x="1657" y="5022"/>
                </a:cubicBezTo>
                <a:cubicBezTo>
                  <a:pt x="1657" y="5014"/>
                  <a:pt x="1665" y="4990"/>
                  <a:pt x="1665" y="4990"/>
                </a:cubicBezTo>
                <a:cubicBezTo>
                  <a:pt x="1665" y="4990"/>
                  <a:pt x="1690" y="4959"/>
                  <a:pt x="1706" y="4943"/>
                </a:cubicBezTo>
                <a:cubicBezTo>
                  <a:pt x="1730" y="4919"/>
                  <a:pt x="1722" y="4919"/>
                  <a:pt x="1722" y="4903"/>
                </a:cubicBezTo>
                <a:cubicBezTo>
                  <a:pt x="1714" y="4896"/>
                  <a:pt x="1730" y="4888"/>
                  <a:pt x="1730" y="4888"/>
                </a:cubicBezTo>
                <a:lnTo>
                  <a:pt x="1755" y="4864"/>
                </a:lnTo>
                <a:lnTo>
                  <a:pt x="1771" y="4824"/>
                </a:lnTo>
                <a:lnTo>
                  <a:pt x="1795" y="4848"/>
                </a:lnTo>
                <a:cubicBezTo>
                  <a:pt x="1803" y="4848"/>
                  <a:pt x="1803" y="4840"/>
                  <a:pt x="1803" y="4832"/>
                </a:cubicBezTo>
                <a:cubicBezTo>
                  <a:pt x="1803" y="4824"/>
                  <a:pt x="1820" y="4824"/>
                  <a:pt x="1820" y="4824"/>
                </a:cubicBezTo>
                <a:cubicBezTo>
                  <a:pt x="1828" y="4824"/>
                  <a:pt x="1852" y="4816"/>
                  <a:pt x="1852" y="4816"/>
                </a:cubicBezTo>
                <a:lnTo>
                  <a:pt x="1860" y="4801"/>
                </a:lnTo>
                <a:cubicBezTo>
                  <a:pt x="1860" y="4801"/>
                  <a:pt x="1893" y="4793"/>
                  <a:pt x="1909" y="4801"/>
                </a:cubicBezTo>
                <a:cubicBezTo>
                  <a:pt x="1917" y="4809"/>
                  <a:pt x="1901" y="4809"/>
                  <a:pt x="1901" y="4816"/>
                </a:cubicBezTo>
                <a:lnTo>
                  <a:pt x="1901" y="4832"/>
                </a:lnTo>
                <a:cubicBezTo>
                  <a:pt x="1901" y="4840"/>
                  <a:pt x="1893" y="4848"/>
                  <a:pt x="1868" y="4848"/>
                </a:cubicBezTo>
                <a:cubicBezTo>
                  <a:pt x="1844" y="4856"/>
                  <a:pt x="1860" y="4872"/>
                  <a:pt x="1860" y="4872"/>
                </a:cubicBezTo>
                <a:lnTo>
                  <a:pt x="1860" y="4903"/>
                </a:lnTo>
                <a:cubicBezTo>
                  <a:pt x="1852" y="4911"/>
                  <a:pt x="1836" y="4927"/>
                  <a:pt x="1820" y="4927"/>
                </a:cubicBezTo>
                <a:cubicBezTo>
                  <a:pt x="1812" y="4935"/>
                  <a:pt x="1812" y="4951"/>
                  <a:pt x="1812" y="4951"/>
                </a:cubicBezTo>
                <a:cubicBezTo>
                  <a:pt x="1812" y="4959"/>
                  <a:pt x="1820" y="4975"/>
                  <a:pt x="1820" y="4990"/>
                </a:cubicBezTo>
                <a:cubicBezTo>
                  <a:pt x="1820" y="4998"/>
                  <a:pt x="1820" y="4998"/>
                  <a:pt x="1828" y="5014"/>
                </a:cubicBezTo>
                <a:cubicBezTo>
                  <a:pt x="1828" y="5022"/>
                  <a:pt x="1844" y="5022"/>
                  <a:pt x="1852" y="5022"/>
                </a:cubicBezTo>
                <a:cubicBezTo>
                  <a:pt x="1852" y="5030"/>
                  <a:pt x="1868" y="5046"/>
                  <a:pt x="1860" y="5054"/>
                </a:cubicBezTo>
                <a:cubicBezTo>
                  <a:pt x="1852" y="5062"/>
                  <a:pt x="1844" y="5070"/>
                  <a:pt x="1836" y="5070"/>
                </a:cubicBezTo>
                <a:cubicBezTo>
                  <a:pt x="1836" y="5078"/>
                  <a:pt x="1820" y="5101"/>
                  <a:pt x="1820" y="5101"/>
                </a:cubicBezTo>
                <a:cubicBezTo>
                  <a:pt x="1820" y="5101"/>
                  <a:pt x="1828" y="5117"/>
                  <a:pt x="1820" y="5133"/>
                </a:cubicBezTo>
                <a:cubicBezTo>
                  <a:pt x="1820" y="5149"/>
                  <a:pt x="1803" y="5141"/>
                  <a:pt x="1795" y="5149"/>
                </a:cubicBezTo>
                <a:lnTo>
                  <a:pt x="1771" y="5172"/>
                </a:lnTo>
                <a:cubicBezTo>
                  <a:pt x="1763" y="5172"/>
                  <a:pt x="1755" y="5204"/>
                  <a:pt x="1755" y="5220"/>
                </a:cubicBezTo>
                <a:lnTo>
                  <a:pt x="1755" y="5251"/>
                </a:lnTo>
                <a:cubicBezTo>
                  <a:pt x="1755" y="5259"/>
                  <a:pt x="1755" y="5251"/>
                  <a:pt x="1738" y="5275"/>
                </a:cubicBezTo>
                <a:cubicBezTo>
                  <a:pt x="1714" y="5299"/>
                  <a:pt x="1722" y="5283"/>
                  <a:pt x="1698" y="5275"/>
                </a:cubicBezTo>
                <a:cubicBezTo>
                  <a:pt x="1665" y="5275"/>
                  <a:pt x="1698" y="5267"/>
                  <a:pt x="1706" y="5251"/>
                </a:cubicBezTo>
                <a:cubicBezTo>
                  <a:pt x="1714" y="5236"/>
                  <a:pt x="1722" y="5220"/>
                  <a:pt x="1722" y="5220"/>
                </a:cubicBezTo>
                <a:lnTo>
                  <a:pt x="1714" y="5188"/>
                </a:lnTo>
                <a:lnTo>
                  <a:pt x="1698" y="5164"/>
                </a:lnTo>
                <a:lnTo>
                  <a:pt x="1673" y="5133"/>
                </a:lnTo>
                <a:close/>
                <a:moveTo>
                  <a:pt x="1341" y="5615"/>
                </a:moveTo>
                <a:lnTo>
                  <a:pt x="1348" y="5552"/>
                </a:lnTo>
                <a:lnTo>
                  <a:pt x="1333" y="5528"/>
                </a:lnTo>
                <a:cubicBezTo>
                  <a:pt x="1333" y="5520"/>
                  <a:pt x="1325" y="5505"/>
                  <a:pt x="1325" y="5481"/>
                </a:cubicBezTo>
                <a:cubicBezTo>
                  <a:pt x="1333" y="5457"/>
                  <a:pt x="1333" y="5449"/>
                  <a:pt x="1341" y="5433"/>
                </a:cubicBezTo>
                <a:cubicBezTo>
                  <a:pt x="1341" y="5418"/>
                  <a:pt x="1356" y="5410"/>
                  <a:pt x="1356" y="5394"/>
                </a:cubicBezTo>
                <a:cubicBezTo>
                  <a:pt x="1356" y="5370"/>
                  <a:pt x="1356" y="5362"/>
                  <a:pt x="1365" y="5346"/>
                </a:cubicBezTo>
                <a:cubicBezTo>
                  <a:pt x="1365" y="5331"/>
                  <a:pt x="1373" y="5315"/>
                  <a:pt x="1381" y="5315"/>
                </a:cubicBezTo>
                <a:cubicBezTo>
                  <a:pt x="1381" y="5307"/>
                  <a:pt x="1397" y="5275"/>
                  <a:pt x="1397" y="5275"/>
                </a:cubicBezTo>
                <a:lnTo>
                  <a:pt x="1405" y="5236"/>
                </a:lnTo>
                <a:cubicBezTo>
                  <a:pt x="1405" y="5236"/>
                  <a:pt x="1422" y="5196"/>
                  <a:pt x="1422" y="5188"/>
                </a:cubicBezTo>
                <a:cubicBezTo>
                  <a:pt x="1422" y="5180"/>
                  <a:pt x="1413" y="5149"/>
                  <a:pt x="1413" y="5141"/>
                </a:cubicBezTo>
                <a:cubicBezTo>
                  <a:pt x="1422" y="5133"/>
                  <a:pt x="1438" y="5117"/>
                  <a:pt x="1438" y="5117"/>
                </a:cubicBezTo>
                <a:lnTo>
                  <a:pt x="1462" y="5117"/>
                </a:lnTo>
                <a:cubicBezTo>
                  <a:pt x="1462" y="5117"/>
                  <a:pt x="1462" y="5141"/>
                  <a:pt x="1454" y="5149"/>
                </a:cubicBezTo>
                <a:cubicBezTo>
                  <a:pt x="1446" y="5149"/>
                  <a:pt x="1438" y="5157"/>
                  <a:pt x="1438" y="5157"/>
                </a:cubicBezTo>
                <a:cubicBezTo>
                  <a:pt x="1438" y="5164"/>
                  <a:pt x="1454" y="5180"/>
                  <a:pt x="1454" y="5180"/>
                </a:cubicBezTo>
                <a:lnTo>
                  <a:pt x="1454" y="5212"/>
                </a:lnTo>
                <a:lnTo>
                  <a:pt x="1438" y="5244"/>
                </a:lnTo>
                <a:lnTo>
                  <a:pt x="1422" y="5283"/>
                </a:lnTo>
                <a:lnTo>
                  <a:pt x="1422" y="5323"/>
                </a:lnTo>
                <a:lnTo>
                  <a:pt x="1413" y="5346"/>
                </a:lnTo>
                <a:lnTo>
                  <a:pt x="1405" y="5370"/>
                </a:lnTo>
                <a:lnTo>
                  <a:pt x="1389" y="5418"/>
                </a:lnTo>
                <a:lnTo>
                  <a:pt x="1397" y="5457"/>
                </a:lnTo>
                <a:lnTo>
                  <a:pt x="1373" y="5505"/>
                </a:lnTo>
                <a:lnTo>
                  <a:pt x="1373" y="5536"/>
                </a:lnTo>
                <a:lnTo>
                  <a:pt x="1373" y="5592"/>
                </a:lnTo>
                <a:cubicBezTo>
                  <a:pt x="1373" y="5592"/>
                  <a:pt x="1373" y="5615"/>
                  <a:pt x="1365" y="5615"/>
                </a:cubicBezTo>
                <a:lnTo>
                  <a:pt x="1341" y="5615"/>
                </a:lnTo>
                <a:close/>
                <a:moveTo>
                  <a:pt x="2072" y="696"/>
                </a:moveTo>
                <a:lnTo>
                  <a:pt x="2072" y="688"/>
                </a:lnTo>
                <a:cubicBezTo>
                  <a:pt x="2072" y="688"/>
                  <a:pt x="2055" y="656"/>
                  <a:pt x="2064" y="640"/>
                </a:cubicBezTo>
                <a:lnTo>
                  <a:pt x="2064" y="624"/>
                </a:lnTo>
                <a:lnTo>
                  <a:pt x="2031" y="632"/>
                </a:lnTo>
                <a:lnTo>
                  <a:pt x="2007" y="601"/>
                </a:lnTo>
                <a:lnTo>
                  <a:pt x="2015" y="561"/>
                </a:lnTo>
                <a:lnTo>
                  <a:pt x="1998" y="466"/>
                </a:lnTo>
                <a:lnTo>
                  <a:pt x="2015" y="419"/>
                </a:lnTo>
                <a:lnTo>
                  <a:pt x="1966" y="395"/>
                </a:lnTo>
                <a:lnTo>
                  <a:pt x="1933" y="348"/>
                </a:lnTo>
                <a:cubicBezTo>
                  <a:pt x="1933" y="348"/>
                  <a:pt x="1925" y="363"/>
                  <a:pt x="1917" y="356"/>
                </a:cubicBezTo>
                <a:cubicBezTo>
                  <a:pt x="1909" y="348"/>
                  <a:pt x="1868" y="284"/>
                  <a:pt x="1868" y="284"/>
                </a:cubicBezTo>
                <a:lnTo>
                  <a:pt x="1795" y="261"/>
                </a:lnTo>
                <a:lnTo>
                  <a:pt x="1763" y="245"/>
                </a:lnTo>
                <a:lnTo>
                  <a:pt x="1722" y="237"/>
                </a:lnTo>
                <a:cubicBezTo>
                  <a:pt x="1722" y="237"/>
                  <a:pt x="1714" y="253"/>
                  <a:pt x="1706" y="237"/>
                </a:cubicBezTo>
                <a:cubicBezTo>
                  <a:pt x="1698" y="221"/>
                  <a:pt x="1682" y="205"/>
                  <a:pt x="1682" y="205"/>
                </a:cubicBezTo>
                <a:lnTo>
                  <a:pt x="1649" y="213"/>
                </a:lnTo>
                <a:lnTo>
                  <a:pt x="1625" y="182"/>
                </a:lnTo>
                <a:lnTo>
                  <a:pt x="1608" y="182"/>
                </a:lnTo>
                <a:cubicBezTo>
                  <a:pt x="1600" y="174"/>
                  <a:pt x="1584" y="166"/>
                  <a:pt x="1584" y="166"/>
                </a:cubicBezTo>
                <a:lnTo>
                  <a:pt x="1560" y="126"/>
                </a:lnTo>
                <a:lnTo>
                  <a:pt x="1527" y="110"/>
                </a:lnTo>
                <a:lnTo>
                  <a:pt x="1487" y="95"/>
                </a:lnTo>
                <a:lnTo>
                  <a:pt x="1487" y="63"/>
                </a:lnTo>
                <a:lnTo>
                  <a:pt x="1430" y="31"/>
                </a:lnTo>
                <a:cubicBezTo>
                  <a:pt x="1430" y="31"/>
                  <a:pt x="1422" y="15"/>
                  <a:pt x="1430" y="15"/>
                </a:cubicBezTo>
                <a:cubicBezTo>
                  <a:pt x="1438" y="8"/>
                  <a:pt x="1462" y="8"/>
                  <a:pt x="1478" y="8"/>
                </a:cubicBezTo>
                <a:lnTo>
                  <a:pt x="1438" y="0"/>
                </a:lnTo>
                <a:lnTo>
                  <a:pt x="1389" y="39"/>
                </a:lnTo>
                <a:lnTo>
                  <a:pt x="1365" y="39"/>
                </a:lnTo>
                <a:cubicBezTo>
                  <a:pt x="1365" y="39"/>
                  <a:pt x="1348" y="47"/>
                  <a:pt x="1348" y="55"/>
                </a:cubicBezTo>
                <a:cubicBezTo>
                  <a:pt x="1356" y="63"/>
                  <a:pt x="1373" y="134"/>
                  <a:pt x="1381" y="150"/>
                </a:cubicBezTo>
                <a:cubicBezTo>
                  <a:pt x="1389" y="158"/>
                  <a:pt x="1389" y="213"/>
                  <a:pt x="1356" y="253"/>
                </a:cubicBezTo>
                <a:lnTo>
                  <a:pt x="1389" y="284"/>
                </a:lnTo>
                <a:lnTo>
                  <a:pt x="1356" y="324"/>
                </a:lnTo>
                <a:lnTo>
                  <a:pt x="1309" y="332"/>
                </a:lnTo>
                <a:cubicBezTo>
                  <a:pt x="1309" y="332"/>
                  <a:pt x="1260" y="324"/>
                  <a:pt x="1252" y="316"/>
                </a:cubicBezTo>
                <a:cubicBezTo>
                  <a:pt x="1244" y="308"/>
                  <a:pt x="1203" y="292"/>
                  <a:pt x="1195" y="292"/>
                </a:cubicBezTo>
                <a:cubicBezTo>
                  <a:pt x="1179" y="300"/>
                  <a:pt x="1065" y="292"/>
                  <a:pt x="1065" y="292"/>
                </a:cubicBezTo>
                <a:cubicBezTo>
                  <a:pt x="1041" y="324"/>
                  <a:pt x="1049" y="490"/>
                  <a:pt x="1057" y="514"/>
                </a:cubicBezTo>
                <a:lnTo>
                  <a:pt x="1041" y="545"/>
                </a:lnTo>
                <a:lnTo>
                  <a:pt x="1000" y="545"/>
                </a:lnTo>
                <a:lnTo>
                  <a:pt x="919" y="506"/>
                </a:lnTo>
                <a:lnTo>
                  <a:pt x="886" y="569"/>
                </a:lnTo>
                <a:cubicBezTo>
                  <a:pt x="886" y="569"/>
                  <a:pt x="854" y="601"/>
                  <a:pt x="854" y="617"/>
                </a:cubicBezTo>
                <a:cubicBezTo>
                  <a:pt x="854" y="624"/>
                  <a:pt x="837" y="656"/>
                  <a:pt x="837" y="656"/>
                </a:cubicBezTo>
                <a:lnTo>
                  <a:pt x="837" y="719"/>
                </a:lnTo>
                <a:lnTo>
                  <a:pt x="821" y="751"/>
                </a:lnTo>
                <a:lnTo>
                  <a:pt x="772" y="783"/>
                </a:lnTo>
                <a:lnTo>
                  <a:pt x="772" y="822"/>
                </a:lnTo>
                <a:cubicBezTo>
                  <a:pt x="772" y="822"/>
                  <a:pt x="797" y="870"/>
                  <a:pt x="813" y="878"/>
                </a:cubicBezTo>
                <a:cubicBezTo>
                  <a:pt x="821" y="893"/>
                  <a:pt x="837" y="957"/>
                  <a:pt x="837" y="957"/>
                </a:cubicBezTo>
                <a:cubicBezTo>
                  <a:pt x="837" y="957"/>
                  <a:pt x="813" y="1012"/>
                  <a:pt x="805" y="1028"/>
                </a:cubicBezTo>
                <a:cubicBezTo>
                  <a:pt x="797" y="1044"/>
                  <a:pt x="732" y="1123"/>
                  <a:pt x="732" y="1123"/>
                </a:cubicBezTo>
                <a:lnTo>
                  <a:pt x="691" y="1226"/>
                </a:lnTo>
                <a:lnTo>
                  <a:pt x="691" y="1297"/>
                </a:lnTo>
                <a:lnTo>
                  <a:pt x="683" y="1336"/>
                </a:lnTo>
                <a:lnTo>
                  <a:pt x="626" y="1392"/>
                </a:lnTo>
                <a:lnTo>
                  <a:pt x="553" y="1400"/>
                </a:lnTo>
                <a:lnTo>
                  <a:pt x="529" y="1423"/>
                </a:lnTo>
                <a:lnTo>
                  <a:pt x="569" y="1558"/>
                </a:lnTo>
                <a:lnTo>
                  <a:pt x="553" y="1621"/>
                </a:lnTo>
                <a:lnTo>
                  <a:pt x="545" y="1676"/>
                </a:lnTo>
                <a:cubicBezTo>
                  <a:pt x="545" y="1676"/>
                  <a:pt x="529" y="1724"/>
                  <a:pt x="537" y="1732"/>
                </a:cubicBezTo>
                <a:cubicBezTo>
                  <a:pt x="545" y="1748"/>
                  <a:pt x="553" y="1779"/>
                  <a:pt x="553" y="1779"/>
                </a:cubicBezTo>
                <a:lnTo>
                  <a:pt x="521" y="1803"/>
                </a:lnTo>
                <a:lnTo>
                  <a:pt x="529" y="1850"/>
                </a:lnTo>
                <a:lnTo>
                  <a:pt x="407" y="2056"/>
                </a:lnTo>
                <a:lnTo>
                  <a:pt x="423" y="2096"/>
                </a:lnTo>
                <a:lnTo>
                  <a:pt x="496" y="2111"/>
                </a:lnTo>
                <a:lnTo>
                  <a:pt x="504" y="2238"/>
                </a:lnTo>
                <a:lnTo>
                  <a:pt x="480" y="2293"/>
                </a:lnTo>
                <a:lnTo>
                  <a:pt x="472" y="2309"/>
                </a:lnTo>
                <a:lnTo>
                  <a:pt x="277" y="2317"/>
                </a:lnTo>
                <a:lnTo>
                  <a:pt x="171" y="2452"/>
                </a:lnTo>
                <a:lnTo>
                  <a:pt x="155" y="2531"/>
                </a:lnTo>
                <a:lnTo>
                  <a:pt x="147" y="2586"/>
                </a:lnTo>
                <a:cubicBezTo>
                  <a:pt x="147" y="2586"/>
                  <a:pt x="122" y="2618"/>
                  <a:pt x="122" y="2634"/>
                </a:cubicBezTo>
                <a:lnTo>
                  <a:pt x="122" y="2689"/>
                </a:lnTo>
                <a:lnTo>
                  <a:pt x="155" y="2752"/>
                </a:lnTo>
                <a:lnTo>
                  <a:pt x="155" y="2800"/>
                </a:lnTo>
                <a:lnTo>
                  <a:pt x="139" y="2823"/>
                </a:lnTo>
                <a:lnTo>
                  <a:pt x="147" y="2879"/>
                </a:lnTo>
                <a:cubicBezTo>
                  <a:pt x="147" y="2879"/>
                  <a:pt x="155" y="2894"/>
                  <a:pt x="147" y="2902"/>
                </a:cubicBezTo>
                <a:cubicBezTo>
                  <a:pt x="130" y="2918"/>
                  <a:pt x="130" y="2934"/>
                  <a:pt x="139" y="2950"/>
                </a:cubicBezTo>
                <a:cubicBezTo>
                  <a:pt x="139" y="2958"/>
                  <a:pt x="195" y="3061"/>
                  <a:pt x="195" y="3061"/>
                </a:cubicBezTo>
                <a:lnTo>
                  <a:pt x="204" y="3306"/>
                </a:lnTo>
                <a:lnTo>
                  <a:pt x="228" y="3369"/>
                </a:lnTo>
                <a:lnTo>
                  <a:pt x="285" y="3409"/>
                </a:lnTo>
                <a:lnTo>
                  <a:pt x="334" y="3448"/>
                </a:lnTo>
                <a:lnTo>
                  <a:pt x="342" y="3519"/>
                </a:lnTo>
                <a:cubicBezTo>
                  <a:pt x="342" y="3519"/>
                  <a:pt x="326" y="3575"/>
                  <a:pt x="326" y="3583"/>
                </a:cubicBezTo>
                <a:cubicBezTo>
                  <a:pt x="334" y="3591"/>
                  <a:pt x="285" y="3591"/>
                  <a:pt x="285" y="3591"/>
                </a:cubicBezTo>
                <a:lnTo>
                  <a:pt x="244" y="3598"/>
                </a:lnTo>
                <a:lnTo>
                  <a:pt x="204" y="3638"/>
                </a:lnTo>
                <a:lnTo>
                  <a:pt x="220" y="3685"/>
                </a:lnTo>
                <a:lnTo>
                  <a:pt x="244" y="3757"/>
                </a:lnTo>
                <a:lnTo>
                  <a:pt x="293" y="3812"/>
                </a:lnTo>
                <a:lnTo>
                  <a:pt x="309" y="3860"/>
                </a:lnTo>
                <a:lnTo>
                  <a:pt x="285" y="3907"/>
                </a:lnTo>
                <a:lnTo>
                  <a:pt x="269" y="3931"/>
                </a:lnTo>
                <a:lnTo>
                  <a:pt x="285" y="3970"/>
                </a:lnTo>
                <a:lnTo>
                  <a:pt x="285" y="4010"/>
                </a:lnTo>
                <a:cubicBezTo>
                  <a:pt x="285" y="4010"/>
                  <a:pt x="269" y="4033"/>
                  <a:pt x="269" y="4041"/>
                </a:cubicBezTo>
                <a:cubicBezTo>
                  <a:pt x="269" y="4048"/>
                  <a:pt x="236" y="4073"/>
                  <a:pt x="236" y="4073"/>
                </a:cubicBezTo>
                <a:lnTo>
                  <a:pt x="212" y="4097"/>
                </a:lnTo>
                <a:lnTo>
                  <a:pt x="187" y="4105"/>
                </a:lnTo>
                <a:cubicBezTo>
                  <a:pt x="187" y="4105"/>
                  <a:pt x="171" y="4097"/>
                  <a:pt x="163" y="4105"/>
                </a:cubicBezTo>
                <a:lnTo>
                  <a:pt x="147" y="4120"/>
                </a:lnTo>
                <a:lnTo>
                  <a:pt x="147" y="4144"/>
                </a:lnTo>
                <a:lnTo>
                  <a:pt x="163" y="4160"/>
                </a:lnTo>
                <a:lnTo>
                  <a:pt x="155" y="4200"/>
                </a:lnTo>
                <a:lnTo>
                  <a:pt x="130" y="4223"/>
                </a:lnTo>
                <a:lnTo>
                  <a:pt x="106" y="4231"/>
                </a:lnTo>
                <a:lnTo>
                  <a:pt x="122" y="4279"/>
                </a:lnTo>
                <a:lnTo>
                  <a:pt x="155" y="4334"/>
                </a:lnTo>
                <a:lnTo>
                  <a:pt x="155" y="4382"/>
                </a:lnTo>
                <a:lnTo>
                  <a:pt x="130" y="4429"/>
                </a:lnTo>
                <a:lnTo>
                  <a:pt x="122" y="4484"/>
                </a:lnTo>
                <a:lnTo>
                  <a:pt x="114" y="4532"/>
                </a:lnTo>
                <a:lnTo>
                  <a:pt x="98" y="4540"/>
                </a:lnTo>
                <a:lnTo>
                  <a:pt x="74" y="4540"/>
                </a:lnTo>
                <a:cubicBezTo>
                  <a:pt x="74" y="4540"/>
                  <a:pt x="74" y="4492"/>
                  <a:pt x="65" y="4484"/>
                </a:cubicBezTo>
                <a:lnTo>
                  <a:pt x="9" y="4437"/>
                </a:lnTo>
                <a:lnTo>
                  <a:pt x="9" y="4484"/>
                </a:lnTo>
                <a:lnTo>
                  <a:pt x="0" y="4540"/>
                </a:lnTo>
                <a:cubicBezTo>
                  <a:pt x="0" y="4540"/>
                  <a:pt x="9" y="4571"/>
                  <a:pt x="17" y="4579"/>
                </a:cubicBezTo>
                <a:cubicBezTo>
                  <a:pt x="25" y="4587"/>
                  <a:pt x="33" y="4643"/>
                  <a:pt x="33" y="4643"/>
                </a:cubicBezTo>
                <a:lnTo>
                  <a:pt x="25" y="4698"/>
                </a:lnTo>
                <a:lnTo>
                  <a:pt x="41" y="4737"/>
                </a:lnTo>
                <a:cubicBezTo>
                  <a:pt x="41" y="4745"/>
                  <a:pt x="49" y="4777"/>
                  <a:pt x="49" y="4777"/>
                </a:cubicBezTo>
                <a:lnTo>
                  <a:pt x="82" y="4769"/>
                </a:lnTo>
                <a:lnTo>
                  <a:pt x="74" y="4745"/>
                </a:lnTo>
                <a:lnTo>
                  <a:pt x="98" y="4777"/>
                </a:lnTo>
                <a:cubicBezTo>
                  <a:pt x="98" y="4777"/>
                  <a:pt x="82" y="4785"/>
                  <a:pt x="98" y="4777"/>
                </a:cubicBezTo>
                <a:cubicBezTo>
                  <a:pt x="106" y="4777"/>
                  <a:pt x="122" y="4761"/>
                  <a:pt x="122" y="4761"/>
                </a:cubicBezTo>
                <a:lnTo>
                  <a:pt x="114" y="4785"/>
                </a:lnTo>
                <a:lnTo>
                  <a:pt x="98" y="4817"/>
                </a:lnTo>
                <a:lnTo>
                  <a:pt x="106" y="4824"/>
                </a:lnTo>
                <a:lnTo>
                  <a:pt x="130" y="4832"/>
                </a:lnTo>
                <a:lnTo>
                  <a:pt x="98" y="4872"/>
                </a:lnTo>
                <a:cubicBezTo>
                  <a:pt x="98" y="4872"/>
                  <a:pt x="114" y="4896"/>
                  <a:pt x="122" y="4904"/>
                </a:cubicBezTo>
                <a:lnTo>
                  <a:pt x="155" y="4880"/>
                </a:lnTo>
                <a:lnTo>
                  <a:pt x="155" y="4896"/>
                </a:lnTo>
                <a:cubicBezTo>
                  <a:pt x="155" y="4896"/>
                  <a:pt x="130" y="4919"/>
                  <a:pt x="130" y="4935"/>
                </a:cubicBezTo>
                <a:cubicBezTo>
                  <a:pt x="139" y="4943"/>
                  <a:pt x="179" y="4927"/>
                  <a:pt x="171" y="4935"/>
                </a:cubicBezTo>
                <a:cubicBezTo>
                  <a:pt x="163" y="4943"/>
                  <a:pt x="163" y="4959"/>
                  <a:pt x="163" y="4959"/>
                </a:cubicBezTo>
                <a:cubicBezTo>
                  <a:pt x="163" y="4959"/>
                  <a:pt x="139" y="4983"/>
                  <a:pt x="155" y="4991"/>
                </a:cubicBezTo>
                <a:cubicBezTo>
                  <a:pt x="163" y="4998"/>
                  <a:pt x="187" y="5006"/>
                  <a:pt x="179" y="5006"/>
                </a:cubicBezTo>
                <a:cubicBezTo>
                  <a:pt x="179" y="5014"/>
                  <a:pt x="155" y="5030"/>
                  <a:pt x="155" y="5030"/>
                </a:cubicBezTo>
                <a:cubicBezTo>
                  <a:pt x="155" y="5030"/>
                  <a:pt x="147" y="5046"/>
                  <a:pt x="155" y="5054"/>
                </a:cubicBezTo>
                <a:cubicBezTo>
                  <a:pt x="163" y="5062"/>
                  <a:pt x="187" y="5062"/>
                  <a:pt x="187" y="5062"/>
                </a:cubicBezTo>
                <a:cubicBezTo>
                  <a:pt x="187" y="5062"/>
                  <a:pt x="187" y="5046"/>
                  <a:pt x="187" y="5054"/>
                </a:cubicBezTo>
                <a:cubicBezTo>
                  <a:pt x="187" y="5062"/>
                  <a:pt x="179" y="5078"/>
                  <a:pt x="179" y="5078"/>
                </a:cubicBezTo>
                <a:cubicBezTo>
                  <a:pt x="179" y="5078"/>
                  <a:pt x="171" y="5093"/>
                  <a:pt x="179" y="5101"/>
                </a:cubicBezTo>
                <a:lnTo>
                  <a:pt x="204" y="5101"/>
                </a:lnTo>
                <a:lnTo>
                  <a:pt x="204" y="5125"/>
                </a:lnTo>
                <a:lnTo>
                  <a:pt x="204" y="5157"/>
                </a:lnTo>
                <a:lnTo>
                  <a:pt x="204" y="5180"/>
                </a:lnTo>
                <a:cubicBezTo>
                  <a:pt x="204" y="5180"/>
                  <a:pt x="195" y="5188"/>
                  <a:pt x="220" y="5188"/>
                </a:cubicBezTo>
                <a:cubicBezTo>
                  <a:pt x="236" y="5188"/>
                  <a:pt x="236" y="5180"/>
                  <a:pt x="244" y="5180"/>
                </a:cubicBezTo>
                <a:cubicBezTo>
                  <a:pt x="252" y="5180"/>
                  <a:pt x="252" y="5188"/>
                  <a:pt x="260" y="5196"/>
                </a:cubicBezTo>
                <a:lnTo>
                  <a:pt x="260" y="5228"/>
                </a:lnTo>
                <a:cubicBezTo>
                  <a:pt x="269" y="5236"/>
                  <a:pt x="301" y="5315"/>
                  <a:pt x="301" y="5315"/>
                </a:cubicBezTo>
                <a:cubicBezTo>
                  <a:pt x="301" y="5315"/>
                  <a:pt x="309" y="5347"/>
                  <a:pt x="317" y="5354"/>
                </a:cubicBezTo>
                <a:cubicBezTo>
                  <a:pt x="317" y="5362"/>
                  <a:pt x="325" y="5370"/>
                  <a:pt x="334" y="5378"/>
                </a:cubicBezTo>
                <a:lnTo>
                  <a:pt x="350" y="5402"/>
                </a:lnTo>
                <a:lnTo>
                  <a:pt x="374" y="5418"/>
                </a:lnTo>
                <a:lnTo>
                  <a:pt x="407" y="5473"/>
                </a:lnTo>
                <a:lnTo>
                  <a:pt x="431" y="5497"/>
                </a:lnTo>
                <a:cubicBezTo>
                  <a:pt x="439" y="5497"/>
                  <a:pt x="455" y="5481"/>
                  <a:pt x="455" y="5481"/>
                </a:cubicBezTo>
                <a:cubicBezTo>
                  <a:pt x="455" y="5481"/>
                  <a:pt x="480" y="5489"/>
                  <a:pt x="480" y="5497"/>
                </a:cubicBezTo>
                <a:cubicBezTo>
                  <a:pt x="472" y="5497"/>
                  <a:pt x="464" y="5528"/>
                  <a:pt x="464" y="5536"/>
                </a:cubicBezTo>
                <a:cubicBezTo>
                  <a:pt x="472" y="5544"/>
                  <a:pt x="472" y="5560"/>
                  <a:pt x="472" y="5560"/>
                </a:cubicBezTo>
                <a:lnTo>
                  <a:pt x="455" y="5568"/>
                </a:lnTo>
                <a:lnTo>
                  <a:pt x="439" y="5576"/>
                </a:lnTo>
                <a:lnTo>
                  <a:pt x="407" y="5576"/>
                </a:lnTo>
                <a:lnTo>
                  <a:pt x="399" y="5607"/>
                </a:lnTo>
                <a:lnTo>
                  <a:pt x="431" y="5623"/>
                </a:lnTo>
                <a:cubicBezTo>
                  <a:pt x="431" y="5623"/>
                  <a:pt x="447" y="5639"/>
                  <a:pt x="455" y="5639"/>
                </a:cubicBezTo>
                <a:lnTo>
                  <a:pt x="455" y="5679"/>
                </a:lnTo>
                <a:lnTo>
                  <a:pt x="415" y="5679"/>
                </a:lnTo>
                <a:lnTo>
                  <a:pt x="399" y="5702"/>
                </a:lnTo>
                <a:cubicBezTo>
                  <a:pt x="399" y="5710"/>
                  <a:pt x="390" y="5710"/>
                  <a:pt x="407" y="5734"/>
                </a:cubicBezTo>
                <a:cubicBezTo>
                  <a:pt x="415" y="5750"/>
                  <a:pt x="455" y="5797"/>
                  <a:pt x="455" y="5797"/>
                </a:cubicBezTo>
                <a:lnTo>
                  <a:pt x="488" y="5845"/>
                </a:lnTo>
                <a:cubicBezTo>
                  <a:pt x="488" y="5853"/>
                  <a:pt x="512" y="5884"/>
                  <a:pt x="512" y="5884"/>
                </a:cubicBezTo>
                <a:cubicBezTo>
                  <a:pt x="521" y="5884"/>
                  <a:pt x="521" y="5916"/>
                  <a:pt x="521" y="5916"/>
                </a:cubicBezTo>
                <a:lnTo>
                  <a:pt x="512" y="5932"/>
                </a:lnTo>
                <a:lnTo>
                  <a:pt x="504" y="5955"/>
                </a:lnTo>
                <a:lnTo>
                  <a:pt x="496" y="5979"/>
                </a:lnTo>
                <a:lnTo>
                  <a:pt x="504" y="5995"/>
                </a:lnTo>
                <a:lnTo>
                  <a:pt x="496" y="6011"/>
                </a:lnTo>
                <a:lnTo>
                  <a:pt x="480" y="6035"/>
                </a:lnTo>
                <a:lnTo>
                  <a:pt x="521" y="6042"/>
                </a:lnTo>
                <a:lnTo>
                  <a:pt x="569" y="6035"/>
                </a:lnTo>
                <a:lnTo>
                  <a:pt x="577" y="6050"/>
                </a:lnTo>
                <a:cubicBezTo>
                  <a:pt x="585" y="6058"/>
                  <a:pt x="626" y="6050"/>
                  <a:pt x="626" y="6050"/>
                </a:cubicBezTo>
                <a:lnTo>
                  <a:pt x="659" y="6035"/>
                </a:lnTo>
                <a:lnTo>
                  <a:pt x="683" y="6019"/>
                </a:lnTo>
                <a:lnTo>
                  <a:pt x="683" y="6003"/>
                </a:lnTo>
                <a:lnTo>
                  <a:pt x="699" y="5979"/>
                </a:lnTo>
                <a:cubicBezTo>
                  <a:pt x="707" y="5979"/>
                  <a:pt x="732" y="5987"/>
                  <a:pt x="732" y="5987"/>
                </a:cubicBezTo>
                <a:cubicBezTo>
                  <a:pt x="732" y="5987"/>
                  <a:pt x="756" y="5987"/>
                  <a:pt x="756" y="5995"/>
                </a:cubicBezTo>
                <a:cubicBezTo>
                  <a:pt x="756" y="6003"/>
                  <a:pt x="772" y="6011"/>
                  <a:pt x="772" y="6011"/>
                </a:cubicBezTo>
                <a:lnTo>
                  <a:pt x="797" y="6011"/>
                </a:lnTo>
                <a:lnTo>
                  <a:pt x="821" y="6003"/>
                </a:lnTo>
                <a:lnTo>
                  <a:pt x="854" y="5995"/>
                </a:lnTo>
                <a:cubicBezTo>
                  <a:pt x="854" y="5995"/>
                  <a:pt x="846" y="5979"/>
                  <a:pt x="854" y="5979"/>
                </a:cubicBezTo>
                <a:lnTo>
                  <a:pt x="886" y="5979"/>
                </a:lnTo>
                <a:cubicBezTo>
                  <a:pt x="886" y="5979"/>
                  <a:pt x="894" y="5995"/>
                  <a:pt x="902" y="5995"/>
                </a:cubicBezTo>
                <a:cubicBezTo>
                  <a:pt x="902" y="5995"/>
                  <a:pt x="919" y="5979"/>
                  <a:pt x="911" y="5971"/>
                </a:cubicBezTo>
                <a:cubicBezTo>
                  <a:pt x="902" y="5963"/>
                  <a:pt x="870" y="5948"/>
                  <a:pt x="870" y="5948"/>
                </a:cubicBezTo>
                <a:cubicBezTo>
                  <a:pt x="870" y="5948"/>
                  <a:pt x="854" y="5924"/>
                  <a:pt x="854" y="5916"/>
                </a:cubicBezTo>
                <a:cubicBezTo>
                  <a:pt x="846" y="5908"/>
                  <a:pt x="846" y="5884"/>
                  <a:pt x="837" y="5876"/>
                </a:cubicBezTo>
                <a:cubicBezTo>
                  <a:pt x="829" y="5876"/>
                  <a:pt x="821" y="5868"/>
                  <a:pt x="821" y="5853"/>
                </a:cubicBezTo>
                <a:cubicBezTo>
                  <a:pt x="829" y="5829"/>
                  <a:pt x="829" y="5821"/>
                  <a:pt x="829" y="5821"/>
                </a:cubicBezTo>
                <a:lnTo>
                  <a:pt x="829" y="5781"/>
                </a:lnTo>
                <a:cubicBezTo>
                  <a:pt x="829" y="5781"/>
                  <a:pt x="821" y="5766"/>
                  <a:pt x="846" y="5750"/>
                </a:cubicBezTo>
                <a:cubicBezTo>
                  <a:pt x="870" y="5734"/>
                  <a:pt x="870" y="5718"/>
                  <a:pt x="878" y="5726"/>
                </a:cubicBezTo>
                <a:cubicBezTo>
                  <a:pt x="886" y="5734"/>
                  <a:pt x="902" y="5750"/>
                  <a:pt x="911" y="5750"/>
                </a:cubicBezTo>
                <a:cubicBezTo>
                  <a:pt x="911" y="5758"/>
                  <a:pt x="919" y="5758"/>
                  <a:pt x="927" y="5766"/>
                </a:cubicBezTo>
                <a:cubicBezTo>
                  <a:pt x="927" y="5774"/>
                  <a:pt x="919" y="5781"/>
                  <a:pt x="935" y="5781"/>
                </a:cubicBezTo>
                <a:lnTo>
                  <a:pt x="959" y="5781"/>
                </a:lnTo>
                <a:cubicBezTo>
                  <a:pt x="959" y="5781"/>
                  <a:pt x="967" y="5781"/>
                  <a:pt x="967" y="5774"/>
                </a:cubicBezTo>
                <a:cubicBezTo>
                  <a:pt x="967" y="5766"/>
                  <a:pt x="967" y="5742"/>
                  <a:pt x="959" y="5742"/>
                </a:cubicBezTo>
                <a:cubicBezTo>
                  <a:pt x="951" y="5734"/>
                  <a:pt x="943" y="5726"/>
                  <a:pt x="943" y="5726"/>
                </a:cubicBezTo>
                <a:cubicBezTo>
                  <a:pt x="943" y="5726"/>
                  <a:pt x="959" y="5718"/>
                  <a:pt x="935" y="5710"/>
                </a:cubicBezTo>
                <a:cubicBezTo>
                  <a:pt x="911" y="5694"/>
                  <a:pt x="911" y="5687"/>
                  <a:pt x="919" y="5679"/>
                </a:cubicBezTo>
                <a:cubicBezTo>
                  <a:pt x="935" y="5671"/>
                  <a:pt x="967" y="5679"/>
                  <a:pt x="967" y="5679"/>
                </a:cubicBezTo>
                <a:lnTo>
                  <a:pt x="992" y="5671"/>
                </a:lnTo>
                <a:cubicBezTo>
                  <a:pt x="992" y="5671"/>
                  <a:pt x="1008" y="5655"/>
                  <a:pt x="1024" y="5663"/>
                </a:cubicBezTo>
                <a:cubicBezTo>
                  <a:pt x="1032" y="5671"/>
                  <a:pt x="1065" y="5663"/>
                  <a:pt x="1065" y="5663"/>
                </a:cubicBezTo>
                <a:lnTo>
                  <a:pt x="1106" y="5671"/>
                </a:lnTo>
                <a:lnTo>
                  <a:pt x="1122" y="5655"/>
                </a:lnTo>
                <a:lnTo>
                  <a:pt x="1162" y="5671"/>
                </a:lnTo>
                <a:cubicBezTo>
                  <a:pt x="1162" y="5671"/>
                  <a:pt x="1154" y="5671"/>
                  <a:pt x="1179" y="5679"/>
                </a:cubicBezTo>
                <a:cubicBezTo>
                  <a:pt x="1195" y="5679"/>
                  <a:pt x="1219" y="5663"/>
                  <a:pt x="1219" y="5655"/>
                </a:cubicBezTo>
                <a:cubicBezTo>
                  <a:pt x="1227" y="5655"/>
                  <a:pt x="1260" y="5600"/>
                  <a:pt x="1260" y="5600"/>
                </a:cubicBezTo>
                <a:lnTo>
                  <a:pt x="1284" y="5441"/>
                </a:lnTo>
                <a:cubicBezTo>
                  <a:pt x="1284" y="5441"/>
                  <a:pt x="1317" y="5418"/>
                  <a:pt x="1309" y="5418"/>
                </a:cubicBezTo>
                <a:lnTo>
                  <a:pt x="1309" y="5346"/>
                </a:lnTo>
                <a:cubicBezTo>
                  <a:pt x="1309" y="5339"/>
                  <a:pt x="1325" y="5283"/>
                  <a:pt x="1325" y="5283"/>
                </a:cubicBezTo>
                <a:cubicBezTo>
                  <a:pt x="1325" y="5283"/>
                  <a:pt x="1356" y="5259"/>
                  <a:pt x="1341" y="5236"/>
                </a:cubicBezTo>
                <a:cubicBezTo>
                  <a:pt x="1333" y="5212"/>
                  <a:pt x="1325" y="5172"/>
                  <a:pt x="1325" y="5172"/>
                </a:cubicBezTo>
                <a:cubicBezTo>
                  <a:pt x="1325" y="5172"/>
                  <a:pt x="1317" y="5133"/>
                  <a:pt x="1317" y="5125"/>
                </a:cubicBezTo>
                <a:cubicBezTo>
                  <a:pt x="1317" y="5117"/>
                  <a:pt x="1348" y="5078"/>
                  <a:pt x="1348" y="5078"/>
                </a:cubicBezTo>
                <a:lnTo>
                  <a:pt x="1325" y="5006"/>
                </a:lnTo>
                <a:cubicBezTo>
                  <a:pt x="1325" y="5006"/>
                  <a:pt x="1341" y="4983"/>
                  <a:pt x="1341" y="4975"/>
                </a:cubicBezTo>
                <a:cubicBezTo>
                  <a:pt x="1341" y="4967"/>
                  <a:pt x="1325" y="4896"/>
                  <a:pt x="1325" y="4896"/>
                </a:cubicBezTo>
                <a:lnTo>
                  <a:pt x="1325" y="4880"/>
                </a:lnTo>
                <a:cubicBezTo>
                  <a:pt x="1325" y="4880"/>
                  <a:pt x="1348" y="4840"/>
                  <a:pt x="1341" y="4832"/>
                </a:cubicBezTo>
                <a:lnTo>
                  <a:pt x="1341" y="4785"/>
                </a:lnTo>
                <a:lnTo>
                  <a:pt x="1325" y="4737"/>
                </a:lnTo>
                <a:cubicBezTo>
                  <a:pt x="1325" y="4737"/>
                  <a:pt x="1341" y="4729"/>
                  <a:pt x="1333" y="4722"/>
                </a:cubicBezTo>
                <a:cubicBezTo>
                  <a:pt x="1325" y="4706"/>
                  <a:pt x="1317" y="4698"/>
                  <a:pt x="1317" y="4698"/>
                </a:cubicBezTo>
                <a:lnTo>
                  <a:pt x="1317" y="4682"/>
                </a:lnTo>
                <a:lnTo>
                  <a:pt x="1325" y="4666"/>
                </a:lnTo>
                <a:lnTo>
                  <a:pt x="1341" y="4650"/>
                </a:lnTo>
                <a:lnTo>
                  <a:pt x="1333" y="4603"/>
                </a:lnTo>
                <a:lnTo>
                  <a:pt x="1301" y="4595"/>
                </a:lnTo>
                <a:cubicBezTo>
                  <a:pt x="1301" y="4595"/>
                  <a:pt x="1301" y="4579"/>
                  <a:pt x="1309" y="4579"/>
                </a:cubicBezTo>
                <a:cubicBezTo>
                  <a:pt x="1325" y="4571"/>
                  <a:pt x="1381" y="4548"/>
                  <a:pt x="1381" y="4548"/>
                </a:cubicBezTo>
                <a:cubicBezTo>
                  <a:pt x="1381" y="4548"/>
                  <a:pt x="1397" y="4524"/>
                  <a:pt x="1405" y="4524"/>
                </a:cubicBezTo>
                <a:cubicBezTo>
                  <a:pt x="1405" y="4516"/>
                  <a:pt x="1470" y="4476"/>
                  <a:pt x="1470" y="4476"/>
                </a:cubicBezTo>
                <a:lnTo>
                  <a:pt x="1470" y="4445"/>
                </a:lnTo>
                <a:cubicBezTo>
                  <a:pt x="1478" y="4445"/>
                  <a:pt x="1478" y="4437"/>
                  <a:pt x="1478" y="4421"/>
                </a:cubicBezTo>
                <a:cubicBezTo>
                  <a:pt x="1486" y="4421"/>
                  <a:pt x="1470" y="4350"/>
                  <a:pt x="1470" y="4326"/>
                </a:cubicBezTo>
                <a:cubicBezTo>
                  <a:pt x="1478" y="4310"/>
                  <a:pt x="1495" y="4342"/>
                  <a:pt x="1495" y="4342"/>
                </a:cubicBezTo>
                <a:lnTo>
                  <a:pt x="1503" y="4366"/>
                </a:lnTo>
                <a:lnTo>
                  <a:pt x="1503" y="4413"/>
                </a:lnTo>
                <a:lnTo>
                  <a:pt x="1527" y="4421"/>
                </a:lnTo>
                <a:lnTo>
                  <a:pt x="1535" y="4445"/>
                </a:lnTo>
                <a:cubicBezTo>
                  <a:pt x="1535" y="4445"/>
                  <a:pt x="1527" y="4468"/>
                  <a:pt x="1535" y="4468"/>
                </a:cubicBezTo>
                <a:lnTo>
                  <a:pt x="1543" y="4461"/>
                </a:lnTo>
                <a:lnTo>
                  <a:pt x="1552" y="4413"/>
                </a:lnTo>
                <a:cubicBezTo>
                  <a:pt x="1552" y="4413"/>
                  <a:pt x="1584" y="4413"/>
                  <a:pt x="1576" y="4397"/>
                </a:cubicBezTo>
                <a:cubicBezTo>
                  <a:pt x="1576" y="4389"/>
                  <a:pt x="1568" y="4373"/>
                  <a:pt x="1576" y="4373"/>
                </a:cubicBezTo>
                <a:cubicBezTo>
                  <a:pt x="1625" y="4366"/>
                  <a:pt x="1608" y="4366"/>
                  <a:pt x="1633" y="4350"/>
                </a:cubicBezTo>
                <a:lnTo>
                  <a:pt x="1649" y="4318"/>
                </a:lnTo>
                <a:cubicBezTo>
                  <a:pt x="1649" y="4310"/>
                  <a:pt x="1657" y="4294"/>
                  <a:pt x="1657" y="4294"/>
                </a:cubicBezTo>
                <a:lnTo>
                  <a:pt x="1641" y="4286"/>
                </a:lnTo>
                <a:lnTo>
                  <a:pt x="1633" y="4263"/>
                </a:lnTo>
                <a:cubicBezTo>
                  <a:pt x="1633" y="4263"/>
                  <a:pt x="1641" y="4247"/>
                  <a:pt x="1649" y="4255"/>
                </a:cubicBezTo>
                <a:cubicBezTo>
                  <a:pt x="1649" y="4263"/>
                  <a:pt x="1657" y="4279"/>
                  <a:pt x="1665" y="4279"/>
                </a:cubicBezTo>
                <a:cubicBezTo>
                  <a:pt x="1673" y="4279"/>
                  <a:pt x="1698" y="4255"/>
                  <a:pt x="1698" y="4255"/>
                </a:cubicBezTo>
                <a:cubicBezTo>
                  <a:pt x="1698" y="4231"/>
                  <a:pt x="1641" y="4199"/>
                  <a:pt x="1625" y="4192"/>
                </a:cubicBezTo>
                <a:cubicBezTo>
                  <a:pt x="1625" y="4160"/>
                  <a:pt x="1706" y="4120"/>
                  <a:pt x="1706" y="4113"/>
                </a:cubicBezTo>
                <a:cubicBezTo>
                  <a:pt x="1714" y="4105"/>
                  <a:pt x="1714" y="4105"/>
                  <a:pt x="1714" y="4097"/>
                </a:cubicBezTo>
                <a:cubicBezTo>
                  <a:pt x="1714" y="4089"/>
                  <a:pt x="1706" y="4081"/>
                  <a:pt x="1698" y="4089"/>
                </a:cubicBezTo>
                <a:cubicBezTo>
                  <a:pt x="1698" y="4089"/>
                  <a:pt x="1690" y="4105"/>
                  <a:pt x="1682" y="4105"/>
                </a:cubicBezTo>
                <a:lnTo>
                  <a:pt x="1665" y="4105"/>
                </a:lnTo>
                <a:cubicBezTo>
                  <a:pt x="1665" y="4105"/>
                  <a:pt x="1657" y="4089"/>
                  <a:pt x="1665" y="4081"/>
                </a:cubicBezTo>
                <a:cubicBezTo>
                  <a:pt x="1673" y="4073"/>
                  <a:pt x="1665" y="4073"/>
                  <a:pt x="1682" y="4065"/>
                </a:cubicBezTo>
                <a:cubicBezTo>
                  <a:pt x="1690" y="4057"/>
                  <a:pt x="1698" y="4057"/>
                  <a:pt x="1706" y="4057"/>
                </a:cubicBezTo>
                <a:cubicBezTo>
                  <a:pt x="1706" y="4049"/>
                  <a:pt x="1714" y="4041"/>
                  <a:pt x="1722" y="4041"/>
                </a:cubicBezTo>
                <a:cubicBezTo>
                  <a:pt x="1730" y="4041"/>
                  <a:pt x="1771" y="4018"/>
                  <a:pt x="1771" y="4018"/>
                </a:cubicBezTo>
                <a:lnTo>
                  <a:pt x="1779" y="4002"/>
                </a:lnTo>
                <a:lnTo>
                  <a:pt x="1755" y="3978"/>
                </a:lnTo>
                <a:lnTo>
                  <a:pt x="1714" y="3946"/>
                </a:lnTo>
                <a:cubicBezTo>
                  <a:pt x="1714" y="3946"/>
                  <a:pt x="1698" y="3946"/>
                  <a:pt x="1698" y="3938"/>
                </a:cubicBezTo>
                <a:lnTo>
                  <a:pt x="1682" y="3923"/>
                </a:lnTo>
                <a:cubicBezTo>
                  <a:pt x="1665" y="3883"/>
                  <a:pt x="1649" y="3915"/>
                  <a:pt x="1617" y="3899"/>
                </a:cubicBezTo>
                <a:lnTo>
                  <a:pt x="1600" y="3867"/>
                </a:lnTo>
                <a:cubicBezTo>
                  <a:pt x="1600" y="3867"/>
                  <a:pt x="1617" y="3867"/>
                  <a:pt x="1617" y="3859"/>
                </a:cubicBezTo>
                <a:cubicBezTo>
                  <a:pt x="1617" y="3844"/>
                  <a:pt x="1600" y="3828"/>
                  <a:pt x="1600" y="3828"/>
                </a:cubicBezTo>
                <a:lnTo>
                  <a:pt x="1584" y="3812"/>
                </a:lnTo>
                <a:cubicBezTo>
                  <a:pt x="1552" y="3780"/>
                  <a:pt x="1560" y="3851"/>
                  <a:pt x="1535" y="3788"/>
                </a:cubicBezTo>
                <a:cubicBezTo>
                  <a:pt x="1535" y="3788"/>
                  <a:pt x="1527" y="3788"/>
                  <a:pt x="1519" y="3772"/>
                </a:cubicBezTo>
                <a:cubicBezTo>
                  <a:pt x="1511" y="3764"/>
                  <a:pt x="1487" y="3741"/>
                  <a:pt x="1487" y="3741"/>
                </a:cubicBezTo>
                <a:lnTo>
                  <a:pt x="1478" y="3717"/>
                </a:lnTo>
                <a:cubicBezTo>
                  <a:pt x="1470" y="3717"/>
                  <a:pt x="1462" y="3693"/>
                  <a:pt x="1462" y="3693"/>
                </a:cubicBezTo>
                <a:lnTo>
                  <a:pt x="1422" y="3717"/>
                </a:lnTo>
                <a:lnTo>
                  <a:pt x="1397" y="3741"/>
                </a:lnTo>
                <a:lnTo>
                  <a:pt x="1389" y="3725"/>
                </a:lnTo>
                <a:lnTo>
                  <a:pt x="1389" y="3693"/>
                </a:lnTo>
                <a:cubicBezTo>
                  <a:pt x="1389" y="3693"/>
                  <a:pt x="1365" y="3685"/>
                  <a:pt x="1357" y="3685"/>
                </a:cubicBezTo>
                <a:lnTo>
                  <a:pt x="1333" y="3685"/>
                </a:lnTo>
                <a:lnTo>
                  <a:pt x="1301" y="3677"/>
                </a:lnTo>
                <a:lnTo>
                  <a:pt x="1301" y="3654"/>
                </a:lnTo>
                <a:cubicBezTo>
                  <a:pt x="1301" y="3654"/>
                  <a:pt x="1317" y="3638"/>
                  <a:pt x="1309" y="3630"/>
                </a:cubicBezTo>
                <a:cubicBezTo>
                  <a:pt x="1309" y="3622"/>
                  <a:pt x="1284" y="3606"/>
                  <a:pt x="1284" y="3606"/>
                </a:cubicBezTo>
                <a:lnTo>
                  <a:pt x="1284" y="3590"/>
                </a:lnTo>
                <a:lnTo>
                  <a:pt x="1260" y="3559"/>
                </a:lnTo>
                <a:lnTo>
                  <a:pt x="1276" y="3535"/>
                </a:lnTo>
                <a:cubicBezTo>
                  <a:pt x="1276" y="3527"/>
                  <a:pt x="1244" y="3456"/>
                  <a:pt x="1244" y="3456"/>
                </a:cubicBezTo>
                <a:cubicBezTo>
                  <a:pt x="1244" y="3456"/>
                  <a:pt x="1260" y="3424"/>
                  <a:pt x="1260" y="3416"/>
                </a:cubicBezTo>
                <a:lnTo>
                  <a:pt x="1244" y="3385"/>
                </a:lnTo>
                <a:lnTo>
                  <a:pt x="1228" y="3385"/>
                </a:lnTo>
                <a:lnTo>
                  <a:pt x="1228" y="3353"/>
                </a:lnTo>
                <a:lnTo>
                  <a:pt x="1236" y="3329"/>
                </a:lnTo>
                <a:lnTo>
                  <a:pt x="1219" y="3314"/>
                </a:lnTo>
                <a:cubicBezTo>
                  <a:pt x="1219" y="3314"/>
                  <a:pt x="1228" y="3298"/>
                  <a:pt x="1236" y="3298"/>
                </a:cubicBezTo>
                <a:lnTo>
                  <a:pt x="1236" y="3266"/>
                </a:lnTo>
                <a:cubicBezTo>
                  <a:pt x="1236" y="3266"/>
                  <a:pt x="1244" y="3250"/>
                  <a:pt x="1252" y="3250"/>
                </a:cubicBezTo>
                <a:lnTo>
                  <a:pt x="1276" y="3266"/>
                </a:lnTo>
                <a:cubicBezTo>
                  <a:pt x="1276" y="3266"/>
                  <a:pt x="1301" y="3274"/>
                  <a:pt x="1301" y="3266"/>
                </a:cubicBezTo>
                <a:lnTo>
                  <a:pt x="1293" y="3242"/>
                </a:lnTo>
                <a:cubicBezTo>
                  <a:pt x="1293" y="3235"/>
                  <a:pt x="1276" y="3219"/>
                  <a:pt x="1276" y="3219"/>
                </a:cubicBezTo>
                <a:cubicBezTo>
                  <a:pt x="1268" y="3211"/>
                  <a:pt x="1268" y="3171"/>
                  <a:pt x="1268" y="3171"/>
                </a:cubicBezTo>
                <a:cubicBezTo>
                  <a:pt x="1268" y="3171"/>
                  <a:pt x="1252" y="3140"/>
                  <a:pt x="1260" y="3140"/>
                </a:cubicBezTo>
                <a:lnTo>
                  <a:pt x="1268" y="3124"/>
                </a:lnTo>
                <a:lnTo>
                  <a:pt x="1276" y="3068"/>
                </a:lnTo>
                <a:lnTo>
                  <a:pt x="1284" y="3021"/>
                </a:lnTo>
                <a:lnTo>
                  <a:pt x="1260" y="2997"/>
                </a:lnTo>
                <a:lnTo>
                  <a:pt x="1252" y="2981"/>
                </a:lnTo>
                <a:lnTo>
                  <a:pt x="1236" y="2966"/>
                </a:lnTo>
                <a:lnTo>
                  <a:pt x="1252" y="2918"/>
                </a:lnTo>
                <a:lnTo>
                  <a:pt x="1284" y="2918"/>
                </a:lnTo>
                <a:lnTo>
                  <a:pt x="1301" y="2894"/>
                </a:lnTo>
                <a:cubicBezTo>
                  <a:pt x="1301" y="2894"/>
                  <a:pt x="1325" y="2879"/>
                  <a:pt x="1325" y="2871"/>
                </a:cubicBezTo>
                <a:lnTo>
                  <a:pt x="1333" y="2839"/>
                </a:lnTo>
                <a:lnTo>
                  <a:pt x="1325" y="2815"/>
                </a:lnTo>
                <a:lnTo>
                  <a:pt x="1341" y="2823"/>
                </a:lnTo>
                <a:lnTo>
                  <a:pt x="1341" y="2799"/>
                </a:lnTo>
                <a:lnTo>
                  <a:pt x="1348" y="2776"/>
                </a:lnTo>
                <a:cubicBezTo>
                  <a:pt x="1357" y="2776"/>
                  <a:pt x="1365" y="2768"/>
                  <a:pt x="1365" y="2768"/>
                </a:cubicBezTo>
                <a:lnTo>
                  <a:pt x="1381" y="2736"/>
                </a:lnTo>
                <a:cubicBezTo>
                  <a:pt x="1381" y="2736"/>
                  <a:pt x="1389" y="2744"/>
                  <a:pt x="1397" y="2736"/>
                </a:cubicBezTo>
                <a:cubicBezTo>
                  <a:pt x="1405" y="2728"/>
                  <a:pt x="1405" y="2728"/>
                  <a:pt x="1405" y="2720"/>
                </a:cubicBezTo>
                <a:cubicBezTo>
                  <a:pt x="1413" y="2705"/>
                  <a:pt x="1430" y="2673"/>
                  <a:pt x="1430" y="2673"/>
                </a:cubicBezTo>
                <a:lnTo>
                  <a:pt x="1430" y="2657"/>
                </a:lnTo>
                <a:cubicBezTo>
                  <a:pt x="1438" y="2657"/>
                  <a:pt x="1454" y="2657"/>
                  <a:pt x="1454" y="2649"/>
                </a:cubicBezTo>
                <a:cubicBezTo>
                  <a:pt x="1446" y="2641"/>
                  <a:pt x="1430" y="2618"/>
                  <a:pt x="1430" y="2618"/>
                </a:cubicBezTo>
                <a:lnTo>
                  <a:pt x="1454" y="2594"/>
                </a:lnTo>
                <a:lnTo>
                  <a:pt x="1478" y="2570"/>
                </a:lnTo>
                <a:cubicBezTo>
                  <a:pt x="1478" y="2578"/>
                  <a:pt x="1487" y="2578"/>
                  <a:pt x="1495" y="2570"/>
                </a:cubicBezTo>
                <a:cubicBezTo>
                  <a:pt x="1495" y="2570"/>
                  <a:pt x="1503" y="2562"/>
                  <a:pt x="1511" y="2554"/>
                </a:cubicBezTo>
                <a:cubicBezTo>
                  <a:pt x="1511" y="2554"/>
                  <a:pt x="1519" y="2546"/>
                  <a:pt x="1527" y="2546"/>
                </a:cubicBezTo>
                <a:cubicBezTo>
                  <a:pt x="1527" y="2538"/>
                  <a:pt x="1535" y="2523"/>
                  <a:pt x="1535" y="2515"/>
                </a:cubicBezTo>
                <a:lnTo>
                  <a:pt x="1552" y="2475"/>
                </a:lnTo>
                <a:lnTo>
                  <a:pt x="1552" y="2451"/>
                </a:lnTo>
                <a:lnTo>
                  <a:pt x="1560" y="2444"/>
                </a:lnTo>
                <a:lnTo>
                  <a:pt x="1576" y="2428"/>
                </a:lnTo>
                <a:cubicBezTo>
                  <a:pt x="1576" y="2428"/>
                  <a:pt x="1592" y="2420"/>
                  <a:pt x="1592" y="2428"/>
                </a:cubicBezTo>
                <a:lnTo>
                  <a:pt x="1584" y="2444"/>
                </a:lnTo>
                <a:lnTo>
                  <a:pt x="1608" y="2444"/>
                </a:lnTo>
                <a:cubicBezTo>
                  <a:pt x="1608" y="2444"/>
                  <a:pt x="1608" y="2428"/>
                  <a:pt x="1608" y="2436"/>
                </a:cubicBezTo>
                <a:cubicBezTo>
                  <a:pt x="1617" y="2436"/>
                  <a:pt x="1625" y="2444"/>
                  <a:pt x="1625" y="2444"/>
                </a:cubicBezTo>
                <a:cubicBezTo>
                  <a:pt x="1625" y="2436"/>
                  <a:pt x="1633" y="2420"/>
                  <a:pt x="1633" y="2420"/>
                </a:cubicBezTo>
                <a:lnTo>
                  <a:pt x="1633" y="2396"/>
                </a:lnTo>
                <a:cubicBezTo>
                  <a:pt x="1633" y="2396"/>
                  <a:pt x="1649" y="2380"/>
                  <a:pt x="1657" y="2372"/>
                </a:cubicBezTo>
                <a:cubicBezTo>
                  <a:pt x="1657" y="2364"/>
                  <a:pt x="1682" y="2341"/>
                  <a:pt x="1682" y="2341"/>
                </a:cubicBezTo>
                <a:lnTo>
                  <a:pt x="1706" y="2333"/>
                </a:lnTo>
                <a:cubicBezTo>
                  <a:pt x="1706" y="2333"/>
                  <a:pt x="1714" y="2325"/>
                  <a:pt x="1722" y="2325"/>
                </a:cubicBezTo>
                <a:lnTo>
                  <a:pt x="1747" y="2293"/>
                </a:lnTo>
                <a:cubicBezTo>
                  <a:pt x="1747" y="2293"/>
                  <a:pt x="1747" y="2285"/>
                  <a:pt x="1755" y="2277"/>
                </a:cubicBezTo>
                <a:cubicBezTo>
                  <a:pt x="1755" y="2270"/>
                  <a:pt x="1771" y="2270"/>
                  <a:pt x="1771" y="2262"/>
                </a:cubicBezTo>
                <a:cubicBezTo>
                  <a:pt x="1779" y="2262"/>
                  <a:pt x="1795" y="2222"/>
                  <a:pt x="1795" y="2222"/>
                </a:cubicBezTo>
                <a:cubicBezTo>
                  <a:pt x="1795" y="2222"/>
                  <a:pt x="1803" y="2222"/>
                  <a:pt x="1803" y="2214"/>
                </a:cubicBezTo>
                <a:cubicBezTo>
                  <a:pt x="1803" y="2198"/>
                  <a:pt x="1812" y="2183"/>
                  <a:pt x="1812" y="2183"/>
                </a:cubicBezTo>
                <a:lnTo>
                  <a:pt x="1828" y="2151"/>
                </a:lnTo>
                <a:lnTo>
                  <a:pt x="1828" y="2103"/>
                </a:lnTo>
                <a:lnTo>
                  <a:pt x="1844" y="2064"/>
                </a:lnTo>
                <a:cubicBezTo>
                  <a:pt x="1844" y="2064"/>
                  <a:pt x="1852" y="2056"/>
                  <a:pt x="1852" y="2048"/>
                </a:cubicBezTo>
                <a:cubicBezTo>
                  <a:pt x="1860" y="2048"/>
                  <a:pt x="1868" y="2024"/>
                  <a:pt x="1868" y="2024"/>
                </a:cubicBezTo>
                <a:lnTo>
                  <a:pt x="1893" y="1993"/>
                </a:lnTo>
                <a:cubicBezTo>
                  <a:pt x="1893" y="1993"/>
                  <a:pt x="1901" y="1969"/>
                  <a:pt x="1901" y="1961"/>
                </a:cubicBezTo>
                <a:lnTo>
                  <a:pt x="1909" y="1961"/>
                </a:lnTo>
                <a:lnTo>
                  <a:pt x="1909" y="1937"/>
                </a:lnTo>
                <a:lnTo>
                  <a:pt x="1893" y="1906"/>
                </a:lnTo>
                <a:lnTo>
                  <a:pt x="1860" y="1882"/>
                </a:lnTo>
                <a:lnTo>
                  <a:pt x="1836" y="1882"/>
                </a:lnTo>
                <a:lnTo>
                  <a:pt x="1820" y="1866"/>
                </a:lnTo>
                <a:lnTo>
                  <a:pt x="1828" y="1850"/>
                </a:lnTo>
                <a:lnTo>
                  <a:pt x="1812" y="1827"/>
                </a:lnTo>
                <a:lnTo>
                  <a:pt x="1803" y="1811"/>
                </a:lnTo>
                <a:lnTo>
                  <a:pt x="1787" y="1795"/>
                </a:lnTo>
                <a:lnTo>
                  <a:pt x="1803" y="1771"/>
                </a:lnTo>
                <a:cubicBezTo>
                  <a:pt x="1803" y="1771"/>
                  <a:pt x="1812" y="1763"/>
                  <a:pt x="1812" y="1755"/>
                </a:cubicBezTo>
                <a:lnTo>
                  <a:pt x="1844" y="1708"/>
                </a:lnTo>
                <a:cubicBezTo>
                  <a:pt x="1844" y="1708"/>
                  <a:pt x="1852" y="1700"/>
                  <a:pt x="1852" y="1692"/>
                </a:cubicBezTo>
                <a:cubicBezTo>
                  <a:pt x="1852" y="1684"/>
                  <a:pt x="1844" y="1653"/>
                  <a:pt x="1844" y="1653"/>
                </a:cubicBezTo>
                <a:cubicBezTo>
                  <a:pt x="1844" y="1653"/>
                  <a:pt x="1844" y="1629"/>
                  <a:pt x="1852" y="1629"/>
                </a:cubicBezTo>
                <a:cubicBezTo>
                  <a:pt x="1852" y="1621"/>
                  <a:pt x="1860" y="1613"/>
                  <a:pt x="1860" y="1613"/>
                </a:cubicBezTo>
                <a:cubicBezTo>
                  <a:pt x="1860" y="1613"/>
                  <a:pt x="1868" y="1613"/>
                  <a:pt x="1877" y="1621"/>
                </a:cubicBezTo>
                <a:cubicBezTo>
                  <a:pt x="1885" y="1621"/>
                  <a:pt x="1885" y="1605"/>
                  <a:pt x="1885" y="1605"/>
                </a:cubicBezTo>
                <a:cubicBezTo>
                  <a:pt x="1885" y="1605"/>
                  <a:pt x="1885" y="1581"/>
                  <a:pt x="1877" y="1581"/>
                </a:cubicBezTo>
                <a:cubicBezTo>
                  <a:pt x="1868" y="1581"/>
                  <a:pt x="1860" y="1566"/>
                  <a:pt x="1860" y="1566"/>
                </a:cubicBezTo>
                <a:lnTo>
                  <a:pt x="1868" y="1558"/>
                </a:lnTo>
                <a:cubicBezTo>
                  <a:pt x="1868" y="1550"/>
                  <a:pt x="1885" y="1542"/>
                  <a:pt x="1885" y="1542"/>
                </a:cubicBezTo>
                <a:lnTo>
                  <a:pt x="1909" y="1534"/>
                </a:lnTo>
                <a:lnTo>
                  <a:pt x="1901" y="1510"/>
                </a:lnTo>
                <a:lnTo>
                  <a:pt x="1901" y="1486"/>
                </a:lnTo>
                <a:lnTo>
                  <a:pt x="1933" y="1494"/>
                </a:lnTo>
                <a:cubicBezTo>
                  <a:pt x="1933" y="1502"/>
                  <a:pt x="1942" y="1518"/>
                  <a:pt x="1950" y="1518"/>
                </a:cubicBezTo>
                <a:lnTo>
                  <a:pt x="1950" y="1494"/>
                </a:lnTo>
                <a:cubicBezTo>
                  <a:pt x="1950" y="1494"/>
                  <a:pt x="1958" y="1471"/>
                  <a:pt x="1966" y="1479"/>
                </a:cubicBezTo>
                <a:cubicBezTo>
                  <a:pt x="1982" y="1487"/>
                  <a:pt x="1990" y="1471"/>
                  <a:pt x="1998" y="1471"/>
                </a:cubicBezTo>
                <a:cubicBezTo>
                  <a:pt x="1998" y="1463"/>
                  <a:pt x="2007" y="1447"/>
                  <a:pt x="2007" y="1447"/>
                </a:cubicBezTo>
                <a:cubicBezTo>
                  <a:pt x="2007" y="1447"/>
                  <a:pt x="2015" y="1423"/>
                  <a:pt x="2007" y="1415"/>
                </a:cubicBezTo>
                <a:cubicBezTo>
                  <a:pt x="1998" y="1415"/>
                  <a:pt x="1990" y="1415"/>
                  <a:pt x="1990" y="1407"/>
                </a:cubicBezTo>
                <a:cubicBezTo>
                  <a:pt x="1990" y="1407"/>
                  <a:pt x="1998" y="1392"/>
                  <a:pt x="2007" y="1392"/>
                </a:cubicBezTo>
                <a:cubicBezTo>
                  <a:pt x="2015" y="1392"/>
                  <a:pt x="2015" y="1392"/>
                  <a:pt x="2031" y="1384"/>
                </a:cubicBezTo>
                <a:cubicBezTo>
                  <a:pt x="2039" y="1376"/>
                  <a:pt x="2039" y="1368"/>
                  <a:pt x="2039" y="1368"/>
                </a:cubicBezTo>
                <a:lnTo>
                  <a:pt x="2064" y="1360"/>
                </a:lnTo>
                <a:lnTo>
                  <a:pt x="2096" y="1344"/>
                </a:lnTo>
                <a:lnTo>
                  <a:pt x="2096" y="1328"/>
                </a:lnTo>
                <a:lnTo>
                  <a:pt x="2112" y="1328"/>
                </a:lnTo>
                <a:cubicBezTo>
                  <a:pt x="2120" y="1328"/>
                  <a:pt x="2129" y="1336"/>
                  <a:pt x="2129" y="1336"/>
                </a:cubicBezTo>
                <a:lnTo>
                  <a:pt x="2145" y="1336"/>
                </a:lnTo>
                <a:cubicBezTo>
                  <a:pt x="2145" y="1328"/>
                  <a:pt x="2137" y="1320"/>
                  <a:pt x="2145" y="1320"/>
                </a:cubicBezTo>
                <a:cubicBezTo>
                  <a:pt x="2153" y="1328"/>
                  <a:pt x="2153" y="1328"/>
                  <a:pt x="2153" y="1336"/>
                </a:cubicBezTo>
                <a:lnTo>
                  <a:pt x="2161" y="1336"/>
                </a:lnTo>
                <a:cubicBezTo>
                  <a:pt x="2169" y="1336"/>
                  <a:pt x="2177" y="1344"/>
                  <a:pt x="2185" y="1352"/>
                </a:cubicBezTo>
                <a:lnTo>
                  <a:pt x="2185" y="1368"/>
                </a:lnTo>
                <a:lnTo>
                  <a:pt x="2185" y="1384"/>
                </a:lnTo>
                <a:lnTo>
                  <a:pt x="2185" y="1392"/>
                </a:lnTo>
                <a:cubicBezTo>
                  <a:pt x="2185" y="1392"/>
                  <a:pt x="2210" y="1407"/>
                  <a:pt x="2210" y="1400"/>
                </a:cubicBezTo>
                <a:lnTo>
                  <a:pt x="2210" y="1384"/>
                </a:lnTo>
                <a:cubicBezTo>
                  <a:pt x="2202" y="1376"/>
                  <a:pt x="2210" y="1368"/>
                  <a:pt x="2210" y="1360"/>
                </a:cubicBezTo>
                <a:cubicBezTo>
                  <a:pt x="2202" y="1352"/>
                  <a:pt x="2193" y="1336"/>
                  <a:pt x="2193" y="1328"/>
                </a:cubicBezTo>
                <a:cubicBezTo>
                  <a:pt x="2193" y="1328"/>
                  <a:pt x="2202" y="1320"/>
                  <a:pt x="2210" y="1320"/>
                </a:cubicBezTo>
                <a:cubicBezTo>
                  <a:pt x="2218" y="1320"/>
                  <a:pt x="2210" y="1313"/>
                  <a:pt x="2218" y="1320"/>
                </a:cubicBezTo>
                <a:cubicBezTo>
                  <a:pt x="2226" y="1328"/>
                  <a:pt x="2226" y="1336"/>
                  <a:pt x="2234" y="1336"/>
                </a:cubicBezTo>
                <a:lnTo>
                  <a:pt x="2242" y="1336"/>
                </a:lnTo>
                <a:cubicBezTo>
                  <a:pt x="2242" y="1344"/>
                  <a:pt x="2250" y="1352"/>
                  <a:pt x="2250" y="1360"/>
                </a:cubicBezTo>
                <a:lnTo>
                  <a:pt x="2250" y="1376"/>
                </a:lnTo>
                <a:lnTo>
                  <a:pt x="2267" y="1400"/>
                </a:lnTo>
                <a:lnTo>
                  <a:pt x="2283" y="1384"/>
                </a:lnTo>
                <a:lnTo>
                  <a:pt x="2283" y="1352"/>
                </a:lnTo>
                <a:cubicBezTo>
                  <a:pt x="2283" y="1344"/>
                  <a:pt x="2259" y="1320"/>
                  <a:pt x="2259" y="1320"/>
                </a:cubicBezTo>
                <a:cubicBezTo>
                  <a:pt x="2259" y="1320"/>
                  <a:pt x="2259" y="1313"/>
                  <a:pt x="2267" y="1305"/>
                </a:cubicBezTo>
                <a:cubicBezTo>
                  <a:pt x="2267" y="1305"/>
                  <a:pt x="2275" y="1297"/>
                  <a:pt x="2291" y="1289"/>
                </a:cubicBezTo>
                <a:lnTo>
                  <a:pt x="2242" y="1186"/>
                </a:lnTo>
                <a:lnTo>
                  <a:pt x="2193" y="1162"/>
                </a:lnTo>
                <a:lnTo>
                  <a:pt x="2161" y="1131"/>
                </a:lnTo>
                <a:lnTo>
                  <a:pt x="2161" y="1091"/>
                </a:lnTo>
                <a:lnTo>
                  <a:pt x="2137" y="1059"/>
                </a:lnTo>
                <a:cubicBezTo>
                  <a:pt x="2137" y="1059"/>
                  <a:pt x="2145" y="1036"/>
                  <a:pt x="2145" y="1028"/>
                </a:cubicBezTo>
                <a:cubicBezTo>
                  <a:pt x="2153" y="1020"/>
                  <a:pt x="2169" y="980"/>
                  <a:pt x="2169" y="980"/>
                </a:cubicBezTo>
                <a:cubicBezTo>
                  <a:pt x="2169" y="980"/>
                  <a:pt x="2161" y="949"/>
                  <a:pt x="2161" y="941"/>
                </a:cubicBezTo>
                <a:cubicBezTo>
                  <a:pt x="2161" y="933"/>
                  <a:pt x="2169" y="893"/>
                  <a:pt x="2169" y="893"/>
                </a:cubicBezTo>
                <a:lnTo>
                  <a:pt x="2161" y="854"/>
                </a:lnTo>
                <a:lnTo>
                  <a:pt x="2064" y="743"/>
                </a:lnTo>
                <a:lnTo>
                  <a:pt x="2072" y="696"/>
                </a:ln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40" name="Freeform 132">
            <a:extLst>
              <a:ext uri="{FF2B5EF4-FFF2-40B4-BE49-F238E27FC236}">
                <a16:creationId xmlns:a16="http://schemas.microsoft.com/office/drawing/2014/main" id="{77BD6F37-E78F-5FA6-A02A-34FFF5DDC821}"/>
              </a:ext>
            </a:extLst>
          </p:cNvPr>
          <p:cNvSpPr>
            <a:spLocks noChangeArrowheads="1"/>
          </p:cNvSpPr>
          <p:nvPr>
            <p:custDataLst>
              <p:tags r:id="rId131"/>
            </p:custDataLst>
          </p:nvPr>
        </p:nvSpPr>
        <p:spPr bwMode="auto">
          <a:xfrm>
            <a:off x="7866141" y="2535704"/>
            <a:ext cx="106862" cy="208289"/>
          </a:xfrm>
          <a:custGeom>
            <a:avLst/>
            <a:gdLst>
              <a:gd name="T0" fmla="*/ 16 w 261"/>
              <a:gd name="T1" fmla="*/ 340 h 507"/>
              <a:gd name="T2" fmla="*/ 8 w 261"/>
              <a:gd name="T3" fmla="*/ 324 h 507"/>
              <a:gd name="T4" fmla="*/ 33 w 261"/>
              <a:gd name="T5" fmla="*/ 316 h 507"/>
              <a:gd name="T6" fmla="*/ 25 w 261"/>
              <a:gd name="T7" fmla="*/ 277 h 507"/>
              <a:gd name="T8" fmla="*/ 8 w 261"/>
              <a:gd name="T9" fmla="*/ 261 h 507"/>
              <a:gd name="T10" fmla="*/ 0 w 261"/>
              <a:gd name="T11" fmla="*/ 229 h 507"/>
              <a:gd name="T12" fmla="*/ 8 w 261"/>
              <a:gd name="T13" fmla="*/ 197 h 507"/>
              <a:gd name="T14" fmla="*/ 49 w 261"/>
              <a:gd name="T15" fmla="*/ 150 h 507"/>
              <a:gd name="T16" fmla="*/ 65 w 261"/>
              <a:gd name="T17" fmla="*/ 110 h 507"/>
              <a:gd name="T18" fmla="*/ 73 w 261"/>
              <a:gd name="T19" fmla="*/ 95 h 507"/>
              <a:gd name="T20" fmla="*/ 98 w 261"/>
              <a:gd name="T21" fmla="*/ 71 h 507"/>
              <a:gd name="T22" fmla="*/ 114 w 261"/>
              <a:gd name="T23" fmla="*/ 31 h 507"/>
              <a:gd name="T24" fmla="*/ 138 w 261"/>
              <a:gd name="T25" fmla="*/ 55 h 507"/>
              <a:gd name="T26" fmla="*/ 146 w 261"/>
              <a:gd name="T27" fmla="*/ 39 h 507"/>
              <a:gd name="T28" fmla="*/ 163 w 261"/>
              <a:gd name="T29" fmla="*/ 31 h 507"/>
              <a:gd name="T30" fmla="*/ 195 w 261"/>
              <a:gd name="T31" fmla="*/ 23 h 507"/>
              <a:gd name="T32" fmla="*/ 203 w 261"/>
              <a:gd name="T33" fmla="*/ 8 h 507"/>
              <a:gd name="T34" fmla="*/ 252 w 261"/>
              <a:gd name="T35" fmla="*/ 8 h 507"/>
              <a:gd name="T36" fmla="*/ 244 w 261"/>
              <a:gd name="T37" fmla="*/ 23 h 507"/>
              <a:gd name="T38" fmla="*/ 244 w 261"/>
              <a:gd name="T39" fmla="*/ 39 h 507"/>
              <a:gd name="T40" fmla="*/ 211 w 261"/>
              <a:gd name="T41" fmla="*/ 55 h 507"/>
              <a:gd name="T42" fmla="*/ 203 w 261"/>
              <a:gd name="T43" fmla="*/ 79 h 507"/>
              <a:gd name="T44" fmla="*/ 203 w 261"/>
              <a:gd name="T45" fmla="*/ 110 h 507"/>
              <a:gd name="T46" fmla="*/ 163 w 261"/>
              <a:gd name="T47" fmla="*/ 134 h 507"/>
              <a:gd name="T48" fmla="*/ 155 w 261"/>
              <a:gd name="T49" fmla="*/ 158 h 507"/>
              <a:gd name="T50" fmla="*/ 163 w 261"/>
              <a:gd name="T51" fmla="*/ 197 h 507"/>
              <a:gd name="T52" fmla="*/ 171 w 261"/>
              <a:gd name="T53" fmla="*/ 221 h 507"/>
              <a:gd name="T54" fmla="*/ 195 w 261"/>
              <a:gd name="T55" fmla="*/ 229 h 507"/>
              <a:gd name="T56" fmla="*/ 203 w 261"/>
              <a:gd name="T57" fmla="*/ 261 h 507"/>
              <a:gd name="T58" fmla="*/ 179 w 261"/>
              <a:gd name="T59" fmla="*/ 277 h 507"/>
              <a:gd name="T60" fmla="*/ 163 w 261"/>
              <a:gd name="T61" fmla="*/ 308 h 507"/>
              <a:gd name="T62" fmla="*/ 163 w 261"/>
              <a:gd name="T63" fmla="*/ 340 h 507"/>
              <a:gd name="T64" fmla="*/ 138 w 261"/>
              <a:gd name="T65" fmla="*/ 356 h 507"/>
              <a:gd name="T66" fmla="*/ 114 w 261"/>
              <a:gd name="T67" fmla="*/ 379 h 507"/>
              <a:gd name="T68" fmla="*/ 98 w 261"/>
              <a:gd name="T69" fmla="*/ 427 h 507"/>
              <a:gd name="T70" fmla="*/ 98 w 261"/>
              <a:gd name="T71" fmla="*/ 458 h 507"/>
              <a:gd name="T72" fmla="*/ 81 w 261"/>
              <a:gd name="T73" fmla="*/ 482 h 507"/>
              <a:gd name="T74" fmla="*/ 41 w 261"/>
              <a:gd name="T75" fmla="*/ 482 h 507"/>
              <a:gd name="T76" fmla="*/ 49 w 261"/>
              <a:gd name="T77" fmla="*/ 458 h 507"/>
              <a:gd name="T78" fmla="*/ 65 w 261"/>
              <a:gd name="T79" fmla="*/ 427 h 507"/>
              <a:gd name="T80" fmla="*/ 57 w 261"/>
              <a:gd name="T81" fmla="*/ 395 h 507"/>
              <a:gd name="T82" fmla="*/ 41 w 261"/>
              <a:gd name="T83" fmla="*/ 371 h 507"/>
              <a:gd name="T84" fmla="*/ 16 w 261"/>
              <a:gd name="T85" fmla="*/ 340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61" h="507">
                <a:moveTo>
                  <a:pt x="16" y="340"/>
                </a:moveTo>
                <a:lnTo>
                  <a:pt x="8" y="324"/>
                </a:lnTo>
                <a:lnTo>
                  <a:pt x="33" y="316"/>
                </a:lnTo>
                <a:cubicBezTo>
                  <a:pt x="33" y="316"/>
                  <a:pt x="25" y="285"/>
                  <a:pt x="25" y="277"/>
                </a:cubicBezTo>
                <a:cubicBezTo>
                  <a:pt x="25" y="269"/>
                  <a:pt x="16" y="277"/>
                  <a:pt x="8" y="261"/>
                </a:cubicBezTo>
                <a:cubicBezTo>
                  <a:pt x="0" y="253"/>
                  <a:pt x="0" y="229"/>
                  <a:pt x="0" y="229"/>
                </a:cubicBezTo>
                <a:cubicBezTo>
                  <a:pt x="0" y="221"/>
                  <a:pt x="8" y="197"/>
                  <a:pt x="8" y="197"/>
                </a:cubicBezTo>
                <a:cubicBezTo>
                  <a:pt x="8" y="197"/>
                  <a:pt x="33" y="166"/>
                  <a:pt x="49" y="150"/>
                </a:cubicBezTo>
                <a:cubicBezTo>
                  <a:pt x="73" y="126"/>
                  <a:pt x="65" y="126"/>
                  <a:pt x="65" y="110"/>
                </a:cubicBezTo>
                <a:cubicBezTo>
                  <a:pt x="57" y="103"/>
                  <a:pt x="73" y="95"/>
                  <a:pt x="73" y="95"/>
                </a:cubicBezTo>
                <a:lnTo>
                  <a:pt x="98" y="71"/>
                </a:lnTo>
                <a:lnTo>
                  <a:pt x="114" y="31"/>
                </a:lnTo>
                <a:lnTo>
                  <a:pt x="138" y="55"/>
                </a:lnTo>
                <a:cubicBezTo>
                  <a:pt x="146" y="55"/>
                  <a:pt x="146" y="47"/>
                  <a:pt x="146" y="39"/>
                </a:cubicBezTo>
                <a:cubicBezTo>
                  <a:pt x="146" y="31"/>
                  <a:pt x="163" y="31"/>
                  <a:pt x="163" y="31"/>
                </a:cubicBezTo>
                <a:cubicBezTo>
                  <a:pt x="171" y="31"/>
                  <a:pt x="195" y="23"/>
                  <a:pt x="195" y="23"/>
                </a:cubicBezTo>
                <a:lnTo>
                  <a:pt x="203" y="8"/>
                </a:lnTo>
                <a:cubicBezTo>
                  <a:pt x="203" y="8"/>
                  <a:pt x="236" y="0"/>
                  <a:pt x="252" y="8"/>
                </a:cubicBezTo>
                <a:cubicBezTo>
                  <a:pt x="260" y="16"/>
                  <a:pt x="244" y="16"/>
                  <a:pt x="244" y="23"/>
                </a:cubicBezTo>
                <a:lnTo>
                  <a:pt x="244" y="39"/>
                </a:lnTo>
                <a:cubicBezTo>
                  <a:pt x="244" y="47"/>
                  <a:pt x="236" y="55"/>
                  <a:pt x="211" y="55"/>
                </a:cubicBezTo>
                <a:cubicBezTo>
                  <a:pt x="187" y="63"/>
                  <a:pt x="203" y="79"/>
                  <a:pt x="203" y="79"/>
                </a:cubicBezTo>
                <a:lnTo>
                  <a:pt x="203" y="110"/>
                </a:lnTo>
                <a:cubicBezTo>
                  <a:pt x="195" y="118"/>
                  <a:pt x="179" y="134"/>
                  <a:pt x="163" y="134"/>
                </a:cubicBezTo>
                <a:cubicBezTo>
                  <a:pt x="155" y="142"/>
                  <a:pt x="155" y="158"/>
                  <a:pt x="155" y="158"/>
                </a:cubicBezTo>
                <a:cubicBezTo>
                  <a:pt x="155" y="166"/>
                  <a:pt x="163" y="182"/>
                  <a:pt x="163" y="197"/>
                </a:cubicBezTo>
                <a:cubicBezTo>
                  <a:pt x="163" y="205"/>
                  <a:pt x="163" y="205"/>
                  <a:pt x="171" y="221"/>
                </a:cubicBezTo>
                <a:cubicBezTo>
                  <a:pt x="171" y="229"/>
                  <a:pt x="187" y="229"/>
                  <a:pt x="195" y="229"/>
                </a:cubicBezTo>
                <a:cubicBezTo>
                  <a:pt x="195" y="237"/>
                  <a:pt x="211" y="253"/>
                  <a:pt x="203" y="261"/>
                </a:cubicBezTo>
                <a:cubicBezTo>
                  <a:pt x="195" y="269"/>
                  <a:pt x="187" y="277"/>
                  <a:pt x="179" y="277"/>
                </a:cubicBezTo>
                <a:cubicBezTo>
                  <a:pt x="179" y="285"/>
                  <a:pt x="163" y="308"/>
                  <a:pt x="163" y="308"/>
                </a:cubicBezTo>
                <a:cubicBezTo>
                  <a:pt x="163" y="308"/>
                  <a:pt x="171" y="324"/>
                  <a:pt x="163" y="340"/>
                </a:cubicBezTo>
                <a:cubicBezTo>
                  <a:pt x="163" y="356"/>
                  <a:pt x="146" y="348"/>
                  <a:pt x="138" y="356"/>
                </a:cubicBezTo>
                <a:lnTo>
                  <a:pt x="114" y="379"/>
                </a:lnTo>
                <a:cubicBezTo>
                  <a:pt x="106" y="379"/>
                  <a:pt x="98" y="411"/>
                  <a:pt x="98" y="427"/>
                </a:cubicBezTo>
                <a:lnTo>
                  <a:pt x="98" y="458"/>
                </a:lnTo>
                <a:cubicBezTo>
                  <a:pt x="98" y="466"/>
                  <a:pt x="98" y="458"/>
                  <a:pt x="81" y="482"/>
                </a:cubicBezTo>
                <a:cubicBezTo>
                  <a:pt x="57" y="506"/>
                  <a:pt x="65" y="490"/>
                  <a:pt x="41" y="482"/>
                </a:cubicBezTo>
                <a:cubicBezTo>
                  <a:pt x="8" y="482"/>
                  <a:pt x="41" y="474"/>
                  <a:pt x="49" y="458"/>
                </a:cubicBezTo>
                <a:cubicBezTo>
                  <a:pt x="57" y="443"/>
                  <a:pt x="65" y="427"/>
                  <a:pt x="65" y="427"/>
                </a:cubicBezTo>
                <a:lnTo>
                  <a:pt x="57" y="395"/>
                </a:lnTo>
                <a:lnTo>
                  <a:pt x="41" y="371"/>
                </a:lnTo>
                <a:lnTo>
                  <a:pt x="16" y="34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41" name="Freeform 133">
            <a:extLst>
              <a:ext uri="{FF2B5EF4-FFF2-40B4-BE49-F238E27FC236}">
                <a16:creationId xmlns:a16="http://schemas.microsoft.com/office/drawing/2014/main" id="{5C2137CD-0F7D-1C85-F445-2E2A5A16BB6D}"/>
              </a:ext>
            </a:extLst>
          </p:cNvPr>
          <p:cNvSpPr>
            <a:spLocks noChangeArrowheads="1"/>
          </p:cNvSpPr>
          <p:nvPr>
            <p:custDataLst>
              <p:tags r:id="rId132"/>
            </p:custDataLst>
          </p:nvPr>
        </p:nvSpPr>
        <p:spPr bwMode="auto">
          <a:xfrm>
            <a:off x="7728488" y="2669734"/>
            <a:ext cx="56148" cy="204667"/>
          </a:xfrm>
          <a:custGeom>
            <a:avLst/>
            <a:gdLst>
              <a:gd name="T0" fmla="*/ 16 w 138"/>
              <a:gd name="T1" fmla="*/ 498 h 499"/>
              <a:gd name="T2" fmla="*/ 23 w 138"/>
              <a:gd name="T3" fmla="*/ 435 h 499"/>
              <a:gd name="T4" fmla="*/ 8 w 138"/>
              <a:gd name="T5" fmla="*/ 411 h 499"/>
              <a:gd name="T6" fmla="*/ 0 w 138"/>
              <a:gd name="T7" fmla="*/ 364 h 499"/>
              <a:gd name="T8" fmla="*/ 16 w 138"/>
              <a:gd name="T9" fmla="*/ 316 h 499"/>
              <a:gd name="T10" fmla="*/ 31 w 138"/>
              <a:gd name="T11" fmla="*/ 277 h 499"/>
              <a:gd name="T12" fmla="*/ 40 w 138"/>
              <a:gd name="T13" fmla="*/ 229 h 499"/>
              <a:gd name="T14" fmla="*/ 56 w 138"/>
              <a:gd name="T15" fmla="*/ 198 h 499"/>
              <a:gd name="T16" fmla="*/ 72 w 138"/>
              <a:gd name="T17" fmla="*/ 158 h 499"/>
              <a:gd name="T18" fmla="*/ 80 w 138"/>
              <a:gd name="T19" fmla="*/ 119 h 499"/>
              <a:gd name="T20" fmla="*/ 97 w 138"/>
              <a:gd name="T21" fmla="*/ 71 h 499"/>
              <a:gd name="T22" fmla="*/ 88 w 138"/>
              <a:gd name="T23" fmla="*/ 24 h 499"/>
              <a:gd name="T24" fmla="*/ 113 w 138"/>
              <a:gd name="T25" fmla="*/ 0 h 499"/>
              <a:gd name="T26" fmla="*/ 137 w 138"/>
              <a:gd name="T27" fmla="*/ 0 h 499"/>
              <a:gd name="T28" fmla="*/ 129 w 138"/>
              <a:gd name="T29" fmla="*/ 32 h 499"/>
              <a:gd name="T30" fmla="*/ 113 w 138"/>
              <a:gd name="T31" fmla="*/ 40 h 499"/>
              <a:gd name="T32" fmla="*/ 129 w 138"/>
              <a:gd name="T33" fmla="*/ 63 h 499"/>
              <a:gd name="T34" fmla="*/ 129 w 138"/>
              <a:gd name="T35" fmla="*/ 95 h 499"/>
              <a:gd name="T36" fmla="*/ 113 w 138"/>
              <a:gd name="T37" fmla="*/ 127 h 499"/>
              <a:gd name="T38" fmla="*/ 97 w 138"/>
              <a:gd name="T39" fmla="*/ 166 h 499"/>
              <a:gd name="T40" fmla="*/ 97 w 138"/>
              <a:gd name="T41" fmla="*/ 206 h 499"/>
              <a:gd name="T42" fmla="*/ 88 w 138"/>
              <a:gd name="T43" fmla="*/ 229 h 499"/>
              <a:gd name="T44" fmla="*/ 80 w 138"/>
              <a:gd name="T45" fmla="*/ 253 h 499"/>
              <a:gd name="T46" fmla="*/ 64 w 138"/>
              <a:gd name="T47" fmla="*/ 301 h 499"/>
              <a:gd name="T48" fmla="*/ 72 w 138"/>
              <a:gd name="T49" fmla="*/ 340 h 499"/>
              <a:gd name="T50" fmla="*/ 48 w 138"/>
              <a:gd name="T51" fmla="*/ 388 h 499"/>
              <a:gd name="T52" fmla="*/ 48 w 138"/>
              <a:gd name="T53" fmla="*/ 419 h 499"/>
              <a:gd name="T54" fmla="*/ 48 w 138"/>
              <a:gd name="T55" fmla="*/ 475 h 499"/>
              <a:gd name="T56" fmla="*/ 40 w 138"/>
              <a:gd name="T57" fmla="*/ 498 h 499"/>
              <a:gd name="T58" fmla="*/ 16 w 138"/>
              <a:gd name="T59" fmla="*/ 498 h 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38" h="499">
                <a:moveTo>
                  <a:pt x="16" y="498"/>
                </a:moveTo>
                <a:lnTo>
                  <a:pt x="23" y="435"/>
                </a:lnTo>
                <a:lnTo>
                  <a:pt x="8" y="411"/>
                </a:lnTo>
                <a:cubicBezTo>
                  <a:pt x="8" y="403"/>
                  <a:pt x="0" y="388"/>
                  <a:pt x="0" y="364"/>
                </a:cubicBezTo>
                <a:cubicBezTo>
                  <a:pt x="8" y="340"/>
                  <a:pt x="8" y="332"/>
                  <a:pt x="16" y="316"/>
                </a:cubicBezTo>
                <a:cubicBezTo>
                  <a:pt x="16" y="301"/>
                  <a:pt x="31" y="293"/>
                  <a:pt x="31" y="277"/>
                </a:cubicBezTo>
                <a:cubicBezTo>
                  <a:pt x="31" y="253"/>
                  <a:pt x="31" y="245"/>
                  <a:pt x="40" y="229"/>
                </a:cubicBezTo>
                <a:cubicBezTo>
                  <a:pt x="40" y="214"/>
                  <a:pt x="48" y="198"/>
                  <a:pt x="56" y="198"/>
                </a:cubicBezTo>
                <a:cubicBezTo>
                  <a:pt x="56" y="190"/>
                  <a:pt x="72" y="158"/>
                  <a:pt x="72" y="158"/>
                </a:cubicBezTo>
                <a:lnTo>
                  <a:pt x="80" y="119"/>
                </a:lnTo>
                <a:cubicBezTo>
                  <a:pt x="80" y="119"/>
                  <a:pt x="97" y="79"/>
                  <a:pt x="97" y="71"/>
                </a:cubicBezTo>
                <a:cubicBezTo>
                  <a:pt x="97" y="63"/>
                  <a:pt x="88" y="32"/>
                  <a:pt x="88" y="24"/>
                </a:cubicBezTo>
                <a:cubicBezTo>
                  <a:pt x="97" y="16"/>
                  <a:pt x="113" y="0"/>
                  <a:pt x="113" y="0"/>
                </a:cubicBezTo>
                <a:lnTo>
                  <a:pt x="137" y="0"/>
                </a:lnTo>
                <a:cubicBezTo>
                  <a:pt x="137" y="0"/>
                  <a:pt x="137" y="24"/>
                  <a:pt x="129" y="32"/>
                </a:cubicBezTo>
                <a:cubicBezTo>
                  <a:pt x="121" y="32"/>
                  <a:pt x="113" y="40"/>
                  <a:pt x="113" y="40"/>
                </a:cubicBezTo>
                <a:cubicBezTo>
                  <a:pt x="113" y="47"/>
                  <a:pt x="129" y="63"/>
                  <a:pt x="129" y="63"/>
                </a:cubicBezTo>
                <a:lnTo>
                  <a:pt x="129" y="95"/>
                </a:lnTo>
                <a:lnTo>
                  <a:pt x="113" y="127"/>
                </a:lnTo>
                <a:lnTo>
                  <a:pt x="97" y="166"/>
                </a:lnTo>
                <a:lnTo>
                  <a:pt x="97" y="206"/>
                </a:lnTo>
                <a:lnTo>
                  <a:pt x="88" y="229"/>
                </a:lnTo>
                <a:lnTo>
                  <a:pt x="80" y="253"/>
                </a:lnTo>
                <a:lnTo>
                  <a:pt x="64" y="301"/>
                </a:lnTo>
                <a:lnTo>
                  <a:pt x="72" y="340"/>
                </a:lnTo>
                <a:lnTo>
                  <a:pt x="48" y="388"/>
                </a:lnTo>
                <a:lnTo>
                  <a:pt x="48" y="419"/>
                </a:lnTo>
                <a:lnTo>
                  <a:pt x="48" y="475"/>
                </a:lnTo>
                <a:cubicBezTo>
                  <a:pt x="48" y="475"/>
                  <a:pt x="48" y="498"/>
                  <a:pt x="40" y="498"/>
                </a:cubicBezTo>
                <a:lnTo>
                  <a:pt x="16" y="49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42" name="Freeform 134">
            <a:extLst>
              <a:ext uri="{FF2B5EF4-FFF2-40B4-BE49-F238E27FC236}">
                <a16:creationId xmlns:a16="http://schemas.microsoft.com/office/drawing/2014/main" id="{EB69C7B7-E870-B277-DF4C-BC65A27B73BB}"/>
              </a:ext>
            </a:extLst>
          </p:cNvPr>
          <p:cNvSpPr>
            <a:spLocks noChangeArrowheads="1"/>
          </p:cNvSpPr>
          <p:nvPr>
            <p:custDataLst>
              <p:tags r:id="rId133"/>
            </p:custDataLst>
          </p:nvPr>
        </p:nvSpPr>
        <p:spPr bwMode="auto">
          <a:xfrm>
            <a:off x="7185123" y="568722"/>
            <a:ext cx="941833" cy="2488612"/>
          </a:xfrm>
          <a:custGeom>
            <a:avLst/>
            <a:gdLst>
              <a:gd name="T0" fmla="*/ 1998 w 2292"/>
              <a:gd name="T1" fmla="*/ 466 h 6059"/>
              <a:gd name="T2" fmla="*/ 1722 w 2292"/>
              <a:gd name="T3" fmla="*/ 237 h 6059"/>
              <a:gd name="T4" fmla="*/ 1527 w 2292"/>
              <a:gd name="T5" fmla="*/ 110 h 6059"/>
              <a:gd name="T6" fmla="*/ 1365 w 2292"/>
              <a:gd name="T7" fmla="*/ 39 h 6059"/>
              <a:gd name="T8" fmla="*/ 1195 w 2292"/>
              <a:gd name="T9" fmla="*/ 292 h 6059"/>
              <a:gd name="T10" fmla="*/ 837 w 2292"/>
              <a:gd name="T11" fmla="*/ 656 h 6059"/>
              <a:gd name="T12" fmla="*/ 732 w 2292"/>
              <a:gd name="T13" fmla="*/ 1123 h 6059"/>
              <a:gd name="T14" fmla="*/ 553 w 2292"/>
              <a:gd name="T15" fmla="*/ 1621 h 6059"/>
              <a:gd name="T16" fmla="*/ 496 w 2292"/>
              <a:gd name="T17" fmla="*/ 2111 h 6059"/>
              <a:gd name="T18" fmla="*/ 122 w 2292"/>
              <a:gd name="T19" fmla="*/ 2634 h 6059"/>
              <a:gd name="T20" fmla="*/ 195 w 2292"/>
              <a:gd name="T21" fmla="*/ 3061 h 6059"/>
              <a:gd name="T22" fmla="*/ 244 w 2292"/>
              <a:gd name="T23" fmla="*/ 3598 h 6059"/>
              <a:gd name="T24" fmla="*/ 285 w 2292"/>
              <a:gd name="T25" fmla="*/ 3970 h 6059"/>
              <a:gd name="T26" fmla="*/ 147 w 2292"/>
              <a:gd name="T27" fmla="*/ 4144 h 6059"/>
              <a:gd name="T28" fmla="*/ 130 w 2292"/>
              <a:gd name="T29" fmla="*/ 4429 h 6059"/>
              <a:gd name="T30" fmla="*/ 0 w 2292"/>
              <a:gd name="T31" fmla="*/ 4540 h 6059"/>
              <a:gd name="T32" fmla="*/ 98 w 2292"/>
              <a:gd name="T33" fmla="*/ 4777 h 6059"/>
              <a:gd name="T34" fmla="*/ 122 w 2292"/>
              <a:gd name="T35" fmla="*/ 4904 h 6059"/>
              <a:gd name="T36" fmla="*/ 155 w 2292"/>
              <a:gd name="T37" fmla="*/ 5030 h 6059"/>
              <a:gd name="T38" fmla="*/ 204 w 2292"/>
              <a:gd name="T39" fmla="*/ 5157 h 6059"/>
              <a:gd name="T40" fmla="*/ 334 w 2292"/>
              <a:gd name="T41" fmla="*/ 5378 h 6059"/>
              <a:gd name="T42" fmla="*/ 472 w 2292"/>
              <a:gd name="T43" fmla="*/ 5560 h 6059"/>
              <a:gd name="T44" fmla="*/ 415 w 2292"/>
              <a:gd name="T45" fmla="*/ 5679 h 6059"/>
              <a:gd name="T46" fmla="*/ 504 w 2292"/>
              <a:gd name="T47" fmla="*/ 5955 h 6059"/>
              <a:gd name="T48" fmla="*/ 626 w 2292"/>
              <a:gd name="T49" fmla="*/ 6050 h 6059"/>
              <a:gd name="T50" fmla="*/ 797 w 2292"/>
              <a:gd name="T51" fmla="*/ 6011 h 6059"/>
              <a:gd name="T52" fmla="*/ 854 w 2292"/>
              <a:gd name="T53" fmla="*/ 5916 h 6059"/>
              <a:gd name="T54" fmla="*/ 927 w 2292"/>
              <a:gd name="T55" fmla="*/ 5766 h 6059"/>
              <a:gd name="T56" fmla="*/ 967 w 2292"/>
              <a:gd name="T57" fmla="*/ 5679 h 6059"/>
              <a:gd name="T58" fmla="*/ 1219 w 2292"/>
              <a:gd name="T59" fmla="*/ 5655 h 6059"/>
              <a:gd name="T60" fmla="*/ 1317 w 2292"/>
              <a:gd name="T61" fmla="*/ 5125 h 6059"/>
              <a:gd name="T62" fmla="*/ 1325 w 2292"/>
              <a:gd name="T63" fmla="*/ 4737 h 6059"/>
              <a:gd name="T64" fmla="*/ 1309 w 2292"/>
              <a:gd name="T65" fmla="*/ 4579 h 6059"/>
              <a:gd name="T66" fmla="*/ 1503 w 2292"/>
              <a:gd name="T67" fmla="*/ 4366 h 6059"/>
              <a:gd name="T68" fmla="*/ 1576 w 2292"/>
              <a:gd name="T69" fmla="*/ 4373 h 6059"/>
              <a:gd name="T70" fmla="*/ 1698 w 2292"/>
              <a:gd name="T71" fmla="*/ 4255 h 6059"/>
              <a:gd name="T72" fmla="*/ 1682 w 2292"/>
              <a:gd name="T73" fmla="*/ 4065 h 6059"/>
              <a:gd name="T74" fmla="*/ 1682 w 2292"/>
              <a:gd name="T75" fmla="*/ 3923 h 6059"/>
              <a:gd name="T76" fmla="*/ 1487 w 2292"/>
              <a:gd name="T77" fmla="*/ 3741 h 6059"/>
              <a:gd name="T78" fmla="*/ 1333 w 2292"/>
              <a:gd name="T79" fmla="*/ 3685 h 6059"/>
              <a:gd name="T80" fmla="*/ 1244 w 2292"/>
              <a:gd name="T81" fmla="*/ 3456 h 6059"/>
              <a:gd name="T82" fmla="*/ 1236 w 2292"/>
              <a:gd name="T83" fmla="*/ 3266 h 6059"/>
              <a:gd name="T84" fmla="*/ 1268 w 2292"/>
              <a:gd name="T85" fmla="*/ 3124 h 6059"/>
              <a:gd name="T86" fmla="*/ 1301 w 2292"/>
              <a:gd name="T87" fmla="*/ 2894 h 6059"/>
              <a:gd name="T88" fmla="*/ 1381 w 2292"/>
              <a:gd name="T89" fmla="*/ 2736 h 6059"/>
              <a:gd name="T90" fmla="*/ 1478 w 2292"/>
              <a:gd name="T91" fmla="*/ 2570 h 6059"/>
              <a:gd name="T92" fmla="*/ 1576 w 2292"/>
              <a:gd name="T93" fmla="*/ 2428 h 6059"/>
              <a:gd name="T94" fmla="*/ 1657 w 2292"/>
              <a:gd name="T95" fmla="*/ 2372 h 6059"/>
              <a:gd name="T96" fmla="*/ 1803 w 2292"/>
              <a:gd name="T97" fmla="*/ 2214 h 6059"/>
              <a:gd name="T98" fmla="*/ 1901 w 2292"/>
              <a:gd name="T99" fmla="*/ 1961 h 6059"/>
              <a:gd name="T100" fmla="*/ 1812 w 2292"/>
              <a:gd name="T101" fmla="*/ 1827 h 6059"/>
              <a:gd name="T102" fmla="*/ 1852 w 2292"/>
              <a:gd name="T103" fmla="*/ 1629 h 6059"/>
              <a:gd name="T104" fmla="*/ 1909 w 2292"/>
              <a:gd name="T105" fmla="*/ 1534 h 6059"/>
              <a:gd name="T106" fmla="*/ 2007 w 2292"/>
              <a:gd name="T107" fmla="*/ 1447 h 6059"/>
              <a:gd name="T108" fmla="*/ 2096 w 2292"/>
              <a:gd name="T109" fmla="*/ 1328 h 6059"/>
              <a:gd name="T110" fmla="*/ 2185 w 2292"/>
              <a:gd name="T111" fmla="*/ 1368 h 6059"/>
              <a:gd name="T112" fmla="*/ 2218 w 2292"/>
              <a:gd name="T113" fmla="*/ 1320 h 6059"/>
              <a:gd name="T114" fmla="*/ 2259 w 2292"/>
              <a:gd name="T115" fmla="*/ 1320 h 6059"/>
              <a:gd name="T116" fmla="*/ 2145 w 2292"/>
              <a:gd name="T117" fmla="*/ 1028 h 6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92" h="6059">
                <a:moveTo>
                  <a:pt x="2072" y="696"/>
                </a:moveTo>
                <a:lnTo>
                  <a:pt x="2072" y="688"/>
                </a:lnTo>
                <a:cubicBezTo>
                  <a:pt x="2072" y="688"/>
                  <a:pt x="2055" y="656"/>
                  <a:pt x="2064" y="640"/>
                </a:cubicBezTo>
                <a:lnTo>
                  <a:pt x="2064" y="624"/>
                </a:lnTo>
                <a:lnTo>
                  <a:pt x="2031" y="632"/>
                </a:lnTo>
                <a:lnTo>
                  <a:pt x="2007" y="601"/>
                </a:lnTo>
                <a:lnTo>
                  <a:pt x="2015" y="561"/>
                </a:lnTo>
                <a:lnTo>
                  <a:pt x="1998" y="466"/>
                </a:lnTo>
                <a:lnTo>
                  <a:pt x="2015" y="419"/>
                </a:lnTo>
                <a:lnTo>
                  <a:pt x="1966" y="395"/>
                </a:lnTo>
                <a:lnTo>
                  <a:pt x="1933" y="348"/>
                </a:lnTo>
                <a:cubicBezTo>
                  <a:pt x="1933" y="348"/>
                  <a:pt x="1925" y="363"/>
                  <a:pt x="1917" y="356"/>
                </a:cubicBezTo>
                <a:cubicBezTo>
                  <a:pt x="1909" y="348"/>
                  <a:pt x="1868" y="284"/>
                  <a:pt x="1868" y="284"/>
                </a:cubicBezTo>
                <a:lnTo>
                  <a:pt x="1795" y="261"/>
                </a:lnTo>
                <a:lnTo>
                  <a:pt x="1763" y="245"/>
                </a:lnTo>
                <a:lnTo>
                  <a:pt x="1722" y="237"/>
                </a:lnTo>
                <a:cubicBezTo>
                  <a:pt x="1722" y="237"/>
                  <a:pt x="1714" y="253"/>
                  <a:pt x="1706" y="237"/>
                </a:cubicBezTo>
                <a:cubicBezTo>
                  <a:pt x="1698" y="221"/>
                  <a:pt x="1682" y="205"/>
                  <a:pt x="1682" y="205"/>
                </a:cubicBezTo>
                <a:lnTo>
                  <a:pt x="1649" y="213"/>
                </a:lnTo>
                <a:lnTo>
                  <a:pt x="1625" y="182"/>
                </a:lnTo>
                <a:lnTo>
                  <a:pt x="1608" y="182"/>
                </a:lnTo>
                <a:cubicBezTo>
                  <a:pt x="1600" y="174"/>
                  <a:pt x="1584" y="166"/>
                  <a:pt x="1584" y="166"/>
                </a:cubicBezTo>
                <a:lnTo>
                  <a:pt x="1560" y="126"/>
                </a:lnTo>
                <a:lnTo>
                  <a:pt x="1527" y="110"/>
                </a:lnTo>
                <a:lnTo>
                  <a:pt x="1487" y="95"/>
                </a:lnTo>
                <a:lnTo>
                  <a:pt x="1487" y="63"/>
                </a:lnTo>
                <a:lnTo>
                  <a:pt x="1430" y="31"/>
                </a:lnTo>
                <a:cubicBezTo>
                  <a:pt x="1430" y="31"/>
                  <a:pt x="1422" y="15"/>
                  <a:pt x="1430" y="15"/>
                </a:cubicBezTo>
                <a:cubicBezTo>
                  <a:pt x="1438" y="8"/>
                  <a:pt x="1462" y="8"/>
                  <a:pt x="1478" y="8"/>
                </a:cubicBezTo>
                <a:lnTo>
                  <a:pt x="1438" y="0"/>
                </a:lnTo>
                <a:lnTo>
                  <a:pt x="1389" y="39"/>
                </a:lnTo>
                <a:lnTo>
                  <a:pt x="1365" y="39"/>
                </a:lnTo>
                <a:cubicBezTo>
                  <a:pt x="1365" y="39"/>
                  <a:pt x="1348" y="47"/>
                  <a:pt x="1348" y="55"/>
                </a:cubicBezTo>
                <a:cubicBezTo>
                  <a:pt x="1356" y="63"/>
                  <a:pt x="1373" y="134"/>
                  <a:pt x="1381" y="150"/>
                </a:cubicBezTo>
                <a:cubicBezTo>
                  <a:pt x="1389" y="158"/>
                  <a:pt x="1389" y="213"/>
                  <a:pt x="1356" y="253"/>
                </a:cubicBezTo>
                <a:lnTo>
                  <a:pt x="1389" y="284"/>
                </a:lnTo>
                <a:lnTo>
                  <a:pt x="1356" y="324"/>
                </a:lnTo>
                <a:lnTo>
                  <a:pt x="1309" y="332"/>
                </a:lnTo>
                <a:cubicBezTo>
                  <a:pt x="1309" y="332"/>
                  <a:pt x="1260" y="324"/>
                  <a:pt x="1252" y="316"/>
                </a:cubicBezTo>
                <a:cubicBezTo>
                  <a:pt x="1244" y="308"/>
                  <a:pt x="1203" y="292"/>
                  <a:pt x="1195" y="292"/>
                </a:cubicBezTo>
                <a:cubicBezTo>
                  <a:pt x="1179" y="300"/>
                  <a:pt x="1065" y="292"/>
                  <a:pt x="1065" y="292"/>
                </a:cubicBezTo>
                <a:cubicBezTo>
                  <a:pt x="1041" y="324"/>
                  <a:pt x="1049" y="490"/>
                  <a:pt x="1057" y="514"/>
                </a:cubicBezTo>
                <a:lnTo>
                  <a:pt x="1041" y="545"/>
                </a:lnTo>
                <a:lnTo>
                  <a:pt x="1000" y="545"/>
                </a:lnTo>
                <a:lnTo>
                  <a:pt x="919" y="506"/>
                </a:lnTo>
                <a:lnTo>
                  <a:pt x="886" y="569"/>
                </a:lnTo>
                <a:cubicBezTo>
                  <a:pt x="886" y="569"/>
                  <a:pt x="854" y="601"/>
                  <a:pt x="854" y="617"/>
                </a:cubicBezTo>
                <a:cubicBezTo>
                  <a:pt x="854" y="624"/>
                  <a:pt x="837" y="656"/>
                  <a:pt x="837" y="656"/>
                </a:cubicBezTo>
                <a:lnTo>
                  <a:pt x="837" y="719"/>
                </a:lnTo>
                <a:lnTo>
                  <a:pt x="821" y="751"/>
                </a:lnTo>
                <a:lnTo>
                  <a:pt x="772" y="783"/>
                </a:lnTo>
                <a:lnTo>
                  <a:pt x="772" y="822"/>
                </a:lnTo>
                <a:cubicBezTo>
                  <a:pt x="772" y="822"/>
                  <a:pt x="797" y="870"/>
                  <a:pt x="813" y="878"/>
                </a:cubicBezTo>
                <a:cubicBezTo>
                  <a:pt x="821" y="893"/>
                  <a:pt x="837" y="957"/>
                  <a:pt x="837" y="957"/>
                </a:cubicBezTo>
                <a:cubicBezTo>
                  <a:pt x="837" y="957"/>
                  <a:pt x="813" y="1012"/>
                  <a:pt x="805" y="1028"/>
                </a:cubicBezTo>
                <a:cubicBezTo>
                  <a:pt x="797" y="1044"/>
                  <a:pt x="732" y="1123"/>
                  <a:pt x="732" y="1123"/>
                </a:cubicBezTo>
                <a:lnTo>
                  <a:pt x="691" y="1226"/>
                </a:lnTo>
                <a:lnTo>
                  <a:pt x="691" y="1297"/>
                </a:lnTo>
                <a:lnTo>
                  <a:pt x="683" y="1336"/>
                </a:lnTo>
                <a:lnTo>
                  <a:pt x="626" y="1392"/>
                </a:lnTo>
                <a:lnTo>
                  <a:pt x="553" y="1400"/>
                </a:lnTo>
                <a:lnTo>
                  <a:pt x="529" y="1423"/>
                </a:lnTo>
                <a:lnTo>
                  <a:pt x="569" y="1558"/>
                </a:lnTo>
                <a:lnTo>
                  <a:pt x="553" y="1621"/>
                </a:lnTo>
                <a:lnTo>
                  <a:pt x="545" y="1676"/>
                </a:lnTo>
                <a:cubicBezTo>
                  <a:pt x="545" y="1676"/>
                  <a:pt x="529" y="1724"/>
                  <a:pt x="537" y="1732"/>
                </a:cubicBezTo>
                <a:cubicBezTo>
                  <a:pt x="545" y="1748"/>
                  <a:pt x="553" y="1779"/>
                  <a:pt x="553" y="1779"/>
                </a:cubicBezTo>
                <a:lnTo>
                  <a:pt x="521" y="1803"/>
                </a:lnTo>
                <a:lnTo>
                  <a:pt x="529" y="1850"/>
                </a:lnTo>
                <a:lnTo>
                  <a:pt x="407" y="2056"/>
                </a:lnTo>
                <a:lnTo>
                  <a:pt x="423" y="2096"/>
                </a:lnTo>
                <a:lnTo>
                  <a:pt x="496" y="2111"/>
                </a:lnTo>
                <a:lnTo>
                  <a:pt x="504" y="2238"/>
                </a:lnTo>
                <a:lnTo>
                  <a:pt x="480" y="2293"/>
                </a:lnTo>
                <a:lnTo>
                  <a:pt x="472" y="2309"/>
                </a:lnTo>
                <a:lnTo>
                  <a:pt x="277" y="2317"/>
                </a:lnTo>
                <a:lnTo>
                  <a:pt x="171" y="2452"/>
                </a:lnTo>
                <a:lnTo>
                  <a:pt x="155" y="2531"/>
                </a:lnTo>
                <a:lnTo>
                  <a:pt x="147" y="2586"/>
                </a:lnTo>
                <a:cubicBezTo>
                  <a:pt x="147" y="2586"/>
                  <a:pt x="122" y="2618"/>
                  <a:pt x="122" y="2634"/>
                </a:cubicBezTo>
                <a:lnTo>
                  <a:pt x="122" y="2689"/>
                </a:lnTo>
                <a:lnTo>
                  <a:pt x="155" y="2752"/>
                </a:lnTo>
                <a:lnTo>
                  <a:pt x="155" y="2800"/>
                </a:lnTo>
                <a:lnTo>
                  <a:pt x="139" y="2823"/>
                </a:lnTo>
                <a:lnTo>
                  <a:pt x="147" y="2879"/>
                </a:lnTo>
                <a:cubicBezTo>
                  <a:pt x="147" y="2879"/>
                  <a:pt x="155" y="2894"/>
                  <a:pt x="147" y="2902"/>
                </a:cubicBezTo>
                <a:cubicBezTo>
                  <a:pt x="130" y="2918"/>
                  <a:pt x="130" y="2934"/>
                  <a:pt x="139" y="2950"/>
                </a:cubicBezTo>
                <a:cubicBezTo>
                  <a:pt x="139" y="2958"/>
                  <a:pt x="195" y="3061"/>
                  <a:pt x="195" y="3061"/>
                </a:cubicBezTo>
                <a:lnTo>
                  <a:pt x="204" y="3306"/>
                </a:lnTo>
                <a:lnTo>
                  <a:pt x="228" y="3369"/>
                </a:lnTo>
                <a:lnTo>
                  <a:pt x="285" y="3409"/>
                </a:lnTo>
                <a:lnTo>
                  <a:pt x="334" y="3448"/>
                </a:lnTo>
                <a:lnTo>
                  <a:pt x="342" y="3519"/>
                </a:lnTo>
                <a:cubicBezTo>
                  <a:pt x="342" y="3519"/>
                  <a:pt x="326" y="3575"/>
                  <a:pt x="326" y="3583"/>
                </a:cubicBezTo>
                <a:cubicBezTo>
                  <a:pt x="334" y="3591"/>
                  <a:pt x="285" y="3591"/>
                  <a:pt x="285" y="3591"/>
                </a:cubicBezTo>
                <a:lnTo>
                  <a:pt x="244" y="3598"/>
                </a:lnTo>
                <a:lnTo>
                  <a:pt x="204" y="3638"/>
                </a:lnTo>
                <a:lnTo>
                  <a:pt x="220" y="3685"/>
                </a:lnTo>
                <a:lnTo>
                  <a:pt x="244" y="3757"/>
                </a:lnTo>
                <a:lnTo>
                  <a:pt x="293" y="3812"/>
                </a:lnTo>
                <a:lnTo>
                  <a:pt x="309" y="3860"/>
                </a:lnTo>
                <a:lnTo>
                  <a:pt x="285" y="3907"/>
                </a:lnTo>
                <a:lnTo>
                  <a:pt x="269" y="3931"/>
                </a:lnTo>
                <a:lnTo>
                  <a:pt x="285" y="3970"/>
                </a:lnTo>
                <a:lnTo>
                  <a:pt x="285" y="4010"/>
                </a:lnTo>
                <a:cubicBezTo>
                  <a:pt x="285" y="4010"/>
                  <a:pt x="269" y="4033"/>
                  <a:pt x="269" y="4041"/>
                </a:cubicBezTo>
                <a:cubicBezTo>
                  <a:pt x="269" y="4048"/>
                  <a:pt x="236" y="4073"/>
                  <a:pt x="236" y="4073"/>
                </a:cubicBezTo>
                <a:lnTo>
                  <a:pt x="212" y="4097"/>
                </a:lnTo>
                <a:lnTo>
                  <a:pt x="187" y="4105"/>
                </a:lnTo>
                <a:cubicBezTo>
                  <a:pt x="187" y="4105"/>
                  <a:pt x="171" y="4097"/>
                  <a:pt x="163" y="4105"/>
                </a:cubicBezTo>
                <a:lnTo>
                  <a:pt x="147" y="4120"/>
                </a:lnTo>
                <a:lnTo>
                  <a:pt x="147" y="4144"/>
                </a:lnTo>
                <a:lnTo>
                  <a:pt x="163" y="4160"/>
                </a:lnTo>
                <a:lnTo>
                  <a:pt x="155" y="4200"/>
                </a:lnTo>
                <a:lnTo>
                  <a:pt x="130" y="4223"/>
                </a:lnTo>
                <a:lnTo>
                  <a:pt x="106" y="4231"/>
                </a:lnTo>
                <a:lnTo>
                  <a:pt x="122" y="4279"/>
                </a:lnTo>
                <a:lnTo>
                  <a:pt x="155" y="4334"/>
                </a:lnTo>
                <a:lnTo>
                  <a:pt x="155" y="4382"/>
                </a:lnTo>
                <a:lnTo>
                  <a:pt x="130" y="4429"/>
                </a:lnTo>
                <a:lnTo>
                  <a:pt x="122" y="4484"/>
                </a:lnTo>
                <a:lnTo>
                  <a:pt x="114" y="4532"/>
                </a:lnTo>
                <a:lnTo>
                  <a:pt x="98" y="4540"/>
                </a:lnTo>
                <a:lnTo>
                  <a:pt x="74" y="4540"/>
                </a:lnTo>
                <a:cubicBezTo>
                  <a:pt x="74" y="4540"/>
                  <a:pt x="74" y="4492"/>
                  <a:pt x="65" y="4484"/>
                </a:cubicBezTo>
                <a:lnTo>
                  <a:pt x="9" y="4437"/>
                </a:lnTo>
                <a:lnTo>
                  <a:pt x="9" y="4484"/>
                </a:lnTo>
                <a:lnTo>
                  <a:pt x="0" y="4540"/>
                </a:lnTo>
                <a:cubicBezTo>
                  <a:pt x="0" y="4540"/>
                  <a:pt x="9" y="4571"/>
                  <a:pt x="17" y="4579"/>
                </a:cubicBezTo>
                <a:cubicBezTo>
                  <a:pt x="25" y="4587"/>
                  <a:pt x="33" y="4643"/>
                  <a:pt x="33" y="4643"/>
                </a:cubicBezTo>
                <a:lnTo>
                  <a:pt x="25" y="4698"/>
                </a:lnTo>
                <a:lnTo>
                  <a:pt x="41" y="4737"/>
                </a:lnTo>
                <a:cubicBezTo>
                  <a:pt x="41" y="4745"/>
                  <a:pt x="49" y="4777"/>
                  <a:pt x="49" y="4777"/>
                </a:cubicBezTo>
                <a:lnTo>
                  <a:pt x="82" y="4769"/>
                </a:lnTo>
                <a:lnTo>
                  <a:pt x="74" y="4745"/>
                </a:lnTo>
                <a:lnTo>
                  <a:pt x="98" y="4777"/>
                </a:lnTo>
                <a:cubicBezTo>
                  <a:pt x="98" y="4777"/>
                  <a:pt x="82" y="4785"/>
                  <a:pt x="98" y="4777"/>
                </a:cubicBezTo>
                <a:cubicBezTo>
                  <a:pt x="106" y="4777"/>
                  <a:pt x="122" y="4761"/>
                  <a:pt x="122" y="4761"/>
                </a:cubicBezTo>
                <a:lnTo>
                  <a:pt x="114" y="4785"/>
                </a:lnTo>
                <a:lnTo>
                  <a:pt x="98" y="4817"/>
                </a:lnTo>
                <a:lnTo>
                  <a:pt x="106" y="4824"/>
                </a:lnTo>
                <a:lnTo>
                  <a:pt x="130" y="4832"/>
                </a:lnTo>
                <a:lnTo>
                  <a:pt x="98" y="4872"/>
                </a:lnTo>
                <a:cubicBezTo>
                  <a:pt x="98" y="4872"/>
                  <a:pt x="114" y="4896"/>
                  <a:pt x="122" y="4904"/>
                </a:cubicBezTo>
                <a:lnTo>
                  <a:pt x="155" y="4880"/>
                </a:lnTo>
                <a:lnTo>
                  <a:pt x="155" y="4896"/>
                </a:lnTo>
                <a:cubicBezTo>
                  <a:pt x="155" y="4896"/>
                  <a:pt x="130" y="4919"/>
                  <a:pt x="130" y="4935"/>
                </a:cubicBezTo>
                <a:cubicBezTo>
                  <a:pt x="139" y="4943"/>
                  <a:pt x="179" y="4927"/>
                  <a:pt x="171" y="4935"/>
                </a:cubicBezTo>
                <a:cubicBezTo>
                  <a:pt x="163" y="4943"/>
                  <a:pt x="163" y="4959"/>
                  <a:pt x="163" y="4959"/>
                </a:cubicBezTo>
                <a:cubicBezTo>
                  <a:pt x="163" y="4959"/>
                  <a:pt x="139" y="4983"/>
                  <a:pt x="155" y="4991"/>
                </a:cubicBezTo>
                <a:cubicBezTo>
                  <a:pt x="163" y="4998"/>
                  <a:pt x="187" y="5006"/>
                  <a:pt x="179" y="5006"/>
                </a:cubicBezTo>
                <a:cubicBezTo>
                  <a:pt x="179" y="5014"/>
                  <a:pt x="155" y="5030"/>
                  <a:pt x="155" y="5030"/>
                </a:cubicBezTo>
                <a:cubicBezTo>
                  <a:pt x="155" y="5030"/>
                  <a:pt x="147" y="5046"/>
                  <a:pt x="155" y="5054"/>
                </a:cubicBezTo>
                <a:cubicBezTo>
                  <a:pt x="163" y="5062"/>
                  <a:pt x="187" y="5062"/>
                  <a:pt x="187" y="5062"/>
                </a:cubicBezTo>
                <a:cubicBezTo>
                  <a:pt x="187" y="5062"/>
                  <a:pt x="187" y="5046"/>
                  <a:pt x="187" y="5054"/>
                </a:cubicBezTo>
                <a:cubicBezTo>
                  <a:pt x="187" y="5062"/>
                  <a:pt x="179" y="5078"/>
                  <a:pt x="179" y="5078"/>
                </a:cubicBezTo>
                <a:cubicBezTo>
                  <a:pt x="179" y="5078"/>
                  <a:pt x="171" y="5093"/>
                  <a:pt x="179" y="5101"/>
                </a:cubicBezTo>
                <a:lnTo>
                  <a:pt x="204" y="5101"/>
                </a:lnTo>
                <a:lnTo>
                  <a:pt x="204" y="5125"/>
                </a:lnTo>
                <a:lnTo>
                  <a:pt x="204" y="5157"/>
                </a:lnTo>
                <a:lnTo>
                  <a:pt x="204" y="5180"/>
                </a:lnTo>
                <a:cubicBezTo>
                  <a:pt x="204" y="5180"/>
                  <a:pt x="195" y="5188"/>
                  <a:pt x="220" y="5188"/>
                </a:cubicBezTo>
                <a:cubicBezTo>
                  <a:pt x="236" y="5188"/>
                  <a:pt x="236" y="5180"/>
                  <a:pt x="244" y="5180"/>
                </a:cubicBezTo>
                <a:cubicBezTo>
                  <a:pt x="252" y="5180"/>
                  <a:pt x="252" y="5188"/>
                  <a:pt x="260" y="5196"/>
                </a:cubicBezTo>
                <a:lnTo>
                  <a:pt x="260" y="5228"/>
                </a:lnTo>
                <a:cubicBezTo>
                  <a:pt x="269" y="5236"/>
                  <a:pt x="301" y="5315"/>
                  <a:pt x="301" y="5315"/>
                </a:cubicBezTo>
                <a:cubicBezTo>
                  <a:pt x="301" y="5315"/>
                  <a:pt x="309" y="5347"/>
                  <a:pt x="317" y="5354"/>
                </a:cubicBezTo>
                <a:cubicBezTo>
                  <a:pt x="317" y="5362"/>
                  <a:pt x="325" y="5370"/>
                  <a:pt x="334" y="5378"/>
                </a:cubicBezTo>
                <a:lnTo>
                  <a:pt x="350" y="5402"/>
                </a:lnTo>
                <a:lnTo>
                  <a:pt x="374" y="5418"/>
                </a:lnTo>
                <a:lnTo>
                  <a:pt x="407" y="5473"/>
                </a:lnTo>
                <a:lnTo>
                  <a:pt x="431" y="5497"/>
                </a:lnTo>
                <a:cubicBezTo>
                  <a:pt x="439" y="5497"/>
                  <a:pt x="455" y="5481"/>
                  <a:pt x="455" y="5481"/>
                </a:cubicBezTo>
                <a:cubicBezTo>
                  <a:pt x="455" y="5481"/>
                  <a:pt x="480" y="5489"/>
                  <a:pt x="480" y="5497"/>
                </a:cubicBezTo>
                <a:cubicBezTo>
                  <a:pt x="472" y="5497"/>
                  <a:pt x="464" y="5528"/>
                  <a:pt x="464" y="5536"/>
                </a:cubicBezTo>
                <a:cubicBezTo>
                  <a:pt x="472" y="5544"/>
                  <a:pt x="472" y="5560"/>
                  <a:pt x="472" y="5560"/>
                </a:cubicBezTo>
                <a:lnTo>
                  <a:pt x="455" y="5568"/>
                </a:lnTo>
                <a:lnTo>
                  <a:pt x="439" y="5576"/>
                </a:lnTo>
                <a:lnTo>
                  <a:pt x="407" y="5576"/>
                </a:lnTo>
                <a:lnTo>
                  <a:pt x="399" y="5607"/>
                </a:lnTo>
                <a:lnTo>
                  <a:pt x="431" y="5623"/>
                </a:lnTo>
                <a:cubicBezTo>
                  <a:pt x="431" y="5623"/>
                  <a:pt x="447" y="5639"/>
                  <a:pt x="455" y="5639"/>
                </a:cubicBezTo>
                <a:lnTo>
                  <a:pt x="455" y="5679"/>
                </a:lnTo>
                <a:lnTo>
                  <a:pt x="415" y="5679"/>
                </a:lnTo>
                <a:lnTo>
                  <a:pt x="399" y="5702"/>
                </a:lnTo>
                <a:cubicBezTo>
                  <a:pt x="399" y="5710"/>
                  <a:pt x="390" y="5710"/>
                  <a:pt x="407" y="5734"/>
                </a:cubicBezTo>
                <a:cubicBezTo>
                  <a:pt x="415" y="5750"/>
                  <a:pt x="455" y="5797"/>
                  <a:pt x="455" y="5797"/>
                </a:cubicBezTo>
                <a:lnTo>
                  <a:pt x="488" y="5845"/>
                </a:lnTo>
                <a:cubicBezTo>
                  <a:pt x="488" y="5853"/>
                  <a:pt x="512" y="5884"/>
                  <a:pt x="512" y="5884"/>
                </a:cubicBezTo>
                <a:cubicBezTo>
                  <a:pt x="521" y="5884"/>
                  <a:pt x="521" y="5916"/>
                  <a:pt x="521" y="5916"/>
                </a:cubicBezTo>
                <a:lnTo>
                  <a:pt x="512" y="5932"/>
                </a:lnTo>
                <a:lnTo>
                  <a:pt x="504" y="5955"/>
                </a:lnTo>
                <a:lnTo>
                  <a:pt x="496" y="5979"/>
                </a:lnTo>
                <a:lnTo>
                  <a:pt x="504" y="5995"/>
                </a:lnTo>
                <a:lnTo>
                  <a:pt x="496" y="6011"/>
                </a:lnTo>
                <a:lnTo>
                  <a:pt x="480" y="6035"/>
                </a:lnTo>
                <a:lnTo>
                  <a:pt x="521" y="6042"/>
                </a:lnTo>
                <a:lnTo>
                  <a:pt x="569" y="6035"/>
                </a:lnTo>
                <a:lnTo>
                  <a:pt x="577" y="6050"/>
                </a:lnTo>
                <a:cubicBezTo>
                  <a:pt x="585" y="6058"/>
                  <a:pt x="626" y="6050"/>
                  <a:pt x="626" y="6050"/>
                </a:cubicBezTo>
                <a:lnTo>
                  <a:pt x="659" y="6035"/>
                </a:lnTo>
                <a:lnTo>
                  <a:pt x="683" y="6019"/>
                </a:lnTo>
                <a:lnTo>
                  <a:pt x="683" y="6003"/>
                </a:lnTo>
                <a:lnTo>
                  <a:pt x="699" y="5979"/>
                </a:lnTo>
                <a:cubicBezTo>
                  <a:pt x="707" y="5979"/>
                  <a:pt x="732" y="5987"/>
                  <a:pt x="732" y="5987"/>
                </a:cubicBezTo>
                <a:cubicBezTo>
                  <a:pt x="732" y="5987"/>
                  <a:pt x="756" y="5987"/>
                  <a:pt x="756" y="5995"/>
                </a:cubicBezTo>
                <a:cubicBezTo>
                  <a:pt x="756" y="6003"/>
                  <a:pt x="772" y="6011"/>
                  <a:pt x="772" y="6011"/>
                </a:cubicBezTo>
                <a:lnTo>
                  <a:pt x="797" y="6011"/>
                </a:lnTo>
                <a:lnTo>
                  <a:pt x="821" y="6003"/>
                </a:lnTo>
                <a:lnTo>
                  <a:pt x="854" y="5995"/>
                </a:lnTo>
                <a:cubicBezTo>
                  <a:pt x="854" y="5995"/>
                  <a:pt x="846" y="5979"/>
                  <a:pt x="854" y="5979"/>
                </a:cubicBezTo>
                <a:lnTo>
                  <a:pt x="886" y="5979"/>
                </a:lnTo>
                <a:cubicBezTo>
                  <a:pt x="886" y="5979"/>
                  <a:pt x="894" y="5995"/>
                  <a:pt x="902" y="5995"/>
                </a:cubicBezTo>
                <a:cubicBezTo>
                  <a:pt x="902" y="5995"/>
                  <a:pt x="919" y="5979"/>
                  <a:pt x="911" y="5971"/>
                </a:cubicBezTo>
                <a:cubicBezTo>
                  <a:pt x="902" y="5963"/>
                  <a:pt x="870" y="5948"/>
                  <a:pt x="870" y="5948"/>
                </a:cubicBezTo>
                <a:cubicBezTo>
                  <a:pt x="870" y="5948"/>
                  <a:pt x="854" y="5924"/>
                  <a:pt x="854" y="5916"/>
                </a:cubicBezTo>
                <a:cubicBezTo>
                  <a:pt x="846" y="5908"/>
                  <a:pt x="846" y="5884"/>
                  <a:pt x="837" y="5876"/>
                </a:cubicBezTo>
                <a:cubicBezTo>
                  <a:pt x="829" y="5876"/>
                  <a:pt x="821" y="5868"/>
                  <a:pt x="821" y="5853"/>
                </a:cubicBezTo>
                <a:cubicBezTo>
                  <a:pt x="829" y="5829"/>
                  <a:pt x="829" y="5821"/>
                  <a:pt x="829" y="5821"/>
                </a:cubicBezTo>
                <a:lnTo>
                  <a:pt x="829" y="5781"/>
                </a:lnTo>
                <a:cubicBezTo>
                  <a:pt x="829" y="5781"/>
                  <a:pt x="821" y="5766"/>
                  <a:pt x="846" y="5750"/>
                </a:cubicBezTo>
                <a:cubicBezTo>
                  <a:pt x="870" y="5734"/>
                  <a:pt x="870" y="5718"/>
                  <a:pt x="878" y="5726"/>
                </a:cubicBezTo>
                <a:cubicBezTo>
                  <a:pt x="886" y="5734"/>
                  <a:pt x="902" y="5750"/>
                  <a:pt x="911" y="5750"/>
                </a:cubicBezTo>
                <a:cubicBezTo>
                  <a:pt x="911" y="5758"/>
                  <a:pt x="919" y="5758"/>
                  <a:pt x="927" y="5766"/>
                </a:cubicBezTo>
                <a:cubicBezTo>
                  <a:pt x="927" y="5774"/>
                  <a:pt x="919" y="5781"/>
                  <a:pt x="935" y="5781"/>
                </a:cubicBezTo>
                <a:lnTo>
                  <a:pt x="959" y="5781"/>
                </a:lnTo>
                <a:cubicBezTo>
                  <a:pt x="959" y="5781"/>
                  <a:pt x="967" y="5781"/>
                  <a:pt x="967" y="5774"/>
                </a:cubicBezTo>
                <a:cubicBezTo>
                  <a:pt x="967" y="5766"/>
                  <a:pt x="967" y="5742"/>
                  <a:pt x="959" y="5742"/>
                </a:cubicBezTo>
                <a:cubicBezTo>
                  <a:pt x="951" y="5734"/>
                  <a:pt x="943" y="5726"/>
                  <a:pt x="943" y="5726"/>
                </a:cubicBezTo>
                <a:cubicBezTo>
                  <a:pt x="943" y="5726"/>
                  <a:pt x="959" y="5718"/>
                  <a:pt x="935" y="5710"/>
                </a:cubicBezTo>
                <a:cubicBezTo>
                  <a:pt x="911" y="5694"/>
                  <a:pt x="911" y="5687"/>
                  <a:pt x="919" y="5679"/>
                </a:cubicBezTo>
                <a:cubicBezTo>
                  <a:pt x="935" y="5671"/>
                  <a:pt x="967" y="5679"/>
                  <a:pt x="967" y="5679"/>
                </a:cubicBezTo>
                <a:lnTo>
                  <a:pt x="992" y="5671"/>
                </a:lnTo>
                <a:cubicBezTo>
                  <a:pt x="992" y="5671"/>
                  <a:pt x="1008" y="5655"/>
                  <a:pt x="1024" y="5663"/>
                </a:cubicBezTo>
                <a:cubicBezTo>
                  <a:pt x="1032" y="5671"/>
                  <a:pt x="1065" y="5663"/>
                  <a:pt x="1065" y="5663"/>
                </a:cubicBezTo>
                <a:lnTo>
                  <a:pt x="1106" y="5671"/>
                </a:lnTo>
                <a:lnTo>
                  <a:pt x="1122" y="5655"/>
                </a:lnTo>
                <a:lnTo>
                  <a:pt x="1162" y="5671"/>
                </a:lnTo>
                <a:cubicBezTo>
                  <a:pt x="1162" y="5671"/>
                  <a:pt x="1154" y="5671"/>
                  <a:pt x="1179" y="5679"/>
                </a:cubicBezTo>
                <a:cubicBezTo>
                  <a:pt x="1195" y="5679"/>
                  <a:pt x="1219" y="5663"/>
                  <a:pt x="1219" y="5655"/>
                </a:cubicBezTo>
                <a:cubicBezTo>
                  <a:pt x="1227" y="5655"/>
                  <a:pt x="1260" y="5600"/>
                  <a:pt x="1260" y="5600"/>
                </a:cubicBezTo>
                <a:lnTo>
                  <a:pt x="1284" y="5441"/>
                </a:lnTo>
                <a:cubicBezTo>
                  <a:pt x="1284" y="5441"/>
                  <a:pt x="1317" y="5418"/>
                  <a:pt x="1309" y="5418"/>
                </a:cubicBezTo>
                <a:lnTo>
                  <a:pt x="1309" y="5346"/>
                </a:lnTo>
                <a:cubicBezTo>
                  <a:pt x="1309" y="5339"/>
                  <a:pt x="1325" y="5283"/>
                  <a:pt x="1325" y="5283"/>
                </a:cubicBezTo>
                <a:cubicBezTo>
                  <a:pt x="1325" y="5283"/>
                  <a:pt x="1356" y="5259"/>
                  <a:pt x="1341" y="5236"/>
                </a:cubicBezTo>
                <a:cubicBezTo>
                  <a:pt x="1333" y="5212"/>
                  <a:pt x="1325" y="5172"/>
                  <a:pt x="1325" y="5172"/>
                </a:cubicBezTo>
                <a:cubicBezTo>
                  <a:pt x="1325" y="5172"/>
                  <a:pt x="1317" y="5133"/>
                  <a:pt x="1317" y="5125"/>
                </a:cubicBezTo>
                <a:cubicBezTo>
                  <a:pt x="1317" y="5117"/>
                  <a:pt x="1348" y="5078"/>
                  <a:pt x="1348" y="5078"/>
                </a:cubicBezTo>
                <a:lnTo>
                  <a:pt x="1325" y="5006"/>
                </a:lnTo>
                <a:cubicBezTo>
                  <a:pt x="1325" y="5006"/>
                  <a:pt x="1341" y="4983"/>
                  <a:pt x="1341" y="4975"/>
                </a:cubicBezTo>
                <a:cubicBezTo>
                  <a:pt x="1341" y="4967"/>
                  <a:pt x="1325" y="4896"/>
                  <a:pt x="1325" y="4896"/>
                </a:cubicBezTo>
                <a:lnTo>
                  <a:pt x="1325" y="4880"/>
                </a:lnTo>
                <a:cubicBezTo>
                  <a:pt x="1325" y="4880"/>
                  <a:pt x="1348" y="4840"/>
                  <a:pt x="1341" y="4832"/>
                </a:cubicBezTo>
                <a:lnTo>
                  <a:pt x="1341" y="4785"/>
                </a:lnTo>
                <a:lnTo>
                  <a:pt x="1325" y="4737"/>
                </a:lnTo>
                <a:cubicBezTo>
                  <a:pt x="1325" y="4737"/>
                  <a:pt x="1341" y="4729"/>
                  <a:pt x="1333" y="4722"/>
                </a:cubicBezTo>
                <a:cubicBezTo>
                  <a:pt x="1325" y="4706"/>
                  <a:pt x="1317" y="4698"/>
                  <a:pt x="1317" y="4698"/>
                </a:cubicBezTo>
                <a:lnTo>
                  <a:pt x="1317" y="4682"/>
                </a:lnTo>
                <a:lnTo>
                  <a:pt x="1325" y="4666"/>
                </a:lnTo>
                <a:lnTo>
                  <a:pt x="1341" y="4650"/>
                </a:lnTo>
                <a:lnTo>
                  <a:pt x="1333" y="4603"/>
                </a:lnTo>
                <a:lnTo>
                  <a:pt x="1301" y="4595"/>
                </a:lnTo>
                <a:cubicBezTo>
                  <a:pt x="1301" y="4595"/>
                  <a:pt x="1301" y="4579"/>
                  <a:pt x="1309" y="4579"/>
                </a:cubicBezTo>
                <a:cubicBezTo>
                  <a:pt x="1325" y="4571"/>
                  <a:pt x="1381" y="4548"/>
                  <a:pt x="1381" y="4548"/>
                </a:cubicBezTo>
                <a:cubicBezTo>
                  <a:pt x="1381" y="4548"/>
                  <a:pt x="1397" y="4524"/>
                  <a:pt x="1405" y="4524"/>
                </a:cubicBezTo>
                <a:cubicBezTo>
                  <a:pt x="1405" y="4516"/>
                  <a:pt x="1470" y="4476"/>
                  <a:pt x="1470" y="4476"/>
                </a:cubicBezTo>
                <a:lnTo>
                  <a:pt x="1470" y="4445"/>
                </a:lnTo>
                <a:cubicBezTo>
                  <a:pt x="1478" y="4445"/>
                  <a:pt x="1478" y="4437"/>
                  <a:pt x="1478" y="4421"/>
                </a:cubicBezTo>
                <a:cubicBezTo>
                  <a:pt x="1486" y="4421"/>
                  <a:pt x="1470" y="4350"/>
                  <a:pt x="1470" y="4326"/>
                </a:cubicBezTo>
                <a:cubicBezTo>
                  <a:pt x="1478" y="4310"/>
                  <a:pt x="1495" y="4342"/>
                  <a:pt x="1495" y="4342"/>
                </a:cubicBezTo>
                <a:lnTo>
                  <a:pt x="1503" y="4366"/>
                </a:lnTo>
                <a:lnTo>
                  <a:pt x="1503" y="4413"/>
                </a:lnTo>
                <a:lnTo>
                  <a:pt x="1527" y="4421"/>
                </a:lnTo>
                <a:lnTo>
                  <a:pt x="1535" y="4445"/>
                </a:lnTo>
                <a:cubicBezTo>
                  <a:pt x="1535" y="4445"/>
                  <a:pt x="1527" y="4468"/>
                  <a:pt x="1535" y="4468"/>
                </a:cubicBezTo>
                <a:lnTo>
                  <a:pt x="1543" y="4461"/>
                </a:lnTo>
                <a:lnTo>
                  <a:pt x="1552" y="4413"/>
                </a:lnTo>
                <a:cubicBezTo>
                  <a:pt x="1552" y="4413"/>
                  <a:pt x="1584" y="4413"/>
                  <a:pt x="1576" y="4397"/>
                </a:cubicBezTo>
                <a:cubicBezTo>
                  <a:pt x="1576" y="4389"/>
                  <a:pt x="1568" y="4373"/>
                  <a:pt x="1576" y="4373"/>
                </a:cubicBezTo>
                <a:cubicBezTo>
                  <a:pt x="1625" y="4366"/>
                  <a:pt x="1608" y="4366"/>
                  <a:pt x="1633" y="4350"/>
                </a:cubicBezTo>
                <a:lnTo>
                  <a:pt x="1649" y="4318"/>
                </a:lnTo>
                <a:cubicBezTo>
                  <a:pt x="1649" y="4310"/>
                  <a:pt x="1657" y="4294"/>
                  <a:pt x="1657" y="4294"/>
                </a:cubicBezTo>
                <a:lnTo>
                  <a:pt x="1641" y="4286"/>
                </a:lnTo>
                <a:lnTo>
                  <a:pt x="1633" y="4263"/>
                </a:lnTo>
                <a:cubicBezTo>
                  <a:pt x="1633" y="4263"/>
                  <a:pt x="1641" y="4247"/>
                  <a:pt x="1649" y="4255"/>
                </a:cubicBezTo>
                <a:cubicBezTo>
                  <a:pt x="1649" y="4263"/>
                  <a:pt x="1657" y="4279"/>
                  <a:pt x="1665" y="4279"/>
                </a:cubicBezTo>
                <a:cubicBezTo>
                  <a:pt x="1673" y="4279"/>
                  <a:pt x="1698" y="4255"/>
                  <a:pt x="1698" y="4255"/>
                </a:cubicBezTo>
                <a:cubicBezTo>
                  <a:pt x="1698" y="4231"/>
                  <a:pt x="1641" y="4199"/>
                  <a:pt x="1625" y="4192"/>
                </a:cubicBezTo>
                <a:cubicBezTo>
                  <a:pt x="1625" y="4160"/>
                  <a:pt x="1706" y="4120"/>
                  <a:pt x="1706" y="4113"/>
                </a:cubicBezTo>
                <a:cubicBezTo>
                  <a:pt x="1714" y="4105"/>
                  <a:pt x="1714" y="4105"/>
                  <a:pt x="1714" y="4097"/>
                </a:cubicBezTo>
                <a:cubicBezTo>
                  <a:pt x="1714" y="4089"/>
                  <a:pt x="1706" y="4081"/>
                  <a:pt x="1698" y="4089"/>
                </a:cubicBezTo>
                <a:cubicBezTo>
                  <a:pt x="1698" y="4089"/>
                  <a:pt x="1690" y="4105"/>
                  <a:pt x="1682" y="4105"/>
                </a:cubicBezTo>
                <a:lnTo>
                  <a:pt x="1665" y="4105"/>
                </a:lnTo>
                <a:cubicBezTo>
                  <a:pt x="1665" y="4105"/>
                  <a:pt x="1657" y="4089"/>
                  <a:pt x="1665" y="4081"/>
                </a:cubicBezTo>
                <a:cubicBezTo>
                  <a:pt x="1673" y="4073"/>
                  <a:pt x="1665" y="4073"/>
                  <a:pt x="1682" y="4065"/>
                </a:cubicBezTo>
                <a:cubicBezTo>
                  <a:pt x="1690" y="4057"/>
                  <a:pt x="1698" y="4057"/>
                  <a:pt x="1706" y="4057"/>
                </a:cubicBezTo>
                <a:cubicBezTo>
                  <a:pt x="1706" y="4049"/>
                  <a:pt x="1714" y="4041"/>
                  <a:pt x="1722" y="4041"/>
                </a:cubicBezTo>
                <a:cubicBezTo>
                  <a:pt x="1730" y="4041"/>
                  <a:pt x="1771" y="4018"/>
                  <a:pt x="1771" y="4018"/>
                </a:cubicBezTo>
                <a:lnTo>
                  <a:pt x="1779" y="4002"/>
                </a:lnTo>
                <a:lnTo>
                  <a:pt x="1755" y="3978"/>
                </a:lnTo>
                <a:lnTo>
                  <a:pt x="1714" y="3946"/>
                </a:lnTo>
                <a:cubicBezTo>
                  <a:pt x="1714" y="3946"/>
                  <a:pt x="1698" y="3946"/>
                  <a:pt x="1698" y="3938"/>
                </a:cubicBezTo>
                <a:lnTo>
                  <a:pt x="1682" y="3923"/>
                </a:lnTo>
                <a:cubicBezTo>
                  <a:pt x="1665" y="3883"/>
                  <a:pt x="1649" y="3915"/>
                  <a:pt x="1617" y="3899"/>
                </a:cubicBezTo>
                <a:lnTo>
                  <a:pt x="1600" y="3867"/>
                </a:lnTo>
                <a:cubicBezTo>
                  <a:pt x="1600" y="3867"/>
                  <a:pt x="1617" y="3867"/>
                  <a:pt x="1617" y="3859"/>
                </a:cubicBezTo>
                <a:cubicBezTo>
                  <a:pt x="1617" y="3844"/>
                  <a:pt x="1600" y="3828"/>
                  <a:pt x="1600" y="3828"/>
                </a:cubicBezTo>
                <a:lnTo>
                  <a:pt x="1584" y="3812"/>
                </a:lnTo>
                <a:cubicBezTo>
                  <a:pt x="1552" y="3780"/>
                  <a:pt x="1560" y="3851"/>
                  <a:pt x="1535" y="3788"/>
                </a:cubicBezTo>
                <a:cubicBezTo>
                  <a:pt x="1535" y="3788"/>
                  <a:pt x="1527" y="3788"/>
                  <a:pt x="1519" y="3772"/>
                </a:cubicBezTo>
                <a:cubicBezTo>
                  <a:pt x="1511" y="3764"/>
                  <a:pt x="1487" y="3741"/>
                  <a:pt x="1487" y="3741"/>
                </a:cubicBezTo>
                <a:lnTo>
                  <a:pt x="1478" y="3717"/>
                </a:lnTo>
                <a:cubicBezTo>
                  <a:pt x="1470" y="3717"/>
                  <a:pt x="1462" y="3693"/>
                  <a:pt x="1462" y="3693"/>
                </a:cubicBezTo>
                <a:lnTo>
                  <a:pt x="1422" y="3717"/>
                </a:lnTo>
                <a:lnTo>
                  <a:pt x="1397" y="3741"/>
                </a:lnTo>
                <a:lnTo>
                  <a:pt x="1389" y="3725"/>
                </a:lnTo>
                <a:lnTo>
                  <a:pt x="1389" y="3693"/>
                </a:lnTo>
                <a:cubicBezTo>
                  <a:pt x="1389" y="3693"/>
                  <a:pt x="1365" y="3685"/>
                  <a:pt x="1357" y="3685"/>
                </a:cubicBezTo>
                <a:lnTo>
                  <a:pt x="1333" y="3685"/>
                </a:lnTo>
                <a:lnTo>
                  <a:pt x="1301" y="3677"/>
                </a:lnTo>
                <a:lnTo>
                  <a:pt x="1301" y="3654"/>
                </a:lnTo>
                <a:cubicBezTo>
                  <a:pt x="1301" y="3654"/>
                  <a:pt x="1317" y="3638"/>
                  <a:pt x="1309" y="3630"/>
                </a:cubicBezTo>
                <a:cubicBezTo>
                  <a:pt x="1309" y="3622"/>
                  <a:pt x="1284" y="3606"/>
                  <a:pt x="1284" y="3606"/>
                </a:cubicBezTo>
                <a:lnTo>
                  <a:pt x="1284" y="3590"/>
                </a:lnTo>
                <a:lnTo>
                  <a:pt x="1260" y="3559"/>
                </a:lnTo>
                <a:lnTo>
                  <a:pt x="1276" y="3535"/>
                </a:lnTo>
                <a:cubicBezTo>
                  <a:pt x="1276" y="3527"/>
                  <a:pt x="1244" y="3456"/>
                  <a:pt x="1244" y="3456"/>
                </a:cubicBezTo>
                <a:cubicBezTo>
                  <a:pt x="1244" y="3456"/>
                  <a:pt x="1260" y="3424"/>
                  <a:pt x="1260" y="3416"/>
                </a:cubicBezTo>
                <a:lnTo>
                  <a:pt x="1244" y="3385"/>
                </a:lnTo>
                <a:lnTo>
                  <a:pt x="1228" y="3385"/>
                </a:lnTo>
                <a:lnTo>
                  <a:pt x="1228" y="3353"/>
                </a:lnTo>
                <a:lnTo>
                  <a:pt x="1236" y="3329"/>
                </a:lnTo>
                <a:lnTo>
                  <a:pt x="1219" y="3314"/>
                </a:lnTo>
                <a:cubicBezTo>
                  <a:pt x="1219" y="3314"/>
                  <a:pt x="1228" y="3298"/>
                  <a:pt x="1236" y="3298"/>
                </a:cubicBezTo>
                <a:lnTo>
                  <a:pt x="1236" y="3266"/>
                </a:lnTo>
                <a:cubicBezTo>
                  <a:pt x="1236" y="3266"/>
                  <a:pt x="1244" y="3250"/>
                  <a:pt x="1252" y="3250"/>
                </a:cubicBezTo>
                <a:lnTo>
                  <a:pt x="1276" y="3266"/>
                </a:lnTo>
                <a:cubicBezTo>
                  <a:pt x="1276" y="3266"/>
                  <a:pt x="1301" y="3274"/>
                  <a:pt x="1301" y="3266"/>
                </a:cubicBezTo>
                <a:lnTo>
                  <a:pt x="1293" y="3242"/>
                </a:lnTo>
                <a:cubicBezTo>
                  <a:pt x="1293" y="3235"/>
                  <a:pt x="1276" y="3219"/>
                  <a:pt x="1276" y="3219"/>
                </a:cubicBezTo>
                <a:cubicBezTo>
                  <a:pt x="1268" y="3211"/>
                  <a:pt x="1268" y="3171"/>
                  <a:pt x="1268" y="3171"/>
                </a:cubicBezTo>
                <a:cubicBezTo>
                  <a:pt x="1268" y="3171"/>
                  <a:pt x="1252" y="3140"/>
                  <a:pt x="1260" y="3140"/>
                </a:cubicBezTo>
                <a:lnTo>
                  <a:pt x="1268" y="3124"/>
                </a:lnTo>
                <a:lnTo>
                  <a:pt x="1276" y="3068"/>
                </a:lnTo>
                <a:lnTo>
                  <a:pt x="1284" y="3021"/>
                </a:lnTo>
                <a:lnTo>
                  <a:pt x="1260" y="2997"/>
                </a:lnTo>
                <a:lnTo>
                  <a:pt x="1252" y="2981"/>
                </a:lnTo>
                <a:lnTo>
                  <a:pt x="1236" y="2966"/>
                </a:lnTo>
                <a:lnTo>
                  <a:pt x="1252" y="2918"/>
                </a:lnTo>
                <a:lnTo>
                  <a:pt x="1284" y="2918"/>
                </a:lnTo>
                <a:lnTo>
                  <a:pt x="1301" y="2894"/>
                </a:lnTo>
                <a:cubicBezTo>
                  <a:pt x="1301" y="2894"/>
                  <a:pt x="1325" y="2879"/>
                  <a:pt x="1325" y="2871"/>
                </a:cubicBezTo>
                <a:lnTo>
                  <a:pt x="1333" y="2839"/>
                </a:lnTo>
                <a:lnTo>
                  <a:pt x="1325" y="2815"/>
                </a:lnTo>
                <a:lnTo>
                  <a:pt x="1341" y="2823"/>
                </a:lnTo>
                <a:lnTo>
                  <a:pt x="1341" y="2799"/>
                </a:lnTo>
                <a:lnTo>
                  <a:pt x="1348" y="2776"/>
                </a:lnTo>
                <a:cubicBezTo>
                  <a:pt x="1357" y="2776"/>
                  <a:pt x="1365" y="2768"/>
                  <a:pt x="1365" y="2768"/>
                </a:cubicBezTo>
                <a:lnTo>
                  <a:pt x="1381" y="2736"/>
                </a:lnTo>
                <a:cubicBezTo>
                  <a:pt x="1381" y="2736"/>
                  <a:pt x="1389" y="2744"/>
                  <a:pt x="1397" y="2736"/>
                </a:cubicBezTo>
                <a:cubicBezTo>
                  <a:pt x="1405" y="2728"/>
                  <a:pt x="1405" y="2728"/>
                  <a:pt x="1405" y="2720"/>
                </a:cubicBezTo>
                <a:cubicBezTo>
                  <a:pt x="1413" y="2705"/>
                  <a:pt x="1430" y="2673"/>
                  <a:pt x="1430" y="2673"/>
                </a:cubicBezTo>
                <a:lnTo>
                  <a:pt x="1430" y="2657"/>
                </a:lnTo>
                <a:cubicBezTo>
                  <a:pt x="1438" y="2657"/>
                  <a:pt x="1454" y="2657"/>
                  <a:pt x="1454" y="2649"/>
                </a:cubicBezTo>
                <a:cubicBezTo>
                  <a:pt x="1446" y="2641"/>
                  <a:pt x="1430" y="2618"/>
                  <a:pt x="1430" y="2618"/>
                </a:cubicBezTo>
                <a:lnTo>
                  <a:pt x="1454" y="2594"/>
                </a:lnTo>
                <a:lnTo>
                  <a:pt x="1478" y="2570"/>
                </a:lnTo>
                <a:cubicBezTo>
                  <a:pt x="1478" y="2578"/>
                  <a:pt x="1487" y="2578"/>
                  <a:pt x="1495" y="2570"/>
                </a:cubicBezTo>
                <a:cubicBezTo>
                  <a:pt x="1495" y="2570"/>
                  <a:pt x="1503" y="2562"/>
                  <a:pt x="1511" y="2554"/>
                </a:cubicBezTo>
                <a:cubicBezTo>
                  <a:pt x="1511" y="2554"/>
                  <a:pt x="1519" y="2546"/>
                  <a:pt x="1527" y="2546"/>
                </a:cubicBezTo>
                <a:cubicBezTo>
                  <a:pt x="1527" y="2538"/>
                  <a:pt x="1535" y="2523"/>
                  <a:pt x="1535" y="2515"/>
                </a:cubicBezTo>
                <a:lnTo>
                  <a:pt x="1552" y="2475"/>
                </a:lnTo>
                <a:lnTo>
                  <a:pt x="1552" y="2451"/>
                </a:lnTo>
                <a:lnTo>
                  <a:pt x="1560" y="2444"/>
                </a:lnTo>
                <a:lnTo>
                  <a:pt x="1576" y="2428"/>
                </a:lnTo>
                <a:cubicBezTo>
                  <a:pt x="1576" y="2428"/>
                  <a:pt x="1592" y="2420"/>
                  <a:pt x="1592" y="2428"/>
                </a:cubicBezTo>
                <a:lnTo>
                  <a:pt x="1584" y="2444"/>
                </a:lnTo>
                <a:lnTo>
                  <a:pt x="1608" y="2444"/>
                </a:lnTo>
                <a:cubicBezTo>
                  <a:pt x="1608" y="2444"/>
                  <a:pt x="1608" y="2428"/>
                  <a:pt x="1608" y="2436"/>
                </a:cubicBezTo>
                <a:cubicBezTo>
                  <a:pt x="1617" y="2436"/>
                  <a:pt x="1625" y="2444"/>
                  <a:pt x="1625" y="2444"/>
                </a:cubicBezTo>
                <a:cubicBezTo>
                  <a:pt x="1625" y="2436"/>
                  <a:pt x="1633" y="2420"/>
                  <a:pt x="1633" y="2420"/>
                </a:cubicBezTo>
                <a:lnTo>
                  <a:pt x="1633" y="2396"/>
                </a:lnTo>
                <a:cubicBezTo>
                  <a:pt x="1633" y="2396"/>
                  <a:pt x="1649" y="2380"/>
                  <a:pt x="1657" y="2372"/>
                </a:cubicBezTo>
                <a:cubicBezTo>
                  <a:pt x="1657" y="2364"/>
                  <a:pt x="1682" y="2341"/>
                  <a:pt x="1682" y="2341"/>
                </a:cubicBezTo>
                <a:lnTo>
                  <a:pt x="1706" y="2333"/>
                </a:lnTo>
                <a:cubicBezTo>
                  <a:pt x="1706" y="2333"/>
                  <a:pt x="1714" y="2325"/>
                  <a:pt x="1722" y="2325"/>
                </a:cubicBezTo>
                <a:lnTo>
                  <a:pt x="1747" y="2293"/>
                </a:lnTo>
                <a:cubicBezTo>
                  <a:pt x="1747" y="2293"/>
                  <a:pt x="1747" y="2285"/>
                  <a:pt x="1755" y="2277"/>
                </a:cubicBezTo>
                <a:cubicBezTo>
                  <a:pt x="1755" y="2270"/>
                  <a:pt x="1771" y="2270"/>
                  <a:pt x="1771" y="2262"/>
                </a:cubicBezTo>
                <a:cubicBezTo>
                  <a:pt x="1779" y="2262"/>
                  <a:pt x="1795" y="2222"/>
                  <a:pt x="1795" y="2222"/>
                </a:cubicBezTo>
                <a:cubicBezTo>
                  <a:pt x="1795" y="2222"/>
                  <a:pt x="1803" y="2222"/>
                  <a:pt x="1803" y="2214"/>
                </a:cubicBezTo>
                <a:cubicBezTo>
                  <a:pt x="1803" y="2198"/>
                  <a:pt x="1812" y="2183"/>
                  <a:pt x="1812" y="2183"/>
                </a:cubicBezTo>
                <a:lnTo>
                  <a:pt x="1828" y="2151"/>
                </a:lnTo>
                <a:lnTo>
                  <a:pt x="1828" y="2103"/>
                </a:lnTo>
                <a:lnTo>
                  <a:pt x="1844" y="2064"/>
                </a:lnTo>
                <a:cubicBezTo>
                  <a:pt x="1844" y="2064"/>
                  <a:pt x="1852" y="2056"/>
                  <a:pt x="1852" y="2048"/>
                </a:cubicBezTo>
                <a:cubicBezTo>
                  <a:pt x="1860" y="2048"/>
                  <a:pt x="1868" y="2024"/>
                  <a:pt x="1868" y="2024"/>
                </a:cubicBezTo>
                <a:lnTo>
                  <a:pt x="1893" y="1993"/>
                </a:lnTo>
                <a:cubicBezTo>
                  <a:pt x="1893" y="1993"/>
                  <a:pt x="1901" y="1969"/>
                  <a:pt x="1901" y="1961"/>
                </a:cubicBezTo>
                <a:lnTo>
                  <a:pt x="1909" y="1961"/>
                </a:lnTo>
                <a:lnTo>
                  <a:pt x="1909" y="1937"/>
                </a:lnTo>
                <a:lnTo>
                  <a:pt x="1893" y="1906"/>
                </a:lnTo>
                <a:lnTo>
                  <a:pt x="1860" y="1882"/>
                </a:lnTo>
                <a:lnTo>
                  <a:pt x="1836" y="1882"/>
                </a:lnTo>
                <a:lnTo>
                  <a:pt x="1820" y="1866"/>
                </a:lnTo>
                <a:lnTo>
                  <a:pt x="1828" y="1850"/>
                </a:lnTo>
                <a:lnTo>
                  <a:pt x="1812" y="1827"/>
                </a:lnTo>
                <a:lnTo>
                  <a:pt x="1803" y="1811"/>
                </a:lnTo>
                <a:lnTo>
                  <a:pt x="1787" y="1795"/>
                </a:lnTo>
                <a:lnTo>
                  <a:pt x="1803" y="1771"/>
                </a:lnTo>
                <a:cubicBezTo>
                  <a:pt x="1803" y="1771"/>
                  <a:pt x="1812" y="1763"/>
                  <a:pt x="1812" y="1755"/>
                </a:cubicBezTo>
                <a:lnTo>
                  <a:pt x="1844" y="1708"/>
                </a:lnTo>
                <a:cubicBezTo>
                  <a:pt x="1844" y="1708"/>
                  <a:pt x="1852" y="1700"/>
                  <a:pt x="1852" y="1692"/>
                </a:cubicBezTo>
                <a:cubicBezTo>
                  <a:pt x="1852" y="1684"/>
                  <a:pt x="1844" y="1653"/>
                  <a:pt x="1844" y="1653"/>
                </a:cubicBezTo>
                <a:cubicBezTo>
                  <a:pt x="1844" y="1653"/>
                  <a:pt x="1844" y="1629"/>
                  <a:pt x="1852" y="1629"/>
                </a:cubicBezTo>
                <a:cubicBezTo>
                  <a:pt x="1852" y="1621"/>
                  <a:pt x="1860" y="1613"/>
                  <a:pt x="1860" y="1613"/>
                </a:cubicBezTo>
                <a:cubicBezTo>
                  <a:pt x="1860" y="1613"/>
                  <a:pt x="1868" y="1613"/>
                  <a:pt x="1877" y="1621"/>
                </a:cubicBezTo>
                <a:cubicBezTo>
                  <a:pt x="1885" y="1621"/>
                  <a:pt x="1885" y="1605"/>
                  <a:pt x="1885" y="1605"/>
                </a:cubicBezTo>
                <a:cubicBezTo>
                  <a:pt x="1885" y="1605"/>
                  <a:pt x="1885" y="1581"/>
                  <a:pt x="1877" y="1581"/>
                </a:cubicBezTo>
                <a:cubicBezTo>
                  <a:pt x="1868" y="1581"/>
                  <a:pt x="1860" y="1566"/>
                  <a:pt x="1860" y="1566"/>
                </a:cubicBezTo>
                <a:lnTo>
                  <a:pt x="1868" y="1558"/>
                </a:lnTo>
                <a:cubicBezTo>
                  <a:pt x="1868" y="1550"/>
                  <a:pt x="1885" y="1542"/>
                  <a:pt x="1885" y="1542"/>
                </a:cubicBezTo>
                <a:lnTo>
                  <a:pt x="1909" y="1534"/>
                </a:lnTo>
                <a:lnTo>
                  <a:pt x="1901" y="1510"/>
                </a:lnTo>
                <a:lnTo>
                  <a:pt x="1901" y="1486"/>
                </a:lnTo>
                <a:lnTo>
                  <a:pt x="1933" y="1494"/>
                </a:lnTo>
                <a:cubicBezTo>
                  <a:pt x="1933" y="1502"/>
                  <a:pt x="1942" y="1518"/>
                  <a:pt x="1950" y="1518"/>
                </a:cubicBezTo>
                <a:lnTo>
                  <a:pt x="1950" y="1494"/>
                </a:lnTo>
                <a:cubicBezTo>
                  <a:pt x="1950" y="1494"/>
                  <a:pt x="1958" y="1471"/>
                  <a:pt x="1966" y="1479"/>
                </a:cubicBezTo>
                <a:cubicBezTo>
                  <a:pt x="1982" y="1487"/>
                  <a:pt x="1990" y="1471"/>
                  <a:pt x="1998" y="1471"/>
                </a:cubicBezTo>
                <a:cubicBezTo>
                  <a:pt x="1998" y="1463"/>
                  <a:pt x="2007" y="1447"/>
                  <a:pt x="2007" y="1447"/>
                </a:cubicBezTo>
                <a:cubicBezTo>
                  <a:pt x="2007" y="1447"/>
                  <a:pt x="2015" y="1423"/>
                  <a:pt x="2007" y="1415"/>
                </a:cubicBezTo>
                <a:cubicBezTo>
                  <a:pt x="1998" y="1415"/>
                  <a:pt x="1990" y="1415"/>
                  <a:pt x="1990" y="1407"/>
                </a:cubicBezTo>
                <a:cubicBezTo>
                  <a:pt x="1990" y="1407"/>
                  <a:pt x="1998" y="1392"/>
                  <a:pt x="2007" y="1392"/>
                </a:cubicBezTo>
                <a:cubicBezTo>
                  <a:pt x="2015" y="1392"/>
                  <a:pt x="2015" y="1392"/>
                  <a:pt x="2031" y="1384"/>
                </a:cubicBezTo>
                <a:cubicBezTo>
                  <a:pt x="2039" y="1376"/>
                  <a:pt x="2039" y="1368"/>
                  <a:pt x="2039" y="1368"/>
                </a:cubicBezTo>
                <a:lnTo>
                  <a:pt x="2064" y="1360"/>
                </a:lnTo>
                <a:lnTo>
                  <a:pt x="2096" y="1344"/>
                </a:lnTo>
                <a:lnTo>
                  <a:pt x="2096" y="1328"/>
                </a:lnTo>
                <a:lnTo>
                  <a:pt x="2112" y="1328"/>
                </a:lnTo>
                <a:cubicBezTo>
                  <a:pt x="2120" y="1328"/>
                  <a:pt x="2129" y="1336"/>
                  <a:pt x="2129" y="1336"/>
                </a:cubicBezTo>
                <a:lnTo>
                  <a:pt x="2145" y="1336"/>
                </a:lnTo>
                <a:cubicBezTo>
                  <a:pt x="2145" y="1328"/>
                  <a:pt x="2137" y="1320"/>
                  <a:pt x="2145" y="1320"/>
                </a:cubicBezTo>
                <a:cubicBezTo>
                  <a:pt x="2153" y="1328"/>
                  <a:pt x="2153" y="1328"/>
                  <a:pt x="2153" y="1336"/>
                </a:cubicBezTo>
                <a:lnTo>
                  <a:pt x="2161" y="1336"/>
                </a:lnTo>
                <a:cubicBezTo>
                  <a:pt x="2169" y="1336"/>
                  <a:pt x="2177" y="1344"/>
                  <a:pt x="2185" y="1352"/>
                </a:cubicBezTo>
                <a:lnTo>
                  <a:pt x="2185" y="1368"/>
                </a:lnTo>
                <a:lnTo>
                  <a:pt x="2185" y="1384"/>
                </a:lnTo>
                <a:lnTo>
                  <a:pt x="2185" y="1392"/>
                </a:lnTo>
                <a:cubicBezTo>
                  <a:pt x="2185" y="1392"/>
                  <a:pt x="2210" y="1407"/>
                  <a:pt x="2210" y="1400"/>
                </a:cubicBezTo>
                <a:lnTo>
                  <a:pt x="2210" y="1384"/>
                </a:lnTo>
                <a:cubicBezTo>
                  <a:pt x="2202" y="1376"/>
                  <a:pt x="2210" y="1368"/>
                  <a:pt x="2210" y="1360"/>
                </a:cubicBezTo>
                <a:cubicBezTo>
                  <a:pt x="2202" y="1352"/>
                  <a:pt x="2193" y="1336"/>
                  <a:pt x="2193" y="1328"/>
                </a:cubicBezTo>
                <a:cubicBezTo>
                  <a:pt x="2193" y="1328"/>
                  <a:pt x="2202" y="1320"/>
                  <a:pt x="2210" y="1320"/>
                </a:cubicBezTo>
                <a:cubicBezTo>
                  <a:pt x="2218" y="1320"/>
                  <a:pt x="2210" y="1313"/>
                  <a:pt x="2218" y="1320"/>
                </a:cubicBezTo>
                <a:cubicBezTo>
                  <a:pt x="2226" y="1328"/>
                  <a:pt x="2226" y="1336"/>
                  <a:pt x="2234" y="1336"/>
                </a:cubicBezTo>
                <a:lnTo>
                  <a:pt x="2242" y="1336"/>
                </a:lnTo>
                <a:cubicBezTo>
                  <a:pt x="2242" y="1344"/>
                  <a:pt x="2250" y="1352"/>
                  <a:pt x="2250" y="1360"/>
                </a:cubicBezTo>
                <a:lnTo>
                  <a:pt x="2250" y="1376"/>
                </a:lnTo>
                <a:lnTo>
                  <a:pt x="2267" y="1400"/>
                </a:lnTo>
                <a:lnTo>
                  <a:pt x="2283" y="1384"/>
                </a:lnTo>
                <a:lnTo>
                  <a:pt x="2283" y="1352"/>
                </a:lnTo>
                <a:cubicBezTo>
                  <a:pt x="2283" y="1344"/>
                  <a:pt x="2259" y="1320"/>
                  <a:pt x="2259" y="1320"/>
                </a:cubicBezTo>
                <a:cubicBezTo>
                  <a:pt x="2259" y="1320"/>
                  <a:pt x="2259" y="1313"/>
                  <a:pt x="2267" y="1305"/>
                </a:cubicBezTo>
                <a:cubicBezTo>
                  <a:pt x="2267" y="1305"/>
                  <a:pt x="2275" y="1297"/>
                  <a:pt x="2291" y="1289"/>
                </a:cubicBezTo>
                <a:lnTo>
                  <a:pt x="2242" y="1186"/>
                </a:lnTo>
                <a:lnTo>
                  <a:pt x="2193" y="1162"/>
                </a:lnTo>
                <a:lnTo>
                  <a:pt x="2161" y="1131"/>
                </a:lnTo>
                <a:lnTo>
                  <a:pt x="2161" y="1091"/>
                </a:lnTo>
                <a:lnTo>
                  <a:pt x="2137" y="1059"/>
                </a:lnTo>
                <a:cubicBezTo>
                  <a:pt x="2137" y="1059"/>
                  <a:pt x="2145" y="1036"/>
                  <a:pt x="2145" y="1028"/>
                </a:cubicBezTo>
                <a:cubicBezTo>
                  <a:pt x="2153" y="1020"/>
                  <a:pt x="2169" y="980"/>
                  <a:pt x="2169" y="980"/>
                </a:cubicBezTo>
                <a:cubicBezTo>
                  <a:pt x="2169" y="980"/>
                  <a:pt x="2161" y="949"/>
                  <a:pt x="2161" y="941"/>
                </a:cubicBezTo>
                <a:cubicBezTo>
                  <a:pt x="2161" y="933"/>
                  <a:pt x="2169" y="893"/>
                  <a:pt x="2169" y="893"/>
                </a:cubicBezTo>
                <a:lnTo>
                  <a:pt x="2161" y="854"/>
                </a:lnTo>
                <a:lnTo>
                  <a:pt x="2064" y="743"/>
                </a:lnTo>
                <a:lnTo>
                  <a:pt x="2072" y="69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43" name="Freeform 135">
            <a:extLst>
              <a:ext uri="{FF2B5EF4-FFF2-40B4-BE49-F238E27FC236}">
                <a16:creationId xmlns:a16="http://schemas.microsoft.com/office/drawing/2014/main" id="{1265F392-176C-646A-64FB-E9D3DA3610A1}"/>
              </a:ext>
            </a:extLst>
          </p:cNvPr>
          <p:cNvSpPr>
            <a:spLocks noChangeArrowheads="1"/>
          </p:cNvSpPr>
          <p:nvPr>
            <p:custDataLst>
              <p:tags r:id="rId134"/>
            </p:custDataLst>
          </p:nvPr>
        </p:nvSpPr>
        <p:spPr bwMode="auto">
          <a:xfrm>
            <a:off x="6605534" y="115918"/>
            <a:ext cx="1805784" cy="2475933"/>
          </a:xfrm>
          <a:custGeom>
            <a:avLst/>
            <a:gdLst>
              <a:gd name="T0" fmla="*/ 3397 w 4395"/>
              <a:gd name="T1" fmla="*/ 1126 h 6028"/>
              <a:gd name="T2" fmla="*/ 3650 w 4395"/>
              <a:gd name="T3" fmla="*/ 999 h 6028"/>
              <a:gd name="T4" fmla="*/ 3781 w 4395"/>
              <a:gd name="T5" fmla="*/ 500 h 6028"/>
              <a:gd name="T6" fmla="*/ 4116 w 4395"/>
              <a:gd name="T7" fmla="*/ 690 h 6028"/>
              <a:gd name="T8" fmla="*/ 4287 w 4395"/>
              <a:gd name="T9" fmla="*/ 626 h 6028"/>
              <a:gd name="T10" fmla="*/ 4010 w 4395"/>
              <a:gd name="T11" fmla="*/ 396 h 6028"/>
              <a:gd name="T12" fmla="*/ 4002 w 4395"/>
              <a:gd name="T13" fmla="*/ 71 h 6028"/>
              <a:gd name="T14" fmla="*/ 3683 w 4395"/>
              <a:gd name="T15" fmla="*/ 103 h 6028"/>
              <a:gd name="T16" fmla="*/ 3528 w 4395"/>
              <a:gd name="T17" fmla="*/ 238 h 6028"/>
              <a:gd name="T18" fmla="*/ 3479 w 4395"/>
              <a:gd name="T19" fmla="*/ 230 h 6028"/>
              <a:gd name="T20" fmla="*/ 3381 w 4395"/>
              <a:gd name="T21" fmla="*/ 214 h 6028"/>
              <a:gd name="T22" fmla="*/ 3266 w 4395"/>
              <a:gd name="T23" fmla="*/ 373 h 6028"/>
              <a:gd name="T24" fmla="*/ 3127 w 4395"/>
              <a:gd name="T25" fmla="*/ 563 h 6028"/>
              <a:gd name="T26" fmla="*/ 2858 w 4395"/>
              <a:gd name="T27" fmla="*/ 595 h 6028"/>
              <a:gd name="T28" fmla="*/ 2736 w 4395"/>
              <a:gd name="T29" fmla="*/ 634 h 6028"/>
              <a:gd name="T30" fmla="*/ 2663 w 4395"/>
              <a:gd name="T31" fmla="*/ 634 h 6028"/>
              <a:gd name="T32" fmla="*/ 2491 w 4395"/>
              <a:gd name="T33" fmla="*/ 864 h 6028"/>
              <a:gd name="T34" fmla="*/ 2344 w 4395"/>
              <a:gd name="T35" fmla="*/ 1158 h 6028"/>
              <a:gd name="T36" fmla="*/ 2148 w 4395"/>
              <a:gd name="T37" fmla="*/ 1126 h 6028"/>
              <a:gd name="T38" fmla="*/ 1968 w 4395"/>
              <a:gd name="T39" fmla="*/ 1507 h 6028"/>
              <a:gd name="T40" fmla="*/ 1740 w 4395"/>
              <a:gd name="T41" fmla="*/ 1665 h 6028"/>
              <a:gd name="T42" fmla="*/ 2213 w 4395"/>
              <a:gd name="T43" fmla="*/ 1673 h 6028"/>
              <a:gd name="T44" fmla="*/ 2058 w 4395"/>
              <a:gd name="T45" fmla="*/ 1816 h 6028"/>
              <a:gd name="T46" fmla="*/ 1895 w 4395"/>
              <a:gd name="T47" fmla="*/ 1998 h 6028"/>
              <a:gd name="T48" fmla="*/ 1740 w 4395"/>
              <a:gd name="T49" fmla="*/ 2260 h 6028"/>
              <a:gd name="T50" fmla="*/ 1674 w 4395"/>
              <a:gd name="T51" fmla="*/ 2530 h 6028"/>
              <a:gd name="T52" fmla="*/ 1584 w 4395"/>
              <a:gd name="T53" fmla="*/ 2879 h 6028"/>
              <a:gd name="T54" fmla="*/ 1388 w 4395"/>
              <a:gd name="T55" fmla="*/ 3077 h 6028"/>
              <a:gd name="T56" fmla="*/ 1331 w 4395"/>
              <a:gd name="T57" fmla="*/ 3204 h 6028"/>
              <a:gd name="T58" fmla="*/ 1086 w 4395"/>
              <a:gd name="T59" fmla="*/ 3561 h 6028"/>
              <a:gd name="T60" fmla="*/ 1160 w 4395"/>
              <a:gd name="T61" fmla="*/ 3664 h 6028"/>
              <a:gd name="T62" fmla="*/ 825 w 4395"/>
              <a:gd name="T63" fmla="*/ 3640 h 6028"/>
              <a:gd name="T64" fmla="*/ 710 w 4395"/>
              <a:gd name="T65" fmla="*/ 3838 h 6028"/>
              <a:gd name="T66" fmla="*/ 449 w 4395"/>
              <a:gd name="T67" fmla="*/ 4013 h 6028"/>
              <a:gd name="T68" fmla="*/ 212 w 4395"/>
              <a:gd name="T69" fmla="*/ 4171 h 6028"/>
              <a:gd name="T70" fmla="*/ 122 w 4395"/>
              <a:gd name="T71" fmla="*/ 4235 h 6028"/>
              <a:gd name="T72" fmla="*/ 163 w 4395"/>
              <a:gd name="T73" fmla="*/ 4473 h 6028"/>
              <a:gd name="T74" fmla="*/ 73 w 4395"/>
              <a:gd name="T75" fmla="*/ 4727 h 6028"/>
              <a:gd name="T76" fmla="*/ 81 w 4395"/>
              <a:gd name="T77" fmla="*/ 5052 h 6028"/>
              <a:gd name="T78" fmla="*/ 65 w 4395"/>
              <a:gd name="T79" fmla="*/ 5274 h 6028"/>
              <a:gd name="T80" fmla="*/ 212 w 4395"/>
              <a:gd name="T81" fmla="*/ 5456 h 6028"/>
              <a:gd name="T82" fmla="*/ 187 w 4395"/>
              <a:gd name="T83" fmla="*/ 5805 h 6028"/>
              <a:gd name="T84" fmla="*/ 490 w 4395"/>
              <a:gd name="T85" fmla="*/ 6012 h 6028"/>
              <a:gd name="T86" fmla="*/ 980 w 4395"/>
              <a:gd name="T87" fmla="*/ 5678 h 6028"/>
              <a:gd name="T88" fmla="*/ 1413 w 4395"/>
              <a:gd name="T89" fmla="*/ 5599 h 6028"/>
              <a:gd name="T90" fmla="*/ 1560 w 4395"/>
              <a:gd name="T91" fmla="*/ 5480 h 6028"/>
              <a:gd name="T92" fmla="*/ 1552 w 4395"/>
              <a:gd name="T93" fmla="*/ 5218 h 6028"/>
              <a:gd name="T94" fmla="*/ 1674 w 4395"/>
              <a:gd name="T95" fmla="*/ 5028 h 6028"/>
              <a:gd name="T96" fmla="*/ 1731 w 4395"/>
              <a:gd name="T97" fmla="*/ 4679 h 6028"/>
              <a:gd name="T98" fmla="*/ 1601 w 4395"/>
              <a:gd name="T99" fmla="*/ 4155 h 6028"/>
              <a:gd name="T100" fmla="*/ 1560 w 4395"/>
              <a:gd name="T101" fmla="*/ 3624 h 6028"/>
              <a:gd name="T102" fmla="*/ 1813 w 4395"/>
              <a:gd name="T103" fmla="*/ 3148 h 6028"/>
              <a:gd name="T104" fmla="*/ 1993 w 4395"/>
              <a:gd name="T105" fmla="*/ 2490 h 6028"/>
              <a:gd name="T106" fmla="*/ 2181 w 4395"/>
              <a:gd name="T107" fmla="*/ 1911 h 6028"/>
              <a:gd name="T108" fmla="*/ 2328 w 4395"/>
              <a:gd name="T109" fmla="*/ 1594 h 6028"/>
              <a:gd name="T110" fmla="*/ 2801 w 4395"/>
              <a:gd name="T111" fmla="*/ 1372 h 6028"/>
              <a:gd name="T112" fmla="*/ 2907 w 4395"/>
              <a:gd name="T113" fmla="*/ 1078 h 6028"/>
              <a:gd name="T114" fmla="*/ 3176 w 4395"/>
              <a:gd name="T115" fmla="*/ 365 h 6028"/>
              <a:gd name="T116" fmla="*/ 3046 w 4395"/>
              <a:gd name="T117" fmla="*/ 341 h 6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395" h="6028">
                <a:moveTo>
                  <a:pt x="2964" y="999"/>
                </a:moveTo>
                <a:lnTo>
                  <a:pt x="2997" y="1007"/>
                </a:lnTo>
                <a:lnTo>
                  <a:pt x="3054" y="1071"/>
                </a:lnTo>
                <a:lnTo>
                  <a:pt x="3103" y="1126"/>
                </a:lnTo>
                <a:cubicBezTo>
                  <a:pt x="3103" y="1126"/>
                  <a:pt x="3176" y="1182"/>
                  <a:pt x="3193" y="1189"/>
                </a:cubicBezTo>
                <a:cubicBezTo>
                  <a:pt x="3209" y="1197"/>
                  <a:pt x="3299" y="1213"/>
                  <a:pt x="3307" y="1221"/>
                </a:cubicBezTo>
                <a:lnTo>
                  <a:pt x="3332" y="1189"/>
                </a:lnTo>
                <a:lnTo>
                  <a:pt x="3364" y="1166"/>
                </a:lnTo>
                <a:lnTo>
                  <a:pt x="3356" y="1150"/>
                </a:lnTo>
                <a:lnTo>
                  <a:pt x="3397" y="1126"/>
                </a:lnTo>
                <a:lnTo>
                  <a:pt x="3430" y="1150"/>
                </a:lnTo>
                <a:lnTo>
                  <a:pt x="3511" y="1166"/>
                </a:lnTo>
                <a:lnTo>
                  <a:pt x="3544" y="1189"/>
                </a:lnTo>
                <a:lnTo>
                  <a:pt x="3552" y="1189"/>
                </a:lnTo>
                <a:lnTo>
                  <a:pt x="3560" y="1182"/>
                </a:lnTo>
                <a:lnTo>
                  <a:pt x="3577" y="1182"/>
                </a:lnTo>
                <a:lnTo>
                  <a:pt x="3577" y="1110"/>
                </a:lnTo>
                <a:cubicBezTo>
                  <a:pt x="3577" y="1110"/>
                  <a:pt x="3552" y="1094"/>
                  <a:pt x="3577" y="1078"/>
                </a:cubicBezTo>
                <a:cubicBezTo>
                  <a:pt x="3601" y="1055"/>
                  <a:pt x="3634" y="1031"/>
                  <a:pt x="3634" y="1031"/>
                </a:cubicBezTo>
                <a:cubicBezTo>
                  <a:pt x="3634" y="1031"/>
                  <a:pt x="3650" y="1023"/>
                  <a:pt x="3650" y="999"/>
                </a:cubicBezTo>
                <a:cubicBezTo>
                  <a:pt x="3650" y="975"/>
                  <a:pt x="3634" y="912"/>
                  <a:pt x="3634" y="912"/>
                </a:cubicBezTo>
                <a:cubicBezTo>
                  <a:pt x="3634" y="912"/>
                  <a:pt x="3618" y="872"/>
                  <a:pt x="3618" y="856"/>
                </a:cubicBezTo>
                <a:cubicBezTo>
                  <a:pt x="3634" y="761"/>
                  <a:pt x="3593" y="698"/>
                  <a:pt x="3618" y="682"/>
                </a:cubicBezTo>
                <a:lnTo>
                  <a:pt x="3634" y="674"/>
                </a:lnTo>
                <a:lnTo>
                  <a:pt x="3658" y="658"/>
                </a:lnTo>
                <a:lnTo>
                  <a:pt x="3658" y="650"/>
                </a:lnTo>
                <a:cubicBezTo>
                  <a:pt x="3658" y="611"/>
                  <a:pt x="3609" y="571"/>
                  <a:pt x="3667" y="563"/>
                </a:cubicBezTo>
                <a:lnTo>
                  <a:pt x="3691" y="547"/>
                </a:lnTo>
                <a:lnTo>
                  <a:pt x="3765" y="547"/>
                </a:lnTo>
                <a:lnTo>
                  <a:pt x="3781" y="500"/>
                </a:lnTo>
                <a:lnTo>
                  <a:pt x="3814" y="468"/>
                </a:lnTo>
                <a:cubicBezTo>
                  <a:pt x="3838" y="468"/>
                  <a:pt x="3871" y="460"/>
                  <a:pt x="3887" y="468"/>
                </a:cubicBezTo>
                <a:cubicBezTo>
                  <a:pt x="3904" y="492"/>
                  <a:pt x="3904" y="508"/>
                  <a:pt x="3936" y="515"/>
                </a:cubicBezTo>
                <a:lnTo>
                  <a:pt x="4034" y="547"/>
                </a:lnTo>
                <a:lnTo>
                  <a:pt x="4083" y="555"/>
                </a:lnTo>
                <a:lnTo>
                  <a:pt x="4091" y="555"/>
                </a:lnTo>
                <a:lnTo>
                  <a:pt x="4108" y="571"/>
                </a:lnTo>
                <a:cubicBezTo>
                  <a:pt x="4108" y="587"/>
                  <a:pt x="4108" y="603"/>
                  <a:pt x="4116" y="611"/>
                </a:cubicBezTo>
                <a:cubicBezTo>
                  <a:pt x="4116" y="626"/>
                  <a:pt x="4124" y="650"/>
                  <a:pt x="4124" y="650"/>
                </a:cubicBezTo>
                <a:cubicBezTo>
                  <a:pt x="4124" y="650"/>
                  <a:pt x="4116" y="674"/>
                  <a:pt x="4116" y="690"/>
                </a:cubicBezTo>
                <a:cubicBezTo>
                  <a:pt x="4108" y="698"/>
                  <a:pt x="4108" y="722"/>
                  <a:pt x="4108" y="730"/>
                </a:cubicBezTo>
                <a:lnTo>
                  <a:pt x="4108" y="753"/>
                </a:lnTo>
                <a:cubicBezTo>
                  <a:pt x="4108" y="769"/>
                  <a:pt x="4116" y="793"/>
                  <a:pt x="4124" y="801"/>
                </a:cubicBezTo>
                <a:cubicBezTo>
                  <a:pt x="4124" y="809"/>
                  <a:pt x="4165" y="833"/>
                  <a:pt x="4165" y="833"/>
                </a:cubicBezTo>
                <a:lnTo>
                  <a:pt x="4157" y="841"/>
                </a:lnTo>
                <a:cubicBezTo>
                  <a:pt x="4157" y="841"/>
                  <a:pt x="4157" y="848"/>
                  <a:pt x="4165" y="848"/>
                </a:cubicBezTo>
                <a:cubicBezTo>
                  <a:pt x="4181" y="848"/>
                  <a:pt x="4206" y="841"/>
                  <a:pt x="4206" y="841"/>
                </a:cubicBezTo>
                <a:cubicBezTo>
                  <a:pt x="4206" y="841"/>
                  <a:pt x="4206" y="769"/>
                  <a:pt x="4198" y="745"/>
                </a:cubicBezTo>
                <a:cubicBezTo>
                  <a:pt x="4189" y="714"/>
                  <a:pt x="4230" y="682"/>
                  <a:pt x="4230" y="682"/>
                </a:cubicBezTo>
                <a:lnTo>
                  <a:pt x="4287" y="626"/>
                </a:lnTo>
                <a:lnTo>
                  <a:pt x="4279" y="563"/>
                </a:lnTo>
                <a:lnTo>
                  <a:pt x="4345" y="571"/>
                </a:lnTo>
                <a:cubicBezTo>
                  <a:pt x="4345" y="571"/>
                  <a:pt x="4394" y="547"/>
                  <a:pt x="4377" y="515"/>
                </a:cubicBezTo>
                <a:cubicBezTo>
                  <a:pt x="4361" y="476"/>
                  <a:pt x="4345" y="412"/>
                  <a:pt x="4328" y="428"/>
                </a:cubicBezTo>
                <a:cubicBezTo>
                  <a:pt x="4304" y="444"/>
                  <a:pt x="4263" y="492"/>
                  <a:pt x="4263" y="492"/>
                </a:cubicBezTo>
                <a:lnTo>
                  <a:pt x="4255" y="412"/>
                </a:lnTo>
                <a:lnTo>
                  <a:pt x="4189" y="436"/>
                </a:lnTo>
                <a:lnTo>
                  <a:pt x="4124" y="420"/>
                </a:lnTo>
                <a:cubicBezTo>
                  <a:pt x="4124" y="420"/>
                  <a:pt x="4100" y="389"/>
                  <a:pt x="4075" y="396"/>
                </a:cubicBezTo>
                <a:lnTo>
                  <a:pt x="4010" y="396"/>
                </a:lnTo>
                <a:cubicBezTo>
                  <a:pt x="4010" y="396"/>
                  <a:pt x="3977" y="373"/>
                  <a:pt x="3993" y="365"/>
                </a:cubicBezTo>
                <a:cubicBezTo>
                  <a:pt x="4018" y="365"/>
                  <a:pt x="4067" y="373"/>
                  <a:pt x="4091" y="365"/>
                </a:cubicBezTo>
                <a:cubicBezTo>
                  <a:pt x="4108" y="365"/>
                  <a:pt x="4238" y="333"/>
                  <a:pt x="4238" y="333"/>
                </a:cubicBezTo>
                <a:lnTo>
                  <a:pt x="4247" y="278"/>
                </a:lnTo>
                <a:lnTo>
                  <a:pt x="4304" y="230"/>
                </a:lnTo>
                <a:lnTo>
                  <a:pt x="4206" y="159"/>
                </a:lnTo>
                <a:lnTo>
                  <a:pt x="4165" y="95"/>
                </a:lnTo>
                <a:cubicBezTo>
                  <a:pt x="4165" y="95"/>
                  <a:pt x="4157" y="71"/>
                  <a:pt x="4140" y="71"/>
                </a:cubicBezTo>
                <a:cubicBezTo>
                  <a:pt x="4116" y="71"/>
                  <a:pt x="4051" y="103"/>
                  <a:pt x="4051" y="103"/>
                </a:cubicBezTo>
                <a:lnTo>
                  <a:pt x="4002" y="71"/>
                </a:lnTo>
                <a:lnTo>
                  <a:pt x="3928" y="79"/>
                </a:lnTo>
                <a:lnTo>
                  <a:pt x="3822" y="48"/>
                </a:lnTo>
                <a:lnTo>
                  <a:pt x="3822" y="71"/>
                </a:lnTo>
                <a:cubicBezTo>
                  <a:pt x="3822" y="71"/>
                  <a:pt x="3789" y="63"/>
                  <a:pt x="3781" y="48"/>
                </a:cubicBezTo>
                <a:lnTo>
                  <a:pt x="3781" y="16"/>
                </a:lnTo>
                <a:lnTo>
                  <a:pt x="3740" y="24"/>
                </a:lnTo>
                <a:lnTo>
                  <a:pt x="3724" y="24"/>
                </a:lnTo>
                <a:lnTo>
                  <a:pt x="3675" y="0"/>
                </a:lnTo>
                <a:lnTo>
                  <a:pt x="3650" y="48"/>
                </a:lnTo>
                <a:lnTo>
                  <a:pt x="3683" y="103"/>
                </a:lnTo>
                <a:lnTo>
                  <a:pt x="3650" y="166"/>
                </a:lnTo>
                <a:lnTo>
                  <a:pt x="3675" y="206"/>
                </a:lnTo>
                <a:lnTo>
                  <a:pt x="3675" y="262"/>
                </a:lnTo>
                <a:lnTo>
                  <a:pt x="3642" y="325"/>
                </a:lnTo>
                <a:lnTo>
                  <a:pt x="3593" y="285"/>
                </a:lnTo>
                <a:lnTo>
                  <a:pt x="3601" y="230"/>
                </a:lnTo>
                <a:lnTo>
                  <a:pt x="3626" y="166"/>
                </a:lnTo>
                <a:lnTo>
                  <a:pt x="3593" y="103"/>
                </a:lnTo>
                <a:lnTo>
                  <a:pt x="3528" y="159"/>
                </a:lnTo>
                <a:lnTo>
                  <a:pt x="3528" y="238"/>
                </a:lnTo>
                <a:lnTo>
                  <a:pt x="3495" y="293"/>
                </a:lnTo>
                <a:lnTo>
                  <a:pt x="3495" y="365"/>
                </a:lnTo>
                <a:lnTo>
                  <a:pt x="3479" y="420"/>
                </a:lnTo>
                <a:lnTo>
                  <a:pt x="3471" y="492"/>
                </a:lnTo>
                <a:cubicBezTo>
                  <a:pt x="3471" y="492"/>
                  <a:pt x="3471" y="507"/>
                  <a:pt x="3454" y="507"/>
                </a:cubicBezTo>
                <a:cubicBezTo>
                  <a:pt x="3438" y="515"/>
                  <a:pt x="3405" y="500"/>
                  <a:pt x="3405" y="500"/>
                </a:cubicBezTo>
                <a:lnTo>
                  <a:pt x="3405" y="396"/>
                </a:lnTo>
                <a:lnTo>
                  <a:pt x="3422" y="341"/>
                </a:lnTo>
                <a:lnTo>
                  <a:pt x="3446" y="293"/>
                </a:lnTo>
                <a:lnTo>
                  <a:pt x="3479" y="230"/>
                </a:lnTo>
                <a:cubicBezTo>
                  <a:pt x="3479" y="230"/>
                  <a:pt x="3479" y="190"/>
                  <a:pt x="3471" y="182"/>
                </a:cubicBezTo>
                <a:cubicBezTo>
                  <a:pt x="3471" y="182"/>
                  <a:pt x="3454" y="174"/>
                  <a:pt x="3462" y="174"/>
                </a:cubicBezTo>
                <a:cubicBezTo>
                  <a:pt x="3462" y="166"/>
                  <a:pt x="3495" y="135"/>
                  <a:pt x="3495" y="135"/>
                </a:cubicBezTo>
                <a:cubicBezTo>
                  <a:pt x="3495" y="135"/>
                  <a:pt x="3495" y="111"/>
                  <a:pt x="3471" y="95"/>
                </a:cubicBezTo>
                <a:cubicBezTo>
                  <a:pt x="3454" y="87"/>
                  <a:pt x="3438" y="71"/>
                  <a:pt x="3422" y="79"/>
                </a:cubicBezTo>
                <a:cubicBezTo>
                  <a:pt x="3413" y="87"/>
                  <a:pt x="3373" y="103"/>
                  <a:pt x="3373" y="111"/>
                </a:cubicBezTo>
                <a:cubicBezTo>
                  <a:pt x="3364" y="119"/>
                  <a:pt x="3373" y="135"/>
                  <a:pt x="3381" y="143"/>
                </a:cubicBezTo>
                <a:cubicBezTo>
                  <a:pt x="3389" y="143"/>
                  <a:pt x="3397" y="151"/>
                  <a:pt x="3405" y="151"/>
                </a:cubicBezTo>
                <a:cubicBezTo>
                  <a:pt x="3405" y="158"/>
                  <a:pt x="3413" y="182"/>
                  <a:pt x="3405" y="190"/>
                </a:cubicBezTo>
                <a:cubicBezTo>
                  <a:pt x="3397" y="198"/>
                  <a:pt x="3405" y="222"/>
                  <a:pt x="3381" y="214"/>
                </a:cubicBezTo>
                <a:cubicBezTo>
                  <a:pt x="3364" y="206"/>
                  <a:pt x="3315" y="174"/>
                  <a:pt x="3315" y="174"/>
                </a:cubicBezTo>
                <a:cubicBezTo>
                  <a:pt x="3307" y="174"/>
                  <a:pt x="3315" y="143"/>
                  <a:pt x="3299" y="174"/>
                </a:cubicBezTo>
                <a:cubicBezTo>
                  <a:pt x="3283" y="198"/>
                  <a:pt x="3274" y="206"/>
                  <a:pt x="3283" y="222"/>
                </a:cubicBezTo>
                <a:cubicBezTo>
                  <a:pt x="3291" y="238"/>
                  <a:pt x="3299" y="238"/>
                  <a:pt x="3299" y="246"/>
                </a:cubicBezTo>
                <a:cubicBezTo>
                  <a:pt x="3299" y="254"/>
                  <a:pt x="3266" y="254"/>
                  <a:pt x="3266" y="262"/>
                </a:cubicBezTo>
                <a:cubicBezTo>
                  <a:pt x="3266" y="270"/>
                  <a:pt x="3258" y="277"/>
                  <a:pt x="3274" y="293"/>
                </a:cubicBezTo>
                <a:cubicBezTo>
                  <a:pt x="3291" y="301"/>
                  <a:pt x="3307" y="309"/>
                  <a:pt x="3307" y="309"/>
                </a:cubicBezTo>
                <a:cubicBezTo>
                  <a:pt x="3307" y="309"/>
                  <a:pt x="3323" y="333"/>
                  <a:pt x="3315" y="333"/>
                </a:cubicBezTo>
                <a:cubicBezTo>
                  <a:pt x="3315" y="341"/>
                  <a:pt x="3266" y="333"/>
                  <a:pt x="3266" y="341"/>
                </a:cubicBezTo>
                <a:lnTo>
                  <a:pt x="3266" y="373"/>
                </a:lnTo>
                <a:lnTo>
                  <a:pt x="3266" y="396"/>
                </a:lnTo>
                <a:cubicBezTo>
                  <a:pt x="3266" y="404"/>
                  <a:pt x="3234" y="404"/>
                  <a:pt x="3225" y="412"/>
                </a:cubicBezTo>
                <a:cubicBezTo>
                  <a:pt x="3209" y="420"/>
                  <a:pt x="3201" y="444"/>
                  <a:pt x="3201" y="460"/>
                </a:cubicBezTo>
                <a:cubicBezTo>
                  <a:pt x="3193" y="476"/>
                  <a:pt x="3193" y="492"/>
                  <a:pt x="3193" y="500"/>
                </a:cubicBezTo>
                <a:cubicBezTo>
                  <a:pt x="3193" y="507"/>
                  <a:pt x="3176" y="523"/>
                  <a:pt x="3176" y="523"/>
                </a:cubicBezTo>
                <a:cubicBezTo>
                  <a:pt x="3176" y="523"/>
                  <a:pt x="3176" y="531"/>
                  <a:pt x="3160" y="523"/>
                </a:cubicBezTo>
                <a:cubicBezTo>
                  <a:pt x="3144" y="523"/>
                  <a:pt x="3087" y="492"/>
                  <a:pt x="3078" y="492"/>
                </a:cubicBezTo>
                <a:cubicBezTo>
                  <a:pt x="3062" y="492"/>
                  <a:pt x="3046" y="500"/>
                  <a:pt x="3046" y="515"/>
                </a:cubicBezTo>
                <a:cubicBezTo>
                  <a:pt x="3046" y="523"/>
                  <a:pt x="3070" y="547"/>
                  <a:pt x="3078" y="547"/>
                </a:cubicBezTo>
                <a:cubicBezTo>
                  <a:pt x="3078" y="547"/>
                  <a:pt x="3119" y="555"/>
                  <a:pt x="3127" y="563"/>
                </a:cubicBezTo>
                <a:lnTo>
                  <a:pt x="3127" y="626"/>
                </a:lnTo>
                <a:cubicBezTo>
                  <a:pt x="3127" y="626"/>
                  <a:pt x="3160" y="690"/>
                  <a:pt x="3103" y="634"/>
                </a:cubicBezTo>
                <a:cubicBezTo>
                  <a:pt x="3038" y="579"/>
                  <a:pt x="3038" y="571"/>
                  <a:pt x="3029" y="563"/>
                </a:cubicBezTo>
                <a:cubicBezTo>
                  <a:pt x="3021" y="563"/>
                  <a:pt x="2964" y="547"/>
                  <a:pt x="2964" y="547"/>
                </a:cubicBezTo>
                <a:cubicBezTo>
                  <a:pt x="2964" y="547"/>
                  <a:pt x="2956" y="523"/>
                  <a:pt x="2948" y="547"/>
                </a:cubicBezTo>
                <a:cubicBezTo>
                  <a:pt x="2940" y="563"/>
                  <a:pt x="2964" y="603"/>
                  <a:pt x="2964" y="603"/>
                </a:cubicBezTo>
                <a:lnTo>
                  <a:pt x="2956" y="595"/>
                </a:lnTo>
                <a:cubicBezTo>
                  <a:pt x="2956" y="595"/>
                  <a:pt x="2931" y="579"/>
                  <a:pt x="2915" y="571"/>
                </a:cubicBezTo>
                <a:cubicBezTo>
                  <a:pt x="2907" y="555"/>
                  <a:pt x="2882" y="571"/>
                  <a:pt x="2882" y="571"/>
                </a:cubicBezTo>
                <a:cubicBezTo>
                  <a:pt x="2882" y="571"/>
                  <a:pt x="2874" y="579"/>
                  <a:pt x="2858" y="595"/>
                </a:cubicBezTo>
                <a:cubicBezTo>
                  <a:pt x="2850" y="603"/>
                  <a:pt x="2817" y="571"/>
                  <a:pt x="2850" y="611"/>
                </a:cubicBezTo>
                <a:cubicBezTo>
                  <a:pt x="2874" y="642"/>
                  <a:pt x="2899" y="650"/>
                  <a:pt x="2907" y="658"/>
                </a:cubicBezTo>
                <a:cubicBezTo>
                  <a:pt x="2907" y="658"/>
                  <a:pt x="2940" y="666"/>
                  <a:pt x="2948" y="674"/>
                </a:cubicBezTo>
                <a:cubicBezTo>
                  <a:pt x="2956" y="682"/>
                  <a:pt x="2956" y="706"/>
                  <a:pt x="2956" y="714"/>
                </a:cubicBezTo>
                <a:cubicBezTo>
                  <a:pt x="2956" y="714"/>
                  <a:pt x="2980" y="745"/>
                  <a:pt x="2940" y="722"/>
                </a:cubicBezTo>
                <a:cubicBezTo>
                  <a:pt x="2899" y="690"/>
                  <a:pt x="2899" y="682"/>
                  <a:pt x="2882" y="682"/>
                </a:cubicBezTo>
                <a:cubicBezTo>
                  <a:pt x="2874" y="682"/>
                  <a:pt x="2858" y="698"/>
                  <a:pt x="2858" y="698"/>
                </a:cubicBezTo>
                <a:cubicBezTo>
                  <a:pt x="2858" y="698"/>
                  <a:pt x="2809" y="690"/>
                  <a:pt x="2809" y="666"/>
                </a:cubicBezTo>
                <a:cubicBezTo>
                  <a:pt x="2801" y="642"/>
                  <a:pt x="2817" y="603"/>
                  <a:pt x="2784" y="611"/>
                </a:cubicBezTo>
                <a:cubicBezTo>
                  <a:pt x="2744" y="611"/>
                  <a:pt x="2736" y="626"/>
                  <a:pt x="2736" y="634"/>
                </a:cubicBezTo>
                <a:cubicBezTo>
                  <a:pt x="2736" y="642"/>
                  <a:pt x="2712" y="650"/>
                  <a:pt x="2736" y="674"/>
                </a:cubicBezTo>
                <a:cubicBezTo>
                  <a:pt x="2760" y="698"/>
                  <a:pt x="2776" y="714"/>
                  <a:pt x="2784" y="714"/>
                </a:cubicBezTo>
                <a:cubicBezTo>
                  <a:pt x="2784" y="714"/>
                  <a:pt x="2833" y="714"/>
                  <a:pt x="2809" y="722"/>
                </a:cubicBezTo>
                <a:cubicBezTo>
                  <a:pt x="2792" y="737"/>
                  <a:pt x="2760" y="737"/>
                  <a:pt x="2753" y="737"/>
                </a:cubicBezTo>
                <a:cubicBezTo>
                  <a:pt x="2744" y="737"/>
                  <a:pt x="2753" y="730"/>
                  <a:pt x="2744" y="737"/>
                </a:cubicBezTo>
                <a:cubicBezTo>
                  <a:pt x="2728" y="745"/>
                  <a:pt x="2687" y="785"/>
                  <a:pt x="2687" y="785"/>
                </a:cubicBezTo>
                <a:cubicBezTo>
                  <a:pt x="2687" y="785"/>
                  <a:pt x="2679" y="769"/>
                  <a:pt x="2679" y="761"/>
                </a:cubicBezTo>
                <a:cubicBezTo>
                  <a:pt x="2679" y="753"/>
                  <a:pt x="2712" y="737"/>
                  <a:pt x="2712" y="722"/>
                </a:cubicBezTo>
                <a:cubicBezTo>
                  <a:pt x="2712" y="706"/>
                  <a:pt x="2695" y="650"/>
                  <a:pt x="2695" y="650"/>
                </a:cubicBezTo>
                <a:lnTo>
                  <a:pt x="2663" y="634"/>
                </a:lnTo>
                <a:cubicBezTo>
                  <a:pt x="2655" y="626"/>
                  <a:pt x="2630" y="611"/>
                  <a:pt x="2622" y="618"/>
                </a:cubicBezTo>
                <a:cubicBezTo>
                  <a:pt x="2614" y="626"/>
                  <a:pt x="2597" y="650"/>
                  <a:pt x="2614" y="666"/>
                </a:cubicBezTo>
                <a:cubicBezTo>
                  <a:pt x="2630" y="690"/>
                  <a:pt x="2646" y="706"/>
                  <a:pt x="2638" y="706"/>
                </a:cubicBezTo>
                <a:cubicBezTo>
                  <a:pt x="2622" y="714"/>
                  <a:pt x="2614" y="722"/>
                  <a:pt x="2606" y="714"/>
                </a:cubicBezTo>
                <a:cubicBezTo>
                  <a:pt x="2597" y="714"/>
                  <a:pt x="2581" y="698"/>
                  <a:pt x="2557" y="706"/>
                </a:cubicBezTo>
                <a:cubicBezTo>
                  <a:pt x="2532" y="714"/>
                  <a:pt x="2508" y="761"/>
                  <a:pt x="2508" y="761"/>
                </a:cubicBezTo>
                <a:cubicBezTo>
                  <a:pt x="2508" y="761"/>
                  <a:pt x="2532" y="809"/>
                  <a:pt x="2540" y="817"/>
                </a:cubicBezTo>
                <a:cubicBezTo>
                  <a:pt x="2548" y="817"/>
                  <a:pt x="2557" y="833"/>
                  <a:pt x="2557" y="848"/>
                </a:cubicBezTo>
                <a:cubicBezTo>
                  <a:pt x="2548" y="864"/>
                  <a:pt x="2557" y="841"/>
                  <a:pt x="2540" y="848"/>
                </a:cubicBezTo>
                <a:cubicBezTo>
                  <a:pt x="2516" y="856"/>
                  <a:pt x="2508" y="864"/>
                  <a:pt x="2491" y="864"/>
                </a:cubicBezTo>
                <a:cubicBezTo>
                  <a:pt x="2475" y="864"/>
                  <a:pt x="2434" y="912"/>
                  <a:pt x="2434" y="912"/>
                </a:cubicBezTo>
                <a:lnTo>
                  <a:pt x="2459" y="944"/>
                </a:lnTo>
                <a:cubicBezTo>
                  <a:pt x="2459" y="944"/>
                  <a:pt x="2393" y="967"/>
                  <a:pt x="2377" y="975"/>
                </a:cubicBezTo>
                <a:cubicBezTo>
                  <a:pt x="2369" y="975"/>
                  <a:pt x="2401" y="967"/>
                  <a:pt x="2361" y="975"/>
                </a:cubicBezTo>
                <a:cubicBezTo>
                  <a:pt x="2328" y="991"/>
                  <a:pt x="2303" y="1023"/>
                  <a:pt x="2295" y="1039"/>
                </a:cubicBezTo>
                <a:cubicBezTo>
                  <a:pt x="2295" y="1047"/>
                  <a:pt x="2263" y="1047"/>
                  <a:pt x="2263" y="1071"/>
                </a:cubicBezTo>
                <a:cubicBezTo>
                  <a:pt x="2263" y="1086"/>
                  <a:pt x="2271" y="1118"/>
                  <a:pt x="2263" y="1126"/>
                </a:cubicBezTo>
                <a:lnTo>
                  <a:pt x="2263" y="1150"/>
                </a:lnTo>
                <a:cubicBezTo>
                  <a:pt x="2263" y="1166"/>
                  <a:pt x="2254" y="1182"/>
                  <a:pt x="2279" y="1182"/>
                </a:cubicBezTo>
                <a:cubicBezTo>
                  <a:pt x="2303" y="1182"/>
                  <a:pt x="2336" y="1166"/>
                  <a:pt x="2344" y="1158"/>
                </a:cubicBezTo>
                <a:cubicBezTo>
                  <a:pt x="2344" y="1150"/>
                  <a:pt x="2352" y="1118"/>
                  <a:pt x="2361" y="1134"/>
                </a:cubicBezTo>
                <a:cubicBezTo>
                  <a:pt x="2377" y="1142"/>
                  <a:pt x="2377" y="1174"/>
                  <a:pt x="2377" y="1174"/>
                </a:cubicBezTo>
                <a:lnTo>
                  <a:pt x="2377" y="1213"/>
                </a:lnTo>
                <a:cubicBezTo>
                  <a:pt x="2369" y="1229"/>
                  <a:pt x="2426" y="1213"/>
                  <a:pt x="2369" y="1237"/>
                </a:cubicBezTo>
                <a:cubicBezTo>
                  <a:pt x="2312" y="1269"/>
                  <a:pt x="2295" y="1269"/>
                  <a:pt x="2295" y="1277"/>
                </a:cubicBezTo>
                <a:cubicBezTo>
                  <a:pt x="2295" y="1293"/>
                  <a:pt x="2328" y="1332"/>
                  <a:pt x="2287" y="1316"/>
                </a:cubicBezTo>
                <a:cubicBezTo>
                  <a:pt x="2246" y="1308"/>
                  <a:pt x="2246" y="1316"/>
                  <a:pt x="2246" y="1308"/>
                </a:cubicBezTo>
                <a:cubicBezTo>
                  <a:pt x="2238" y="1300"/>
                  <a:pt x="2254" y="1348"/>
                  <a:pt x="2205" y="1277"/>
                </a:cubicBezTo>
                <a:cubicBezTo>
                  <a:pt x="2156" y="1205"/>
                  <a:pt x="2156" y="1213"/>
                  <a:pt x="2156" y="1197"/>
                </a:cubicBezTo>
                <a:cubicBezTo>
                  <a:pt x="2156" y="1182"/>
                  <a:pt x="2148" y="1126"/>
                  <a:pt x="2148" y="1126"/>
                </a:cubicBezTo>
                <a:cubicBezTo>
                  <a:pt x="2148" y="1126"/>
                  <a:pt x="2140" y="1071"/>
                  <a:pt x="2115" y="1094"/>
                </a:cubicBezTo>
                <a:cubicBezTo>
                  <a:pt x="2083" y="1118"/>
                  <a:pt x="2083" y="1158"/>
                  <a:pt x="2083" y="1158"/>
                </a:cubicBezTo>
                <a:cubicBezTo>
                  <a:pt x="2083" y="1158"/>
                  <a:pt x="2042" y="1197"/>
                  <a:pt x="2034" y="1205"/>
                </a:cubicBezTo>
                <a:cubicBezTo>
                  <a:pt x="2026" y="1205"/>
                  <a:pt x="2009" y="1205"/>
                  <a:pt x="1985" y="1221"/>
                </a:cubicBezTo>
                <a:cubicBezTo>
                  <a:pt x="1968" y="1245"/>
                  <a:pt x="1911" y="1324"/>
                  <a:pt x="1911" y="1324"/>
                </a:cubicBezTo>
                <a:cubicBezTo>
                  <a:pt x="1911" y="1324"/>
                  <a:pt x="1879" y="1380"/>
                  <a:pt x="1887" y="1396"/>
                </a:cubicBezTo>
                <a:cubicBezTo>
                  <a:pt x="1895" y="1412"/>
                  <a:pt x="1919" y="1435"/>
                  <a:pt x="1919" y="1435"/>
                </a:cubicBezTo>
                <a:cubicBezTo>
                  <a:pt x="1919" y="1435"/>
                  <a:pt x="1928" y="1427"/>
                  <a:pt x="1928" y="1451"/>
                </a:cubicBezTo>
                <a:cubicBezTo>
                  <a:pt x="1928" y="1475"/>
                  <a:pt x="1968" y="1483"/>
                  <a:pt x="1968" y="1483"/>
                </a:cubicBezTo>
                <a:cubicBezTo>
                  <a:pt x="1968" y="1483"/>
                  <a:pt x="1985" y="1491"/>
                  <a:pt x="1968" y="1507"/>
                </a:cubicBezTo>
                <a:cubicBezTo>
                  <a:pt x="1944" y="1523"/>
                  <a:pt x="1879" y="1531"/>
                  <a:pt x="1879" y="1531"/>
                </a:cubicBezTo>
                <a:lnTo>
                  <a:pt x="1813" y="1531"/>
                </a:lnTo>
                <a:cubicBezTo>
                  <a:pt x="1813" y="1531"/>
                  <a:pt x="1780" y="1570"/>
                  <a:pt x="1772" y="1570"/>
                </a:cubicBezTo>
                <a:cubicBezTo>
                  <a:pt x="1756" y="1578"/>
                  <a:pt x="1731" y="1594"/>
                  <a:pt x="1723" y="1618"/>
                </a:cubicBezTo>
                <a:cubicBezTo>
                  <a:pt x="1723" y="1634"/>
                  <a:pt x="1650" y="1697"/>
                  <a:pt x="1650" y="1697"/>
                </a:cubicBezTo>
                <a:lnTo>
                  <a:pt x="1650" y="1729"/>
                </a:lnTo>
                <a:cubicBezTo>
                  <a:pt x="1650" y="1737"/>
                  <a:pt x="1617" y="1753"/>
                  <a:pt x="1633" y="1760"/>
                </a:cubicBezTo>
                <a:cubicBezTo>
                  <a:pt x="1650" y="1768"/>
                  <a:pt x="1674" y="1776"/>
                  <a:pt x="1691" y="1745"/>
                </a:cubicBezTo>
                <a:cubicBezTo>
                  <a:pt x="1707" y="1721"/>
                  <a:pt x="1707" y="1681"/>
                  <a:pt x="1707" y="1681"/>
                </a:cubicBezTo>
                <a:cubicBezTo>
                  <a:pt x="1707" y="1681"/>
                  <a:pt x="1723" y="1665"/>
                  <a:pt x="1740" y="1665"/>
                </a:cubicBezTo>
                <a:cubicBezTo>
                  <a:pt x="1764" y="1665"/>
                  <a:pt x="1789" y="1642"/>
                  <a:pt x="1813" y="1634"/>
                </a:cubicBezTo>
                <a:cubicBezTo>
                  <a:pt x="1838" y="1634"/>
                  <a:pt x="1870" y="1594"/>
                  <a:pt x="1879" y="1594"/>
                </a:cubicBezTo>
                <a:cubicBezTo>
                  <a:pt x="1895" y="1594"/>
                  <a:pt x="1887" y="1602"/>
                  <a:pt x="1919" y="1594"/>
                </a:cubicBezTo>
                <a:cubicBezTo>
                  <a:pt x="1952" y="1594"/>
                  <a:pt x="1985" y="1594"/>
                  <a:pt x="1993" y="1586"/>
                </a:cubicBezTo>
                <a:cubicBezTo>
                  <a:pt x="2009" y="1578"/>
                  <a:pt x="2075" y="1618"/>
                  <a:pt x="2083" y="1626"/>
                </a:cubicBezTo>
                <a:cubicBezTo>
                  <a:pt x="2083" y="1634"/>
                  <a:pt x="2026" y="1642"/>
                  <a:pt x="2050" y="1657"/>
                </a:cubicBezTo>
                <a:cubicBezTo>
                  <a:pt x="2083" y="1673"/>
                  <a:pt x="2083" y="1681"/>
                  <a:pt x="2091" y="1681"/>
                </a:cubicBezTo>
                <a:cubicBezTo>
                  <a:pt x="2099" y="1681"/>
                  <a:pt x="2115" y="1673"/>
                  <a:pt x="2140" y="1665"/>
                </a:cubicBezTo>
                <a:cubicBezTo>
                  <a:pt x="2156" y="1649"/>
                  <a:pt x="2124" y="1626"/>
                  <a:pt x="2173" y="1642"/>
                </a:cubicBezTo>
                <a:cubicBezTo>
                  <a:pt x="2213" y="1657"/>
                  <a:pt x="2213" y="1673"/>
                  <a:pt x="2213" y="1673"/>
                </a:cubicBezTo>
                <a:lnTo>
                  <a:pt x="2205" y="1689"/>
                </a:lnTo>
                <a:lnTo>
                  <a:pt x="2173" y="1697"/>
                </a:lnTo>
                <a:lnTo>
                  <a:pt x="2124" y="1689"/>
                </a:lnTo>
                <a:lnTo>
                  <a:pt x="2091" y="1705"/>
                </a:lnTo>
                <a:cubicBezTo>
                  <a:pt x="2091" y="1705"/>
                  <a:pt x="2083" y="1713"/>
                  <a:pt x="2075" y="1713"/>
                </a:cubicBezTo>
                <a:lnTo>
                  <a:pt x="2001" y="1721"/>
                </a:lnTo>
                <a:lnTo>
                  <a:pt x="1968" y="1768"/>
                </a:lnTo>
                <a:lnTo>
                  <a:pt x="1993" y="1800"/>
                </a:lnTo>
                <a:cubicBezTo>
                  <a:pt x="2001" y="1800"/>
                  <a:pt x="2050" y="1784"/>
                  <a:pt x="2050" y="1792"/>
                </a:cubicBezTo>
                <a:cubicBezTo>
                  <a:pt x="2058" y="1792"/>
                  <a:pt x="2066" y="1808"/>
                  <a:pt x="2058" y="1816"/>
                </a:cubicBezTo>
                <a:cubicBezTo>
                  <a:pt x="2058" y="1824"/>
                  <a:pt x="2026" y="1848"/>
                  <a:pt x="2026" y="1848"/>
                </a:cubicBezTo>
                <a:lnTo>
                  <a:pt x="2009" y="1879"/>
                </a:lnTo>
                <a:cubicBezTo>
                  <a:pt x="2009" y="1879"/>
                  <a:pt x="2042" y="1887"/>
                  <a:pt x="2050" y="1887"/>
                </a:cubicBezTo>
                <a:cubicBezTo>
                  <a:pt x="2050" y="1887"/>
                  <a:pt x="2099" y="1887"/>
                  <a:pt x="2091" y="1895"/>
                </a:cubicBezTo>
                <a:lnTo>
                  <a:pt x="2017" y="1903"/>
                </a:lnTo>
                <a:cubicBezTo>
                  <a:pt x="2017" y="1903"/>
                  <a:pt x="1952" y="1895"/>
                  <a:pt x="1960" y="1895"/>
                </a:cubicBezTo>
                <a:cubicBezTo>
                  <a:pt x="1960" y="1903"/>
                  <a:pt x="1952" y="1919"/>
                  <a:pt x="1952" y="1927"/>
                </a:cubicBezTo>
                <a:lnTo>
                  <a:pt x="1936" y="1951"/>
                </a:lnTo>
                <a:cubicBezTo>
                  <a:pt x="1928" y="1951"/>
                  <a:pt x="1911" y="1951"/>
                  <a:pt x="1903" y="1959"/>
                </a:cubicBezTo>
                <a:cubicBezTo>
                  <a:pt x="1903" y="1967"/>
                  <a:pt x="1895" y="1983"/>
                  <a:pt x="1895" y="1998"/>
                </a:cubicBezTo>
                <a:cubicBezTo>
                  <a:pt x="1895" y="2006"/>
                  <a:pt x="1919" y="2030"/>
                  <a:pt x="1919" y="2030"/>
                </a:cubicBezTo>
                <a:lnTo>
                  <a:pt x="1911" y="2046"/>
                </a:lnTo>
                <a:lnTo>
                  <a:pt x="1879" y="2078"/>
                </a:lnTo>
                <a:cubicBezTo>
                  <a:pt x="1879" y="2078"/>
                  <a:pt x="1862" y="2086"/>
                  <a:pt x="1862" y="2094"/>
                </a:cubicBezTo>
                <a:cubicBezTo>
                  <a:pt x="1870" y="2094"/>
                  <a:pt x="1838" y="2109"/>
                  <a:pt x="1838" y="2109"/>
                </a:cubicBezTo>
                <a:lnTo>
                  <a:pt x="1780" y="2141"/>
                </a:lnTo>
                <a:cubicBezTo>
                  <a:pt x="1780" y="2141"/>
                  <a:pt x="1789" y="2165"/>
                  <a:pt x="1789" y="2173"/>
                </a:cubicBezTo>
                <a:cubicBezTo>
                  <a:pt x="1789" y="2173"/>
                  <a:pt x="1813" y="2189"/>
                  <a:pt x="1797" y="2205"/>
                </a:cubicBezTo>
                <a:cubicBezTo>
                  <a:pt x="1780" y="2213"/>
                  <a:pt x="1764" y="2220"/>
                  <a:pt x="1756" y="2228"/>
                </a:cubicBezTo>
                <a:cubicBezTo>
                  <a:pt x="1756" y="2228"/>
                  <a:pt x="1740" y="2236"/>
                  <a:pt x="1740" y="2260"/>
                </a:cubicBezTo>
                <a:cubicBezTo>
                  <a:pt x="1748" y="2276"/>
                  <a:pt x="1731" y="2300"/>
                  <a:pt x="1723" y="2300"/>
                </a:cubicBezTo>
                <a:cubicBezTo>
                  <a:pt x="1723" y="2300"/>
                  <a:pt x="1707" y="2308"/>
                  <a:pt x="1707" y="2332"/>
                </a:cubicBezTo>
                <a:cubicBezTo>
                  <a:pt x="1715" y="2347"/>
                  <a:pt x="1707" y="2403"/>
                  <a:pt x="1707" y="2403"/>
                </a:cubicBezTo>
                <a:cubicBezTo>
                  <a:pt x="1707" y="2403"/>
                  <a:pt x="1731" y="2435"/>
                  <a:pt x="1740" y="2435"/>
                </a:cubicBezTo>
                <a:cubicBezTo>
                  <a:pt x="1740" y="2435"/>
                  <a:pt x="1780" y="2419"/>
                  <a:pt x="1789" y="2427"/>
                </a:cubicBezTo>
                <a:cubicBezTo>
                  <a:pt x="1805" y="2427"/>
                  <a:pt x="1829" y="2443"/>
                  <a:pt x="1829" y="2443"/>
                </a:cubicBezTo>
                <a:cubicBezTo>
                  <a:pt x="1829" y="2443"/>
                  <a:pt x="1821" y="2482"/>
                  <a:pt x="1813" y="2490"/>
                </a:cubicBezTo>
                <a:cubicBezTo>
                  <a:pt x="1805" y="2490"/>
                  <a:pt x="1756" y="2498"/>
                  <a:pt x="1756" y="2498"/>
                </a:cubicBezTo>
                <a:cubicBezTo>
                  <a:pt x="1756" y="2498"/>
                  <a:pt x="1731" y="2482"/>
                  <a:pt x="1723" y="2482"/>
                </a:cubicBezTo>
                <a:cubicBezTo>
                  <a:pt x="1715" y="2490"/>
                  <a:pt x="1674" y="2530"/>
                  <a:pt x="1674" y="2530"/>
                </a:cubicBezTo>
                <a:cubicBezTo>
                  <a:pt x="1674" y="2530"/>
                  <a:pt x="1674" y="2554"/>
                  <a:pt x="1666" y="2554"/>
                </a:cubicBezTo>
                <a:cubicBezTo>
                  <a:pt x="1650" y="2562"/>
                  <a:pt x="1642" y="2546"/>
                  <a:pt x="1642" y="2562"/>
                </a:cubicBezTo>
                <a:lnTo>
                  <a:pt x="1642" y="2601"/>
                </a:lnTo>
                <a:lnTo>
                  <a:pt x="1642" y="2641"/>
                </a:lnTo>
                <a:cubicBezTo>
                  <a:pt x="1642" y="2641"/>
                  <a:pt x="1625" y="2673"/>
                  <a:pt x="1617" y="2688"/>
                </a:cubicBezTo>
                <a:cubicBezTo>
                  <a:pt x="1609" y="2704"/>
                  <a:pt x="1593" y="2744"/>
                  <a:pt x="1593" y="2752"/>
                </a:cubicBezTo>
                <a:cubicBezTo>
                  <a:pt x="1601" y="2760"/>
                  <a:pt x="1617" y="2799"/>
                  <a:pt x="1617" y="2799"/>
                </a:cubicBezTo>
                <a:lnTo>
                  <a:pt x="1560" y="2831"/>
                </a:lnTo>
                <a:lnTo>
                  <a:pt x="1576" y="2871"/>
                </a:lnTo>
                <a:cubicBezTo>
                  <a:pt x="1576" y="2871"/>
                  <a:pt x="1584" y="2871"/>
                  <a:pt x="1584" y="2879"/>
                </a:cubicBezTo>
                <a:cubicBezTo>
                  <a:pt x="1584" y="2895"/>
                  <a:pt x="1544" y="2918"/>
                  <a:pt x="1544" y="2918"/>
                </a:cubicBezTo>
                <a:lnTo>
                  <a:pt x="1544" y="2966"/>
                </a:lnTo>
                <a:cubicBezTo>
                  <a:pt x="1544" y="2974"/>
                  <a:pt x="1503" y="2942"/>
                  <a:pt x="1503" y="2942"/>
                </a:cubicBezTo>
                <a:lnTo>
                  <a:pt x="1470" y="2950"/>
                </a:lnTo>
                <a:lnTo>
                  <a:pt x="1470" y="2982"/>
                </a:lnTo>
                <a:lnTo>
                  <a:pt x="1454" y="3014"/>
                </a:lnTo>
                <a:lnTo>
                  <a:pt x="1397" y="3014"/>
                </a:lnTo>
                <a:lnTo>
                  <a:pt x="1347" y="3045"/>
                </a:lnTo>
                <a:cubicBezTo>
                  <a:pt x="1356" y="3053"/>
                  <a:pt x="1331" y="3077"/>
                  <a:pt x="1356" y="3077"/>
                </a:cubicBezTo>
                <a:lnTo>
                  <a:pt x="1388" y="3077"/>
                </a:lnTo>
                <a:cubicBezTo>
                  <a:pt x="1405" y="3069"/>
                  <a:pt x="1437" y="3053"/>
                  <a:pt x="1446" y="3053"/>
                </a:cubicBezTo>
                <a:cubicBezTo>
                  <a:pt x="1454" y="3053"/>
                  <a:pt x="1478" y="3053"/>
                  <a:pt x="1462" y="3069"/>
                </a:cubicBezTo>
                <a:cubicBezTo>
                  <a:pt x="1446" y="3085"/>
                  <a:pt x="1429" y="3085"/>
                  <a:pt x="1421" y="3093"/>
                </a:cubicBezTo>
                <a:cubicBezTo>
                  <a:pt x="1405" y="3101"/>
                  <a:pt x="1380" y="3101"/>
                  <a:pt x="1380" y="3125"/>
                </a:cubicBezTo>
                <a:cubicBezTo>
                  <a:pt x="1380" y="3148"/>
                  <a:pt x="1372" y="3172"/>
                  <a:pt x="1372" y="3172"/>
                </a:cubicBezTo>
                <a:lnTo>
                  <a:pt x="1429" y="3156"/>
                </a:lnTo>
                <a:cubicBezTo>
                  <a:pt x="1429" y="3156"/>
                  <a:pt x="1446" y="3148"/>
                  <a:pt x="1446" y="3172"/>
                </a:cubicBezTo>
                <a:cubicBezTo>
                  <a:pt x="1454" y="3204"/>
                  <a:pt x="1429" y="3212"/>
                  <a:pt x="1413" y="3212"/>
                </a:cubicBezTo>
                <a:cubicBezTo>
                  <a:pt x="1405" y="3212"/>
                  <a:pt x="1364" y="3180"/>
                  <a:pt x="1364" y="3180"/>
                </a:cubicBezTo>
                <a:lnTo>
                  <a:pt x="1331" y="3204"/>
                </a:lnTo>
                <a:cubicBezTo>
                  <a:pt x="1331" y="3204"/>
                  <a:pt x="1323" y="3196"/>
                  <a:pt x="1290" y="3220"/>
                </a:cubicBezTo>
                <a:cubicBezTo>
                  <a:pt x="1258" y="3251"/>
                  <a:pt x="1241" y="3291"/>
                  <a:pt x="1241" y="3299"/>
                </a:cubicBezTo>
                <a:cubicBezTo>
                  <a:pt x="1241" y="3307"/>
                  <a:pt x="1241" y="3323"/>
                  <a:pt x="1217" y="3339"/>
                </a:cubicBezTo>
                <a:cubicBezTo>
                  <a:pt x="1200" y="3347"/>
                  <a:pt x="1176" y="3370"/>
                  <a:pt x="1176" y="3370"/>
                </a:cubicBezTo>
                <a:cubicBezTo>
                  <a:pt x="1176" y="3370"/>
                  <a:pt x="1168" y="3394"/>
                  <a:pt x="1160" y="3410"/>
                </a:cubicBezTo>
                <a:lnTo>
                  <a:pt x="1151" y="3426"/>
                </a:lnTo>
                <a:lnTo>
                  <a:pt x="1184" y="3458"/>
                </a:lnTo>
                <a:lnTo>
                  <a:pt x="1127" y="3489"/>
                </a:lnTo>
                <a:lnTo>
                  <a:pt x="1102" y="3505"/>
                </a:lnTo>
                <a:cubicBezTo>
                  <a:pt x="1102" y="3505"/>
                  <a:pt x="1053" y="3553"/>
                  <a:pt x="1086" y="3561"/>
                </a:cubicBezTo>
                <a:cubicBezTo>
                  <a:pt x="1127" y="3569"/>
                  <a:pt x="1151" y="3569"/>
                  <a:pt x="1151" y="3569"/>
                </a:cubicBezTo>
                <a:cubicBezTo>
                  <a:pt x="1151" y="3569"/>
                  <a:pt x="1143" y="3616"/>
                  <a:pt x="1151" y="3616"/>
                </a:cubicBezTo>
                <a:lnTo>
                  <a:pt x="1233" y="3616"/>
                </a:lnTo>
                <a:lnTo>
                  <a:pt x="1274" y="3585"/>
                </a:lnTo>
                <a:lnTo>
                  <a:pt x="1298" y="3569"/>
                </a:lnTo>
                <a:lnTo>
                  <a:pt x="1315" y="3600"/>
                </a:lnTo>
                <a:cubicBezTo>
                  <a:pt x="1315" y="3600"/>
                  <a:pt x="1298" y="3624"/>
                  <a:pt x="1282" y="3624"/>
                </a:cubicBezTo>
                <a:cubicBezTo>
                  <a:pt x="1258" y="3624"/>
                  <a:pt x="1266" y="3624"/>
                  <a:pt x="1249" y="3640"/>
                </a:cubicBezTo>
                <a:cubicBezTo>
                  <a:pt x="1225" y="3664"/>
                  <a:pt x="1217" y="3672"/>
                  <a:pt x="1200" y="3672"/>
                </a:cubicBezTo>
                <a:cubicBezTo>
                  <a:pt x="1192" y="3672"/>
                  <a:pt x="1176" y="3696"/>
                  <a:pt x="1160" y="3664"/>
                </a:cubicBezTo>
                <a:cubicBezTo>
                  <a:pt x="1151" y="3640"/>
                  <a:pt x="1135" y="3616"/>
                  <a:pt x="1135" y="3616"/>
                </a:cubicBezTo>
                <a:lnTo>
                  <a:pt x="1062" y="3585"/>
                </a:lnTo>
                <a:lnTo>
                  <a:pt x="1045" y="3593"/>
                </a:lnTo>
                <a:cubicBezTo>
                  <a:pt x="1045" y="3593"/>
                  <a:pt x="1037" y="3624"/>
                  <a:pt x="1029" y="3624"/>
                </a:cubicBezTo>
                <a:lnTo>
                  <a:pt x="955" y="3624"/>
                </a:lnTo>
                <a:cubicBezTo>
                  <a:pt x="947" y="3624"/>
                  <a:pt x="931" y="3624"/>
                  <a:pt x="931" y="3616"/>
                </a:cubicBezTo>
                <a:cubicBezTo>
                  <a:pt x="923" y="3600"/>
                  <a:pt x="931" y="3600"/>
                  <a:pt x="923" y="3593"/>
                </a:cubicBezTo>
                <a:cubicBezTo>
                  <a:pt x="915" y="3585"/>
                  <a:pt x="898" y="3553"/>
                  <a:pt x="882" y="3561"/>
                </a:cubicBezTo>
                <a:cubicBezTo>
                  <a:pt x="874" y="3561"/>
                  <a:pt x="833" y="3577"/>
                  <a:pt x="833" y="3577"/>
                </a:cubicBezTo>
                <a:lnTo>
                  <a:pt x="825" y="3640"/>
                </a:lnTo>
                <a:cubicBezTo>
                  <a:pt x="825" y="3640"/>
                  <a:pt x="800" y="3640"/>
                  <a:pt x="808" y="3656"/>
                </a:cubicBezTo>
                <a:cubicBezTo>
                  <a:pt x="808" y="3672"/>
                  <a:pt x="841" y="3688"/>
                  <a:pt x="841" y="3688"/>
                </a:cubicBezTo>
                <a:cubicBezTo>
                  <a:pt x="841" y="3688"/>
                  <a:pt x="857" y="3704"/>
                  <a:pt x="857" y="3711"/>
                </a:cubicBezTo>
                <a:cubicBezTo>
                  <a:pt x="866" y="3727"/>
                  <a:pt x="841" y="3743"/>
                  <a:pt x="841" y="3743"/>
                </a:cubicBezTo>
                <a:cubicBezTo>
                  <a:pt x="841" y="3743"/>
                  <a:pt x="800" y="3743"/>
                  <a:pt x="792" y="3759"/>
                </a:cubicBezTo>
                <a:cubicBezTo>
                  <a:pt x="792" y="3767"/>
                  <a:pt x="800" y="3791"/>
                  <a:pt x="792" y="3791"/>
                </a:cubicBezTo>
                <a:cubicBezTo>
                  <a:pt x="784" y="3799"/>
                  <a:pt x="776" y="3815"/>
                  <a:pt x="776" y="3823"/>
                </a:cubicBezTo>
                <a:lnTo>
                  <a:pt x="792" y="3862"/>
                </a:lnTo>
                <a:cubicBezTo>
                  <a:pt x="792" y="3862"/>
                  <a:pt x="792" y="3894"/>
                  <a:pt x="776" y="3878"/>
                </a:cubicBezTo>
                <a:cubicBezTo>
                  <a:pt x="759" y="3862"/>
                  <a:pt x="710" y="3838"/>
                  <a:pt x="710" y="3838"/>
                </a:cubicBezTo>
                <a:lnTo>
                  <a:pt x="678" y="3815"/>
                </a:lnTo>
                <a:cubicBezTo>
                  <a:pt x="678" y="3815"/>
                  <a:pt x="645" y="3838"/>
                  <a:pt x="637" y="3838"/>
                </a:cubicBezTo>
                <a:cubicBezTo>
                  <a:pt x="637" y="3846"/>
                  <a:pt x="580" y="3838"/>
                  <a:pt x="563" y="3846"/>
                </a:cubicBezTo>
                <a:cubicBezTo>
                  <a:pt x="555" y="3854"/>
                  <a:pt x="555" y="3862"/>
                  <a:pt x="547" y="3878"/>
                </a:cubicBezTo>
                <a:cubicBezTo>
                  <a:pt x="531" y="3894"/>
                  <a:pt x="506" y="3894"/>
                  <a:pt x="531" y="3918"/>
                </a:cubicBezTo>
                <a:cubicBezTo>
                  <a:pt x="547" y="3941"/>
                  <a:pt x="588" y="3949"/>
                  <a:pt x="588" y="3949"/>
                </a:cubicBezTo>
                <a:cubicBezTo>
                  <a:pt x="588" y="3949"/>
                  <a:pt x="604" y="3957"/>
                  <a:pt x="588" y="3981"/>
                </a:cubicBezTo>
                <a:cubicBezTo>
                  <a:pt x="571" y="4013"/>
                  <a:pt x="539" y="3989"/>
                  <a:pt x="531" y="3989"/>
                </a:cubicBezTo>
                <a:cubicBezTo>
                  <a:pt x="522" y="3981"/>
                  <a:pt x="490" y="3957"/>
                  <a:pt x="482" y="3965"/>
                </a:cubicBezTo>
                <a:cubicBezTo>
                  <a:pt x="473" y="3973"/>
                  <a:pt x="449" y="4013"/>
                  <a:pt x="449" y="4013"/>
                </a:cubicBezTo>
                <a:cubicBezTo>
                  <a:pt x="449" y="4013"/>
                  <a:pt x="424" y="4021"/>
                  <a:pt x="416" y="4013"/>
                </a:cubicBezTo>
                <a:cubicBezTo>
                  <a:pt x="408" y="4013"/>
                  <a:pt x="384" y="3973"/>
                  <a:pt x="375" y="3981"/>
                </a:cubicBezTo>
                <a:cubicBezTo>
                  <a:pt x="367" y="3989"/>
                  <a:pt x="359" y="4005"/>
                  <a:pt x="359" y="4013"/>
                </a:cubicBezTo>
                <a:cubicBezTo>
                  <a:pt x="359" y="4021"/>
                  <a:pt x="375" y="4037"/>
                  <a:pt x="367" y="4045"/>
                </a:cubicBezTo>
                <a:cubicBezTo>
                  <a:pt x="367" y="4053"/>
                  <a:pt x="326" y="4060"/>
                  <a:pt x="318" y="4068"/>
                </a:cubicBezTo>
                <a:cubicBezTo>
                  <a:pt x="318" y="4076"/>
                  <a:pt x="318" y="4060"/>
                  <a:pt x="302" y="4092"/>
                </a:cubicBezTo>
                <a:cubicBezTo>
                  <a:pt x="294" y="4124"/>
                  <a:pt x="302" y="4124"/>
                  <a:pt x="294" y="4124"/>
                </a:cubicBezTo>
                <a:cubicBezTo>
                  <a:pt x="277" y="4132"/>
                  <a:pt x="245" y="4108"/>
                  <a:pt x="245" y="4108"/>
                </a:cubicBezTo>
                <a:cubicBezTo>
                  <a:pt x="245" y="4108"/>
                  <a:pt x="220" y="4084"/>
                  <a:pt x="220" y="4108"/>
                </a:cubicBezTo>
                <a:cubicBezTo>
                  <a:pt x="220" y="4140"/>
                  <a:pt x="212" y="4171"/>
                  <a:pt x="212" y="4171"/>
                </a:cubicBezTo>
                <a:lnTo>
                  <a:pt x="236" y="4187"/>
                </a:lnTo>
                <a:cubicBezTo>
                  <a:pt x="236" y="4187"/>
                  <a:pt x="228" y="4203"/>
                  <a:pt x="220" y="4203"/>
                </a:cubicBezTo>
                <a:cubicBezTo>
                  <a:pt x="220" y="4203"/>
                  <a:pt x="204" y="4195"/>
                  <a:pt x="196" y="4179"/>
                </a:cubicBezTo>
                <a:cubicBezTo>
                  <a:pt x="187" y="4171"/>
                  <a:pt x="196" y="4171"/>
                  <a:pt x="171" y="4164"/>
                </a:cubicBezTo>
                <a:cubicBezTo>
                  <a:pt x="147" y="4156"/>
                  <a:pt x="130" y="4140"/>
                  <a:pt x="130" y="4156"/>
                </a:cubicBezTo>
                <a:cubicBezTo>
                  <a:pt x="130" y="4164"/>
                  <a:pt x="122" y="4179"/>
                  <a:pt x="130" y="4187"/>
                </a:cubicBezTo>
                <a:cubicBezTo>
                  <a:pt x="138" y="4203"/>
                  <a:pt x="155" y="4219"/>
                  <a:pt x="155" y="4219"/>
                </a:cubicBezTo>
                <a:lnTo>
                  <a:pt x="163" y="4219"/>
                </a:lnTo>
                <a:cubicBezTo>
                  <a:pt x="163" y="4219"/>
                  <a:pt x="155" y="4243"/>
                  <a:pt x="147" y="4243"/>
                </a:cubicBezTo>
                <a:cubicBezTo>
                  <a:pt x="138" y="4251"/>
                  <a:pt x="130" y="4235"/>
                  <a:pt x="122" y="4235"/>
                </a:cubicBezTo>
                <a:lnTo>
                  <a:pt x="98" y="4251"/>
                </a:lnTo>
                <a:cubicBezTo>
                  <a:pt x="98" y="4251"/>
                  <a:pt x="106" y="4267"/>
                  <a:pt x="106" y="4275"/>
                </a:cubicBezTo>
                <a:cubicBezTo>
                  <a:pt x="106" y="4283"/>
                  <a:pt x="81" y="4290"/>
                  <a:pt x="81" y="4298"/>
                </a:cubicBezTo>
                <a:cubicBezTo>
                  <a:pt x="73" y="4298"/>
                  <a:pt x="65" y="4306"/>
                  <a:pt x="65" y="4314"/>
                </a:cubicBezTo>
                <a:cubicBezTo>
                  <a:pt x="65" y="4322"/>
                  <a:pt x="73" y="4346"/>
                  <a:pt x="81" y="4338"/>
                </a:cubicBezTo>
                <a:cubicBezTo>
                  <a:pt x="89" y="4338"/>
                  <a:pt x="130" y="4346"/>
                  <a:pt x="130" y="4346"/>
                </a:cubicBezTo>
                <a:cubicBezTo>
                  <a:pt x="130" y="4346"/>
                  <a:pt x="122" y="4362"/>
                  <a:pt x="114" y="4370"/>
                </a:cubicBezTo>
                <a:cubicBezTo>
                  <a:pt x="106" y="4370"/>
                  <a:pt x="98" y="4386"/>
                  <a:pt x="89" y="4394"/>
                </a:cubicBezTo>
                <a:cubicBezTo>
                  <a:pt x="81" y="4409"/>
                  <a:pt x="98" y="4441"/>
                  <a:pt x="114" y="4449"/>
                </a:cubicBezTo>
                <a:cubicBezTo>
                  <a:pt x="138" y="4457"/>
                  <a:pt x="163" y="4457"/>
                  <a:pt x="163" y="4473"/>
                </a:cubicBezTo>
                <a:cubicBezTo>
                  <a:pt x="155" y="4481"/>
                  <a:pt x="114" y="4513"/>
                  <a:pt x="106" y="4520"/>
                </a:cubicBezTo>
                <a:cubicBezTo>
                  <a:pt x="98" y="4520"/>
                  <a:pt x="81" y="4528"/>
                  <a:pt x="81" y="4544"/>
                </a:cubicBezTo>
                <a:cubicBezTo>
                  <a:pt x="81" y="4560"/>
                  <a:pt x="81" y="4568"/>
                  <a:pt x="65" y="4576"/>
                </a:cubicBezTo>
                <a:cubicBezTo>
                  <a:pt x="49" y="4584"/>
                  <a:pt x="40" y="4576"/>
                  <a:pt x="40" y="4600"/>
                </a:cubicBezTo>
                <a:cubicBezTo>
                  <a:pt x="40" y="4616"/>
                  <a:pt x="49" y="4624"/>
                  <a:pt x="57" y="4624"/>
                </a:cubicBezTo>
                <a:lnTo>
                  <a:pt x="65" y="4624"/>
                </a:lnTo>
                <a:lnTo>
                  <a:pt x="130" y="4616"/>
                </a:lnTo>
                <a:cubicBezTo>
                  <a:pt x="130" y="4616"/>
                  <a:pt x="122" y="4639"/>
                  <a:pt x="122" y="4647"/>
                </a:cubicBezTo>
                <a:cubicBezTo>
                  <a:pt x="122" y="4655"/>
                  <a:pt x="73" y="4703"/>
                  <a:pt x="73" y="4703"/>
                </a:cubicBezTo>
                <a:cubicBezTo>
                  <a:pt x="73" y="4703"/>
                  <a:pt x="81" y="4727"/>
                  <a:pt x="73" y="4727"/>
                </a:cubicBezTo>
                <a:cubicBezTo>
                  <a:pt x="57" y="4735"/>
                  <a:pt x="40" y="4743"/>
                  <a:pt x="32" y="4750"/>
                </a:cubicBezTo>
                <a:lnTo>
                  <a:pt x="32" y="4782"/>
                </a:lnTo>
                <a:cubicBezTo>
                  <a:pt x="40" y="4798"/>
                  <a:pt x="57" y="4822"/>
                  <a:pt x="57" y="4830"/>
                </a:cubicBezTo>
                <a:cubicBezTo>
                  <a:pt x="65" y="4838"/>
                  <a:pt x="49" y="4854"/>
                  <a:pt x="49" y="4854"/>
                </a:cubicBezTo>
                <a:lnTo>
                  <a:pt x="32" y="4917"/>
                </a:lnTo>
                <a:lnTo>
                  <a:pt x="32" y="4957"/>
                </a:lnTo>
                <a:cubicBezTo>
                  <a:pt x="32" y="4965"/>
                  <a:pt x="0" y="4973"/>
                  <a:pt x="16" y="4996"/>
                </a:cubicBezTo>
                <a:cubicBezTo>
                  <a:pt x="32" y="5012"/>
                  <a:pt x="40" y="5020"/>
                  <a:pt x="49" y="5028"/>
                </a:cubicBezTo>
                <a:cubicBezTo>
                  <a:pt x="65" y="5028"/>
                  <a:pt x="106" y="5028"/>
                  <a:pt x="106" y="5036"/>
                </a:cubicBezTo>
                <a:cubicBezTo>
                  <a:pt x="106" y="5036"/>
                  <a:pt x="106" y="5044"/>
                  <a:pt x="81" y="5052"/>
                </a:cubicBezTo>
                <a:cubicBezTo>
                  <a:pt x="65" y="5052"/>
                  <a:pt x="49" y="5044"/>
                  <a:pt x="49" y="5060"/>
                </a:cubicBezTo>
                <a:cubicBezTo>
                  <a:pt x="40" y="5068"/>
                  <a:pt x="8" y="5115"/>
                  <a:pt x="8" y="5115"/>
                </a:cubicBezTo>
                <a:lnTo>
                  <a:pt x="49" y="5163"/>
                </a:lnTo>
                <a:cubicBezTo>
                  <a:pt x="49" y="5163"/>
                  <a:pt x="65" y="5147"/>
                  <a:pt x="73" y="5147"/>
                </a:cubicBezTo>
                <a:cubicBezTo>
                  <a:pt x="81" y="5139"/>
                  <a:pt x="106" y="5147"/>
                  <a:pt x="106" y="5155"/>
                </a:cubicBezTo>
                <a:cubicBezTo>
                  <a:pt x="106" y="5155"/>
                  <a:pt x="89" y="5179"/>
                  <a:pt x="81" y="5179"/>
                </a:cubicBezTo>
                <a:cubicBezTo>
                  <a:pt x="81" y="5187"/>
                  <a:pt x="57" y="5195"/>
                  <a:pt x="57" y="5203"/>
                </a:cubicBezTo>
                <a:lnTo>
                  <a:pt x="81" y="5234"/>
                </a:lnTo>
                <a:cubicBezTo>
                  <a:pt x="81" y="5234"/>
                  <a:pt x="98" y="5234"/>
                  <a:pt x="98" y="5250"/>
                </a:cubicBezTo>
                <a:cubicBezTo>
                  <a:pt x="98" y="5258"/>
                  <a:pt x="65" y="5274"/>
                  <a:pt x="65" y="5274"/>
                </a:cubicBezTo>
                <a:lnTo>
                  <a:pt x="73" y="5298"/>
                </a:lnTo>
                <a:lnTo>
                  <a:pt x="49" y="5345"/>
                </a:lnTo>
                <a:lnTo>
                  <a:pt x="89" y="5369"/>
                </a:lnTo>
                <a:cubicBezTo>
                  <a:pt x="89" y="5369"/>
                  <a:pt x="122" y="5369"/>
                  <a:pt x="114" y="5393"/>
                </a:cubicBezTo>
                <a:cubicBezTo>
                  <a:pt x="98" y="5409"/>
                  <a:pt x="73" y="5425"/>
                  <a:pt x="73" y="5433"/>
                </a:cubicBezTo>
                <a:cubicBezTo>
                  <a:pt x="73" y="5448"/>
                  <a:pt x="65" y="5464"/>
                  <a:pt x="81" y="5472"/>
                </a:cubicBezTo>
                <a:cubicBezTo>
                  <a:pt x="98" y="5472"/>
                  <a:pt x="98" y="5480"/>
                  <a:pt x="106" y="5472"/>
                </a:cubicBezTo>
                <a:cubicBezTo>
                  <a:pt x="122" y="5464"/>
                  <a:pt x="138" y="5456"/>
                  <a:pt x="138" y="5456"/>
                </a:cubicBezTo>
                <a:cubicBezTo>
                  <a:pt x="138" y="5456"/>
                  <a:pt x="163" y="5440"/>
                  <a:pt x="179" y="5440"/>
                </a:cubicBezTo>
                <a:cubicBezTo>
                  <a:pt x="187" y="5440"/>
                  <a:pt x="204" y="5448"/>
                  <a:pt x="212" y="5456"/>
                </a:cubicBezTo>
                <a:cubicBezTo>
                  <a:pt x="212" y="5464"/>
                  <a:pt x="212" y="5472"/>
                  <a:pt x="220" y="5480"/>
                </a:cubicBezTo>
                <a:cubicBezTo>
                  <a:pt x="228" y="5480"/>
                  <a:pt x="212" y="5520"/>
                  <a:pt x="212" y="5520"/>
                </a:cubicBezTo>
                <a:lnTo>
                  <a:pt x="187" y="5552"/>
                </a:lnTo>
                <a:cubicBezTo>
                  <a:pt x="187" y="5552"/>
                  <a:pt x="212" y="5583"/>
                  <a:pt x="204" y="5583"/>
                </a:cubicBezTo>
                <a:cubicBezTo>
                  <a:pt x="204" y="5583"/>
                  <a:pt x="163" y="5591"/>
                  <a:pt x="155" y="5591"/>
                </a:cubicBezTo>
                <a:cubicBezTo>
                  <a:pt x="147" y="5591"/>
                  <a:pt x="138" y="5583"/>
                  <a:pt x="138" y="5599"/>
                </a:cubicBezTo>
                <a:cubicBezTo>
                  <a:pt x="130" y="5615"/>
                  <a:pt x="106" y="5655"/>
                  <a:pt x="106" y="5655"/>
                </a:cubicBezTo>
                <a:cubicBezTo>
                  <a:pt x="106" y="5655"/>
                  <a:pt x="98" y="5670"/>
                  <a:pt x="106" y="5686"/>
                </a:cubicBezTo>
                <a:cubicBezTo>
                  <a:pt x="114" y="5702"/>
                  <a:pt x="147" y="5758"/>
                  <a:pt x="147" y="5758"/>
                </a:cubicBezTo>
                <a:cubicBezTo>
                  <a:pt x="147" y="5766"/>
                  <a:pt x="163" y="5789"/>
                  <a:pt x="187" y="5805"/>
                </a:cubicBezTo>
                <a:cubicBezTo>
                  <a:pt x="212" y="5821"/>
                  <a:pt x="228" y="5821"/>
                  <a:pt x="228" y="5837"/>
                </a:cubicBezTo>
                <a:lnTo>
                  <a:pt x="236" y="5853"/>
                </a:lnTo>
                <a:lnTo>
                  <a:pt x="269" y="5885"/>
                </a:lnTo>
                <a:cubicBezTo>
                  <a:pt x="269" y="5885"/>
                  <a:pt x="285" y="5893"/>
                  <a:pt x="310" y="5893"/>
                </a:cubicBezTo>
                <a:cubicBezTo>
                  <a:pt x="334" y="5901"/>
                  <a:pt x="367" y="5901"/>
                  <a:pt x="367" y="5908"/>
                </a:cubicBezTo>
                <a:cubicBezTo>
                  <a:pt x="375" y="5908"/>
                  <a:pt x="343" y="5932"/>
                  <a:pt x="343" y="5932"/>
                </a:cubicBezTo>
                <a:cubicBezTo>
                  <a:pt x="343" y="5932"/>
                  <a:pt x="302" y="5964"/>
                  <a:pt x="318" y="5972"/>
                </a:cubicBezTo>
                <a:cubicBezTo>
                  <a:pt x="334" y="5980"/>
                  <a:pt x="449" y="6004"/>
                  <a:pt x="449" y="6004"/>
                </a:cubicBezTo>
                <a:cubicBezTo>
                  <a:pt x="449" y="6004"/>
                  <a:pt x="465" y="6012"/>
                  <a:pt x="465" y="6020"/>
                </a:cubicBezTo>
                <a:cubicBezTo>
                  <a:pt x="465" y="6027"/>
                  <a:pt x="490" y="6012"/>
                  <a:pt x="490" y="6012"/>
                </a:cubicBezTo>
                <a:cubicBezTo>
                  <a:pt x="498" y="6004"/>
                  <a:pt x="531" y="6020"/>
                  <a:pt x="539" y="6020"/>
                </a:cubicBezTo>
                <a:lnTo>
                  <a:pt x="588" y="6012"/>
                </a:lnTo>
                <a:lnTo>
                  <a:pt x="629" y="5996"/>
                </a:lnTo>
                <a:cubicBezTo>
                  <a:pt x="629" y="5996"/>
                  <a:pt x="653" y="5956"/>
                  <a:pt x="669" y="5964"/>
                </a:cubicBezTo>
                <a:cubicBezTo>
                  <a:pt x="694" y="5972"/>
                  <a:pt x="686" y="5988"/>
                  <a:pt x="702" y="5988"/>
                </a:cubicBezTo>
                <a:cubicBezTo>
                  <a:pt x="710" y="5988"/>
                  <a:pt x="727" y="5988"/>
                  <a:pt x="743" y="5964"/>
                </a:cubicBezTo>
                <a:cubicBezTo>
                  <a:pt x="759" y="5948"/>
                  <a:pt x="776" y="5932"/>
                  <a:pt x="784" y="5924"/>
                </a:cubicBezTo>
                <a:cubicBezTo>
                  <a:pt x="792" y="5924"/>
                  <a:pt x="890" y="5869"/>
                  <a:pt x="890" y="5869"/>
                </a:cubicBezTo>
                <a:lnTo>
                  <a:pt x="955" y="5758"/>
                </a:lnTo>
                <a:lnTo>
                  <a:pt x="980" y="5678"/>
                </a:lnTo>
                <a:cubicBezTo>
                  <a:pt x="980" y="5678"/>
                  <a:pt x="1012" y="5639"/>
                  <a:pt x="1037" y="5639"/>
                </a:cubicBezTo>
                <a:cubicBezTo>
                  <a:pt x="1053" y="5639"/>
                  <a:pt x="1111" y="5615"/>
                  <a:pt x="1102" y="5599"/>
                </a:cubicBezTo>
                <a:cubicBezTo>
                  <a:pt x="1102" y="5575"/>
                  <a:pt x="1127" y="5567"/>
                  <a:pt x="1127" y="5599"/>
                </a:cubicBezTo>
                <a:cubicBezTo>
                  <a:pt x="1135" y="5631"/>
                  <a:pt x="1127" y="5663"/>
                  <a:pt x="1143" y="5647"/>
                </a:cubicBezTo>
                <a:cubicBezTo>
                  <a:pt x="1168" y="5631"/>
                  <a:pt x="1209" y="5583"/>
                  <a:pt x="1209" y="5583"/>
                </a:cubicBezTo>
                <a:cubicBezTo>
                  <a:pt x="1209" y="5583"/>
                  <a:pt x="1233" y="5560"/>
                  <a:pt x="1249" y="5552"/>
                </a:cubicBezTo>
                <a:cubicBezTo>
                  <a:pt x="1266" y="5552"/>
                  <a:pt x="1290" y="5496"/>
                  <a:pt x="1290" y="5496"/>
                </a:cubicBezTo>
                <a:cubicBezTo>
                  <a:pt x="1290" y="5496"/>
                  <a:pt x="1323" y="5472"/>
                  <a:pt x="1339" y="5496"/>
                </a:cubicBezTo>
                <a:cubicBezTo>
                  <a:pt x="1347" y="5528"/>
                  <a:pt x="1380" y="5567"/>
                  <a:pt x="1380" y="5583"/>
                </a:cubicBezTo>
                <a:cubicBezTo>
                  <a:pt x="1380" y="5583"/>
                  <a:pt x="1396" y="5591"/>
                  <a:pt x="1413" y="5599"/>
                </a:cubicBezTo>
                <a:lnTo>
                  <a:pt x="1413" y="5536"/>
                </a:lnTo>
                <a:lnTo>
                  <a:pt x="1470" y="5583"/>
                </a:lnTo>
                <a:cubicBezTo>
                  <a:pt x="1478" y="5591"/>
                  <a:pt x="1478" y="5639"/>
                  <a:pt x="1478" y="5639"/>
                </a:cubicBezTo>
                <a:lnTo>
                  <a:pt x="1494" y="5639"/>
                </a:lnTo>
                <a:lnTo>
                  <a:pt x="1494" y="5631"/>
                </a:lnTo>
                <a:lnTo>
                  <a:pt x="1511" y="5639"/>
                </a:lnTo>
                <a:lnTo>
                  <a:pt x="1519" y="5631"/>
                </a:lnTo>
                <a:lnTo>
                  <a:pt x="1527" y="5583"/>
                </a:lnTo>
                <a:lnTo>
                  <a:pt x="1535" y="5527"/>
                </a:lnTo>
                <a:lnTo>
                  <a:pt x="1560" y="5480"/>
                </a:lnTo>
                <a:lnTo>
                  <a:pt x="1560" y="5432"/>
                </a:lnTo>
                <a:lnTo>
                  <a:pt x="1527" y="5377"/>
                </a:lnTo>
                <a:lnTo>
                  <a:pt x="1511" y="5329"/>
                </a:lnTo>
                <a:lnTo>
                  <a:pt x="1535" y="5321"/>
                </a:lnTo>
                <a:lnTo>
                  <a:pt x="1535" y="5313"/>
                </a:lnTo>
                <a:lnTo>
                  <a:pt x="1543" y="5313"/>
                </a:lnTo>
                <a:lnTo>
                  <a:pt x="1560" y="5297"/>
                </a:lnTo>
                <a:lnTo>
                  <a:pt x="1568" y="5258"/>
                </a:lnTo>
                <a:lnTo>
                  <a:pt x="1552" y="5242"/>
                </a:lnTo>
                <a:lnTo>
                  <a:pt x="1552" y="5218"/>
                </a:lnTo>
                <a:lnTo>
                  <a:pt x="1568" y="5202"/>
                </a:lnTo>
                <a:lnTo>
                  <a:pt x="1576" y="5194"/>
                </a:lnTo>
                <a:lnTo>
                  <a:pt x="1584" y="5194"/>
                </a:lnTo>
                <a:lnTo>
                  <a:pt x="1592" y="5186"/>
                </a:lnTo>
                <a:lnTo>
                  <a:pt x="1625" y="5186"/>
                </a:lnTo>
                <a:lnTo>
                  <a:pt x="1642" y="5171"/>
                </a:lnTo>
                <a:cubicBezTo>
                  <a:pt x="1642" y="5171"/>
                  <a:pt x="1674" y="5147"/>
                  <a:pt x="1674" y="5139"/>
                </a:cubicBezTo>
                <a:cubicBezTo>
                  <a:pt x="1674" y="5131"/>
                  <a:pt x="1691" y="5107"/>
                  <a:pt x="1691" y="5107"/>
                </a:cubicBezTo>
                <a:lnTo>
                  <a:pt x="1691" y="5067"/>
                </a:lnTo>
                <a:lnTo>
                  <a:pt x="1674" y="5028"/>
                </a:lnTo>
                <a:lnTo>
                  <a:pt x="1691" y="5004"/>
                </a:lnTo>
                <a:lnTo>
                  <a:pt x="1715" y="4956"/>
                </a:lnTo>
                <a:lnTo>
                  <a:pt x="1699" y="4909"/>
                </a:lnTo>
                <a:lnTo>
                  <a:pt x="1650" y="4853"/>
                </a:lnTo>
                <a:lnTo>
                  <a:pt x="1625" y="4782"/>
                </a:lnTo>
                <a:lnTo>
                  <a:pt x="1609" y="4734"/>
                </a:lnTo>
                <a:lnTo>
                  <a:pt x="1650" y="4695"/>
                </a:lnTo>
                <a:lnTo>
                  <a:pt x="1658" y="4687"/>
                </a:lnTo>
                <a:lnTo>
                  <a:pt x="1691" y="4687"/>
                </a:lnTo>
                <a:cubicBezTo>
                  <a:pt x="1691" y="4687"/>
                  <a:pt x="1731" y="4687"/>
                  <a:pt x="1731" y="4679"/>
                </a:cubicBezTo>
                <a:lnTo>
                  <a:pt x="1731" y="4671"/>
                </a:lnTo>
                <a:lnTo>
                  <a:pt x="1740" y="4671"/>
                </a:lnTo>
                <a:lnTo>
                  <a:pt x="1740" y="4623"/>
                </a:lnTo>
                <a:lnTo>
                  <a:pt x="1748" y="4623"/>
                </a:lnTo>
                <a:lnTo>
                  <a:pt x="1748" y="4615"/>
                </a:lnTo>
                <a:lnTo>
                  <a:pt x="1740" y="4544"/>
                </a:lnTo>
                <a:lnTo>
                  <a:pt x="1691" y="4504"/>
                </a:lnTo>
                <a:lnTo>
                  <a:pt x="1633" y="4465"/>
                </a:lnTo>
                <a:lnTo>
                  <a:pt x="1609" y="4401"/>
                </a:lnTo>
                <a:lnTo>
                  <a:pt x="1601" y="4155"/>
                </a:lnTo>
                <a:cubicBezTo>
                  <a:pt x="1601" y="4155"/>
                  <a:pt x="1543" y="4052"/>
                  <a:pt x="1543" y="4044"/>
                </a:cubicBezTo>
                <a:cubicBezTo>
                  <a:pt x="1535" y="4029"/>
                  <a:pt x="1535" y="4013"/>
                  <a:pt x="1552" y="3997"/>
                </a:cubicBezTo>
                <a:cubicBezTo>
                  <a:pt x="1560" y="3989"/>
                  <a:pt x="1552" y="3973"/>
                  <a:pt x="1552" y="3973"/>
                </a:cubicBezTo>
                <a:lnTo>
                  <a:pt x="1543" y="3918"/>
                </a:lnTo>
                <a:lnTo>
                  <a:pt x="1560" y="3894"/>
                </a:lnTo>
                <a:lnTo>
                  <a:pt x="1560" y="3846"/>
                </a:lnTo>
                <a:lnTo>
                  <a:pt x="1527" y="3783"/>
                </a:lnTo>
                <a:lnTo>
                  <a:pt x="1527" y="3727"/>
                </a:lnTo>
                <a:cubicBezTo>
                  <a:pt x="1527" y="3711"/>
                  <a:pt x="1552" y="3680"/>
                  <a:pt x="1552" y="3680"/>
                </a:cubicBezTo>
                <a:lnTo>
                  <a:pt x="1560" y="3624"/>
                </a:lnTo>
                <a:lnTo>
                  <a:pt x="1576" y="3545"/>
                </a:lnTo>
                <a:lnTo>
                  <a:pt x="1682" y="3410"/>
                </a:lnTo>
                <a:lnTo>
                  <a:pt x="1707" y="3410"/>
                </a:lnTo>
                <a:lnTo>
                  <a:pt x="1878" y="3402"/>
                </a:lnTo>
                <a:lnTo>
                  <a:pt x="1887" y="3386"/>
                </a:lnTo>
                <a:lnTo>
                  <a:pt x="1895" y="3378"/>
                </a:lnTo>
                <a:lnTo>
                  <a:pt x="1911" y="3331"/>
                </a:lnTo>
                <a:lnTo>
                  <a:pt x="1903" y="3204"/>
                </a:lnTo>
                <a:lnTo>
                  <a:pt x="1829" y="3188"/>
                </a:lnTo>
                <a:lnTo>
                  <a:pt x="1813" y="3148"/>
                </a:lnTo>
                <a:lnTo>
                  <a:pt x="1936" y="2942"/>
                </a:lnTo>
                <a:lnTo>
                  <a:pt x="1927" y="2894"/>
                </a:lnTo>
                <a:lnTo>
                  <a:pt x="1960" y="2871"/>
                </a:lnTo>
                <a:cubicBezTo>
                  <a:pt x="1960" y="2871"/>
                  <a:pt x="1952" y="2839"/>
                  <a:pt x="1944" y="2823"/>
                </a:cubicBezTo>
                <a:cubicBezTo>
                  <a:pt x="1936" y="2815"/>
                  <a:pt x="1952" y="2768"/>
                  <a:pt x="1952" y="2768"/>
                </a:cubicBezTo>
                <a:lnTo>
                  <a:pt x="1960" y="2712"/>
                </a:lnTo>
                <a:lnTo>
                  <a:pt x="1976" y="2649"/>
                </a:lnTo>
                <a:lnTo>
                  <a:pt x="1936" y="2514"/>
                </a:lnTo>
                <a:lnTo>
                  <a:pt x="1960" y="2490"/>
                </a:lnTo>
                <a:lnTo>
                  <a:pt x="1993" y="2490"/>
                </a:lnTo>
                <a:cubicBezTo>
                  <a:pt x="2001" y="2490"/>
                  <a:pt x="2017" y="2482"/>
                  <a:pt x="2034" y="2482"/>
                </a:cubicBezTo>
                <a:cubicBezTo>
                  <a:pt x="2050" y="2474"/>
                  <a:pt x="2058" y="2466"/>
                  <a:pt x="2083" y="2442"/>
                </a:cubicBezTo>
                <a:lnTo>
                  <a:pt x="2091" y="2426"/>
                </a:lnTo>
                <a:lnTo>
                  <a:pt x="2099" y="2387"/>
                </a:lnTo>
                <a:lnTo>
                  <a:pt x="2099" y="2315"/>
                </a:lnTo>
                <a:lnTo>
                  <a:pt x="2140" y="2212"/>
                </a:lnTo>
                <a:cubicBezTo>
                  <a:pt x="2140" y="2212"/>
                  <a:pt x="2205" y="2133"/>
                  <a:pt x="2213" y="2117"/>
                </a:cubicBezTo>
                <a:cubicBezTo>
                  <a:pt x="2222" y="2101"/>
                  <a:pt x="2246" y="2046"/>
                  <a:pt x="2246" y="2046"/>
                </a:cubicBezTo>
                <a:cubicBezTo>
                  <a:pt x="2246" y="2046"/>
                  <a:pt x="2230" y="1982"/>
                  <a:pt x="2222" y="1967"/>
                </a:cubicBezTo>
                <a:cubicBezTo>
                  <a:pt x="2205" y="1959"/>
                  <a:pt x="2181" y="1911"/>
                  <a:pt x="2181" y="1911"/>
                </a:cubicBezTo>
                <a:lnTo>
                  <a:pt x="2181" y="1871"/>
                </a:lnTo>
                <a:lnTo>
                  <a:pt x="2230" y="1840"/>
                </a:lnTo>
                <a:lnTo>
                  <a:pt x="2246" y="1808"/>
                </a:lnTo>
                <a:lnTo>
                  <a:pt x="2246" y="1729"/>
                </a:lnTo>
                <a:lnTo>
                  <a:pt x="2254" y="1729"/>
                </a:lnTo>
                <a:lnTo>
                  <a:pt x="2254" y="1713"/>
                </a:lnTo>
                <a:lnTo>
                  <a:pt x="2262" y="1713"/>
                </a:lnTo>
                <a:lnTo>
                  <a:pt x="2262" y="1705"/>
                </a:lnTo>
                <a:cubicBezTo>
                  <a:pt x="2262" y="1689"/>
                  <a:pt x="2295" y="1657"/>
                  <a:pt x="2295" y="1657"/>
                </a:cubicBezTo>
                <a:lnTo>
                  <a:pt x="2328" y="1594"/>
                </a:lnTo>
                <a:lnTo>
                  <a:pt x="2409" y="1633"/>
                </a:lnTo>
                <a:lnTo>
                  <a:pt x="2450" y="1633"/>
                </a:lnTo>
                <a:lnTo>
                  <a:pt x="2467" y="1602"/>
                </a:lnTo>
                <a:cubicBezTo>
                  <a:pt x="2458" y="1578"/>
                  <a:pt x="2450" y="1411"/>
                  <a:pt x="2475" y="1380"/>
                </a:cubicBezTo>
                <a:cubicBezTo>
                  <a:pt x="2475" y="1380"/>
                  <a:pt x="2589" y="1388"/>
                  <a:pt x="2606" y="1380"/>
                </a:cubicBezTo>
                <a:cubicBezTo>
                  <a:pt x="2614" y="1380"/>
                  <a:pt x="2654" y="1395"/>
                  <a:pt x="2663" y="1403"/>
                </a:cubicBezTo>
                <a:cubicBezTo>
                  <a:pt x="2671" y="1411"/>
                  <a:pt x="2679" y="1411"/>
                  <a:pt x="2687" y="1411"/>
                </a:cubicBezTo>
                <a:cubicBezTo>
                  <a:pt x="2704" y="1419"/>
                  <a:pt x="2720" y="1419"/>
                  <a:pt x="2720" y="1419"/>
                </a:cubicBezTo>
                <a:lnTo>
                  <a:pt x="2768" y="1411"/>
                </a:lnTo>
                <a:lnTo>
                  <a:pt x="2801" y="1372"/>
                </a:lnTo>
                <a:lnTo>
                  <a:pt x="2768" y="1340"/>
                </a:lnTo>
                <a:cubicBezTo>
                  <a:pt x="2801" y="1300"/>
                  <a:pt x="2801" y="1245"/>
                  <a:pt x="2792" y="1237"/>
                </a:cubicBezTo>
                <a:cubicBezTo>
                  <a:pt x="2784" y="1221"/>
                  <a:pt x="2768" y="1150"/>
                  <a:pt x="2760" y="1142"/>
                </a:cubicBezTo>
                <a:cubicBezTo>
                  <a:pt x="2760" y="1134"/>
                  <a:pt x="2776" y="1126"/>
                  <a:pt x="2776" y="1126"/>
                </a:cubicBezTo>
                <a:lnTo>
                  <a:pt x="2792" y="1126"/>
                </a:lnTo>
                <a:cubicBezTo>
                  <a:pt x="2792" y="1126"/>
                  <a:pt x="2801" y="1118"/>
                  <a:pt x="2809" y="1118"/>
                </a:cubicBezTo>
                <a:lnTo>
                  <a:pt x="2850" y="1086"/>
                </a:lnTo>
                <a:lnTo>
                  <a:pt x="2890" y="1094"/>
                </a:lnTo>
                <a:cubicBezTo>
                  <a:pt x="2890" y="1094"/>
                  <a:pt x="2890" y="1086"/>
                  <a:pt x="2899" y="1086"/>
                </a:cubicBezTo>
                <a:cubicBezTo>
                  <a:pt x="2907" y="1086"/>
                  <a:pt x="2907" y="1078"/>
                  <a:pt x="2907" y="1078"/>
                </a:cubicBezTo>
                <a:cubicBezTo>
                  <a:pt x="2907" y="1078"/>
                  <a:pt x="2882" y="1031"/>
                  <a:pt x="2899" y="1007"/>
                </a:cubicBezTo>
                <a:cubicBezTo>
                  <a:pt x="2907" y="991"/>
                  <a:pt x="2915" y="991"/>
                  <a:pt x="2931" y="991"/>
                </a:cubicBezTo>
                <a:lnTo>
                  <a:pt x="2964" y="991"/>
                </a:lnTo>
                <a:lnTo>
                  <a:pt x="2964" y="999"/>
                </a:lnTo>
                <a:close/>
                <a:moveTo>
                  <a:pt x="3127" y="484"/>
                </a:moveTo>
                <a:cubicBezTo>
                  <a:pt x="3127" y="484"/>
                  <a:pt x="3152" y="492"/>
                  <a:pt x="3152" y="484"/>
                </a:cubicBezTo>
                <a:cubicBezTo>
                  <a:pt x="3152" y="484"/>
                  <a:pt x="3160" y="468"/>
                  <a:pt x="3160" y="444"/>
                </a:cubicBezTo>
                <a:cubicBezTo>
                  <a:pt x="3168" y="420"/>
                  <a:pt x="3185" y="420"/>
                  <a:pt x="3193" y="412"/>
                </a:cubicBezTo>
                <a:cubicBezTo>
                  <a:pt x="3201" y="404"/>
                  <a:pt x="3193" y="404"/>
                  <a:pt x="3201" y="388"/>
                </a:cubicBezTo>
                <a:cubicBezTo>
                  <a:pt x="3201" y="373"/>
                  <a:pt x="3193" y="373"/>
                  <a:pt x="3176" y="365"/>
                </a:cubicBezTo>
                <a:cubicBezTo>
                  <a:pt x="3152" y="365"/>
                  <a:pt x="3152" y="381"/>
                  <a:pt x="3136" y="381"/>
                </a:cubicBezTo>
                <a:cubicBezTo>
                  <a:pt x="3127" y="388"/>
                  <a:pt x="3127" y="404"/>
                  <a:pt x="3136" y="412"/>
                </a:cubicBezTo>
                <a:cubicBezTo>
                  <a:pt x="3136" y="420"/>
                  <a:pt x="3119" y="428"/>
                  <a:pt x="3103" y="436"/>
                </a:cubicBezTo>
                <a:cubicBezTo>
                  <a:pt x="3087" y="452"/>
                  <a:pt x="3087" y="468"/>
                  <a:pt x="3087" y="468"/>
                </a:cubicBezTo>
                <a:lnTo>
                  <a:pt x="3127" y="484"/>
                </a:lnTo>
                <a:close/>
                <a:moveTo>
                  <a:pt x="3021" y="452"/>
                </a:moveTo>
                <a:cubicBezTo>
                  <a:pt x="3005" y="452"/>
                  <a:pt x="2980" y="460"/>
                  <a:pt x="2980" y="444"/>
                </a:cubicBezTo>
                <a:cubicBezTo>
                  <a:pt x="2980" y="436"/>
                  <a:pt x="2956" y="412"/>
                  <a:pt x="2956" y="412"/>
                </a:cubicBezTo>
                <a:cubicBezTo>
                  <a:pt x="2956" y="404"/>
                  <a:pt x="2940" y="388"/>
                  <a:pt x="2964" y="381"/>
                </a:cubicBezTo>
                <a:cubicBezTo>
                  <a:pt x="2980" y="365"/>
                  <a:pt x="3038" y="341"/>
                  <a:pt x="3046" y="341"/>
                </a:cubicBezTo>
                <a:cubicBezTo>
                  <a:pt x="3046" y="341"/>
                  <a:pt x="3070" y="301"/>
                  <a:pt x="3078" y="293"/>
                </a:cubicBezTo>
                <a:lnTo>
                  <a:pt x="3136" y="293"/>
                </a:lnTo>
                <a:cubicBezTo>
                  <a:pt x="3136" y="293"/>
                  <a:pt x="3144" y="301"/>
                  <a:pt x="3160" y="301"/>
                </a:cubicBezTo>
                <a:cubicBezTo>
                  <a:pt x="3176" y="309"/>
                  <a:pt x="3209" y="285"/>
                  <a:pt x="3193" y="309"/>
                </a:cubicBezTo>
                <a:cubicBezTo>
                  <a:pt x="3168" y="325"/>
                  <a:pt x="3160" y="333"/>
                  <a:pt x="3152" y="333"/>
                </a:cubicBezTo>
                <a:cubicBezTo>
                  <a:pt x="3144" y="341"/>
                  <a:pt x="3103" y="373"/>
                  <a:pt x="3103" y="388"/>
                </a:cubicBezTo>
                <a:cubicBezTo>
                  <a:pt x="3095" y="404"/>
                  <a:pt x="3103" y="404"/>
                  <a:pt x="3095" y="412"/>
                </a:cubicBezTo>
                <a:cubicBezTo>
                  <a:pt x="3078" y="420"/>
                  <a:pt x="3029" y="444"/>
                  <a:pt x="3021" y="452"/>
                </a:cubicBezTo>
                <a:close/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44" name="Freeform 136">
            <a:extLst>
              <a:ext uri="{FF2B5EF4-FFF2-40B4-BE49-F238E27FC236}">
                <a16:creationId xmlns:a16="http://schemas.microsoft.com/office/drawing/2014/main" id="{41E4BC3E-2175-0993-DB83-FDAA743CF942}"/>
              </a:ext>
            </a:extLst>
          </p:cNvPr>
          <p:cNvSpPr>
            <a:spLocks noChangeArrowheads="1"/>
          </p:cNvSpPr>
          <p:nvPr>
            <p:custDataLst>
              <p:tags r:id="rId135"/>
            </p:custDataLst>
          </p:nvPr>
        </p:nvSpPr>
        <p:spPr bwMode="auto">
          <a:xfrm>
            <a:off x="6605534" y="115918"/>
            <a:ext cx="1805784" cy="2475933"/>
          </a:xfrm>
          <a:custGeom>
            <a:avLst/>
            <a:gdLst>
              <a:gd name="T0" fmla="*/ 3356 w 4395"/>
              <a:gd name="T1" fmla="*/ 1150 h 6028"/>
              <a:gd name="T2" fmla="*/ 3577 w 4395"/>
              <a:gd name="T3" fmla="*/ 1078 h 6028"/>
              <a:gd name="T4" fmla="*/ 3667 w 4395"/>
              <a:gd name="T5" fmla="*/ 563 h 6028"/>
              <a:gd name="T6" fmla="*/ 4091 w 4395"/>
              <a:gd name="T7" fmla="*/ 555 h 6028"/>
              <a:gd name="T8" fmla="*/ 4157 w 4395"/>
              <a:gd name="T9" fmla="*/ 841 h 6028"/>
              <a:gd name="T10" fmla="*/ 4328 w 4395"/>
              <a:gd name="T11" fmla="*/ 428 h 6028"/>
              <a:gd name="T12" fmla="*/ 4238 w 4395"/>
              <a:gd name="T13" fmla="*/ 333 h 6028"/>
              <a:gd name="T14" fmla="*/ 3822 w 4395"/>
              <a:gd name="T15" fmla="*/ 48 h 6028"/>
              <a:gd name="T16" fmla="*/ 3650 w 4395"/>
              <a:gd name="T17" fmla="*/ 166 h 6028"/>
              <a:gd name="T18" fmla="*/ 3528 w 4395"/>
              <a:gd name="T19" fmla="*/ 238 h 6028"/>
              <a:gd name="T20" fmla="*/ 3446 w 4395"/>
              <a:gd name="T21" fmla="*/ 293 h 6028"/>
              <a:gd name="T22" fmla="*/ 3405 w 4395"/>
              <a:gd name="T23" fmla="*/ 151 h 6028"/>
              <a:gd name="T24" fmla="*/ 3307 w 4395"/>
              <a:gd name="T25" fmla="*/ 309 h 6028"/>
              <a:gd name="T26" fmla="*/ 3160 w 4395"/>
              <a:gd name="T27" fmla="*/ 523 h 6028"/>
              <a:gd name="T28" fmla="*/ 2948 w 4395"/>
              <a:gd name="T29" fmla="*/ 547 h 6028"/>
              <a:gd name="T30" fmla="*/ 2956 w 4395"/>
              <a:gd name="T31" fmla="*/ 714 h 6028"/>
              <a:gd name="T32" fmla="*/ 2809 w 4395"/>
              <a:gd name="T33" fmla="*/ 722 h 6028"/>
              <a:gd name="T34" fmla="*/ 2614 w 4395"/>
              <a:gd name="T35" fmla="*/ 666 h 6028"/>
              <a:gd name="T36" fmla="*/ 2434 w 4395"/>
              <a:gd name="T37" fmla="*/ 912 h 6028"/>
              <a:gd name="T38" fmla="*/ 2344 w 4395"/>
              <a:gd name="T39" fmla="*/ 1158 h 6028"/>
              <a:gd name="T40" fmla="*/ 2156 w 4395"/>
              <a:gd name="T41" fmla="*/ 1197 h 6028"/>
              <a:gd name="T42" fmla="*/ 1928 w 4395"/>
              <a:gd name="T43" fmla="*/ 1451 h 6028"/>
              <a:gd name="T44" fmla="*/ 1633 w 4395"/>
              <a:gd name="T45" fmla="*/ 1760 h 6028"/>
              <a:gd name="T46" fmla="*/ 2050 w 4395"/>
              <a:gd name="T47" fmla="*/ 1657 h 6028"/>
              <a:gd name="T48" fmla="*/ 2075 w 4395"/>
              <a:gd name="T49" fmla="*/ 1713 h 6028"/>
              <a:gd name="T50" fmla="*/ 2091 w 4395"/>
              <a:gd name="T51" fmla="*/ 1895 h 6028"/>
              <a:gd name="T52" fmla="*/ 1879 w 4395"/>
              <a:gd name="T53" fmla="*/ 2078 h 6028"/>
              <a:gd name="T54" fmla="*/ 1707 w 4395"/>
              <a:gd name="T55" fmla="*/ 2332 h 6028"/>
              <a:gd name="T56" fmla="*/ 1666 w 4395"/>
              <a:gd name="T57" fmla="*/ 2554 h 6028"/>
              <a:gd name="T58" fmla="*/ 1584 w 4395"/>
              <a:gd name="T59" fmla="*/ 2879 h 6028"/>
              <a:gd name="T60" fmla="*/ 1356 w 4395"/>
              <a:gd name="T61" fmla="*/ 3077 h 6028"/>
              <a:gd name="T62" fmla="*/ 1413 w 4395"/>
              <a:gd name="T63" fmla="*/ 3212 h 6028"/>
              <a:gd name="T64" fmla="*/ 1184 w 4395"/>
              <a:gd name="T65" fmla="*/ 3458 h 6028"/>
              <a:gd name="T66" fmla="*/ 1315 w 4395"/>
              <a:gd name="T67" fmla="*/ 3600 h 6028"/>
              <a:gd name="T68" fmla="*/ 955 w 4395"/>
              <a:gd name="T69" fmla="*/ 3624 h 6028"/>
              <a:gd name="T70" fmla="*/ 841 w 4395"/>
              <a:gd name="T71" fmla="*/ 3743 h 6028"/>
              <a:gd name="T72" fmla="*/ 563 w 4395"/>
              <a:gd name="T73" fmla="*/ 3846 h 6028"/>
              <a:gd name="T74" fmla="*/ 375 w 4395"/>
              <a:gd name="T75" fmla="*/ 3981 h 6028"/>
              <a:gd name="T76" fmla="*/ 236 w 4395"/>
              <a:gd name="T77" fmla="*/ 4187 h 6028"/>
              <a:gd name="T78" fmla="*/ 122 w 4395"/>
              <a:gd name="T79" fmla="*/ 4235 h 6028"/>
              <a:gd name="T80" fmla="*/ 114 w 4395"/>
              <a:gd name="T81" fmla="*/ 4449 h 6028"/>
              <a:gd name="T82" fmla="*/ 122 w 4395"/>
              <a:gd name="T83" fmla="*/ 4647 h 6028"/>
              <a:gd name="T84" fmla="*/ 16 w 4395"/>
              <a:gd name="T85" fmla="*/ 4996 h 6028"/>
              <a:gd name="T86" fmla="*/ 81 w 4395"/>
              <a:gd name="T87" fmla="*/ 5179 h 6028"/>
              <a:gd name="T88" fmla="*/ 73 w 4395"/>
              <a:gd name="T89" fmla="*/ 5433 h 6028"/>
              <a:gd name="T90" fmla="*/ 204 w 4395"/>
              <a:gd name="T91" fmla="*/ 5583 h 6028"/>
              <a:gd name="T92" fmla="*/ 269 w 4395"/>
              <a:gd name="T93" fmla="*/ 5885 h 6028"/>
              <a:gd name="T94" fmla="*/ 588 w 4395"/>
              <a:gd name="T95" fmla="*/ 6012 h 6028"/>
              <a:gd name="T96" fmla="*/ 1037 w 4395"/>
              <a:gd name="T97" fmla="*/ 5639 h 6028"/>
              <a:gd name="T98" fmla="*/ 1413 w 4395"/>
              <a:gd name="T99" fmla="*/ 5599 h 6028"/>
              <a:gd name="T100" fmla="*/ 1535 w 4395"/>
              <a:gd name="T101" fmla="*/ 5527 h 6028"/>
              <a:gd name="T102" fmla="*/ 1568 w 4395"/>
              <a:gd name="T103" fmla="*/ 5258 h 6028"/>
              <a:gd name="T104" fmla="*/ 1674 w 4395"/>
              <a:gd name="T105" fmla="*/ 5139 h 6028"/>
              <a:gd name="T106" fmla="*/ 1609 w 4395"/>
              <a:gd name="T107" fmla="*/ 4734 h 6028"/>
              <a:gd name="T108" fmla="*/ 1748 w 4395"/>
              <a:gd name="T109" fmla="*/ 4615 h 6028"/>
              <a:gd name="T110" fmla="*/ 1543 w 4395"/>
              <a:gd name="T111" fmla="*/ 3918 h 6028"/>
              <a:gd name="T112" fmla="*/ 1707 w 4395"/>
              <a:gd name="T113" fmla="*/ 3410 h 6028"/>
              <a:gd name="T114" fmla="*/ 1927 w 4395"/>
              <a:gd name="T115" fmla="*/ 2894 h 6028"/>
              <a:gd name="T116" fmla="*/ 2034 w 4395"/>
              <a:gd name="T117" fmla="*/ 2482 h 6028"/>
              <a:gd name="T118" fmla="*/ 2181 w 4395"/>
              <a:gd name="T119" fmla="*/ 1911 h 6028"/>
              <a:gd name="T120" fmla="*/ 2295 w 4395"/>
              <a:gd name="T121" fmla="*/ 1657 h 6028"/>
              <a:gd name="T122" fmla="*/ 2720 w 4395"/>
              <a:gd name="T123" fmla="*/ 1419 h 6028"/>
              <a:gd name="T124" fmla="*/ 2850 w 4395"/>
              <a:gd name="T125" fmla="*/ 1086 h 6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95" h="6028">
                <a:moveTo>
                  <a:pt x="2964" y="999"/>
                </a:moveTo>
                <a:lnTo>
                  <a:pt x="2997" y="1007"/>
                </a:lnTo>
                <a:lnTo>
                  <a:pt x="3054" y="1071"/>
                </a:lnTo>
                <a:lnTo>
                  <a:pt x="3103" y="1126"/>
                </a:lnTo>
                <a:cubicBezTo>
                  <a:pt x="3103" y="1126"/>
                  <a:pt x="3176" y="1182"/>
                  <a:pt x="3193" y="1189"/>
                </a:cubicBezTo>
                <a:cubicBezTo>
                  <a:pt x="3209" y="1197"/>
                  <a:pt x="3299" y="1213"/>
                  <a:pt x="3307" y="1221"/>
                </a:cubicBezTo>
                <a:lnTo>
                  <a:pt x="3332" y="1189"/>
                </a:lnTo>
                <a:lnTo>
                  <a:pt x="3364" y="1166"/>
                </a:lnTo>
                <a:lnTo>
                  <a:pt x="3356" y="1150"/>
                </a:lnTo>
                <a:lnTo>
                  <a:pt x="3397" y="1126"/>
                </a:lnTo>
                <a:lnTo>
                  <a:pt x="3430" y="1150"/>
                </a:lnTo>
                <a:lnTo>
                  <a:pt x="3511" y="1166"/>
                </a:lnTo>
                <a:lnTo>
                  <a:pt x="3544" y="1189"/>
                </a:lnTo>
                <a:lnTo>
                  <a:pt x="3552" y="1189"/>
                </a:lnTo>
                <a:lnTo>
                  <a:pt x="3560" y="1182"/>
                </a:lnTo>
                <a:lnTo>
                  <a:pt x="3577" y="1182"/>
                </a:lnTo>
                <a:lnTo>
                  <a:pt x="3577" y="1110"/>
                </a:lnTo>
                <a:cubicBezTo>
                  <a:pt x="3577" y="1110"/>
                  <a:pt x="3552" y="1094"/>
                  <a:pt x="3577" y="1078"/>
                </a:cubicBezTo>
                <a:cubicBezTo>
                  <a:pt x="3601" y="1055"/>
                  <a:pt x="3634" y="1031"/>
                  <a:pt x="3634" y="1031"/>
                </a:cubicBezTo>
                <a:cubicBezTo>
                  <a:pt x="3634" y="1031"/>
                  <a:pt x="3650" y="1023"/>
                  <a:pt x="3650" y="999"/>
                </a:cubicBezTo>
                <a:cubicBezTo>
                  <a:pt x="3650" y="975"/>
                  <a:pt x="3634" y="912"/>
                  <a:pt x="3634" y="912"/>
                </a:cubicBezTo>
                <a:cubicBezTo>
                  <a:pt x="3634" y="912"/>
                  <a:pt x="3618" y="872"/>
                  <a:pt x="3618" y="856"/>
                </a:cubicBezTo>
                <a:cubicBezTo>
                  <a:pt x="3634" y="761"/>
                  <a:pt x="3593" y="698"/>
                  <a:pt x="3618" y="682"/>
                </a:cubicBezTo>
                <a:lnTo>
                  <a:pt x="3634" y="674"/>
                </a:lnTo>
                <a:lnTo>
                  <a:pt x="3658" y="658"/>
                </a:lnTo>
                <a:lnTo>
                  <a:pt x="3658" y="650"/>
                </a:lnTo>
                <a:cubicBezTo>
                  <a:pt x="3658" y="611"/>
                  <a:pt x="3609" y="571"/>
                  <a:pt x="3667" y="563"/>
                </a:cubicBezTo>
                <a:lnTo>
                  <a:pt x="3691" y="547"/>
                </a:lnTo>
                <a:lnTo>
                  <a:pt x="3765" y="547"/>
                </a:lnTo>
                <a:lnTo>
                  <a:pt x="3781" y="500"/>
                </a:lnTo>
                <a:lnTo>
                  <a:pt x="3814" y="468"/>
                </a:lnTo>
                <a:cubicBezTo>
                  <a:pt x="3838" y="468"/>
                  <a:pt x="3871" y="460"/>
                  <a:pt x="3887" y="468"/>
                </a:cubicBezTo>
                <a:cubicBezTo>
                  <a:pt x="3904" y="492"/>
                  <a:pt x="3904" y="508"/>
                  <a:pt x="3936" y="515"/>
                </a:cubicBezTo>
                <a:lnTo>
                  <a:pt x="4034" y="547"/>
                </a:lnTo>
                <a:lnTo>
                  <a:pt x="4083" y="555"/>
                </a:lnTo>
                <a:lnTo>
                  <a:pt x="4091" y="555"/>
                </a:lnTo>
                <a:lnTo>
                  <a:pt x="4108" y="571"/>
                </a:lnTo>
                <a:cubicBezTo>
                  <a:pt x="4108" y="587"/>
                  <a:pt x="4108" y="603"/>
                  <a:pt x="4116" y="611"/>
                </a:cubicBezTo>
                <a:cubicBezTo>
                  <a:pt x="4116" y="626"/>
                  <a:pt x="4124" y="650"/>
                  <a:pt x="4124" y="650"/>
                </a:cubicBezTo>
                <a:cubicBezTo>
                  <a:pt x="4124" y="650"/>
                  <a:pt x="4116" y="674"/>
                  <a:pt x="4116" y="690"/>
                </a:cubicBezTo>
                <a:cubicBezTo>
                  <a:pt x="4108" y="698"/>
                  <a:pt x="4108" y="722"/>
                  <a:pt x="4108" y="730"/>
                </a:cubicBezTo>
                <a:lnTo>
                  <a:pt x="4108" y="753"/>
                </a:lnTo>
                <a:cubicBezTo>
                  <a:pt x="4108" y="769"/>
                  <a:pt x="4116" y="793"/>
                  <a:pt x="4124" y="801"/>
                </a:cubicBezTo>
                <a:cubicBezTo>
                  <a:pt x="4124" y="809"/>
                  <a:pt x="4165" y="833"/>
                  <a:pt x="4165" y="833"/>
                </a:cubicBezTo>
                <a:lnTo>
                  <a:pt x="4157" y="841"/>
                </a:lnTo>
                <a:cubicBezTo>
                  <a:pt x="4157" y="841"/>
                  <a:pt x="4157" y="848"/>
                  <a:pt x="4165" y="848"/>
                </a:cubicBezTo>
                <a:cubicBezTo>
                  <a:pt x="4181" y="848"/>
                  <a:pt x="4206" y="841"/>
                  <a:pt x="4206" y="841"/>
                </a:cubicBezTo>
                <a:cubicBezTo>
                  <a:pt x="4206" y="841"/>
                  <a:pt x="4206" y="769"/>
                  <a:pt x="4198" y="745"/>
                </a:cubicBezTo>
                <a:cubicBezTo>
                  <a:pt x="4189" y="714"/>
                  <a:pt x="4230" y="682"/>
                  <a:pt x="4230" y="682"/>
                </a:cubicBezTo>
                <a:lnTo>
                  <a:pt x="4287" y="626"/>
                </a:lnTo>
                <a:lnTo>
                  <a:pt x="4279" y="563"/>
                </a:lnTo>
                <a:lnTo>
                  <a:pt x="4345" y="571"/>
                </a:lnTo>
                <a:cubicBezTo>
                  <a:pt x="4345" y="571"/>
                  <a:pt x="4394" y="547"/>
                  <a:pt x="4377" y="515"/>
                </a:cubicBezTo>
                <a:cubicBezTo>
                  <a:pt x="4361" y="476"/>
                  <a:pt x="4345" y="412"/>
                  <a:pt x="4328" y="428"/>
                </a:cubicBezTo>
                <a:cubicBezTo>
                  <a:pt x="4304" y="444"/>
                  <a:pt x="4263" y="492"/>
                  <a:pt x="4263" y="492"/>
                </a:cubicBezTo>
                <a:lnTo>
                  <a:pt x="4255" y="412"/>
                </a:lnTo>
                <a:lnTo>
                  <a:pt x="4189" y="436"/>
                </a:lnTo>
                <a:lnTo>
                  <a:pt x="4124" y="420"/>
                </a:lnTo>
                <a:cubicBezTo>
                  <a:pt x="4124" y="420"/>
                  <a:pt x="4100" y="389"/>
                  <a:pt x="4075" y="396"/>
                </a:cubicBezTo>
                <a:lnTo>
                  <a:pt x="4010" y="396"/>
                </a:lnTo>
                <a:cubicBezTo>
                  <a:pt x="4010" y="396"/>
                  <a:pt x="3977" y="373"/>
                  <a:pt x="3993" y="365"/>
                </a:cubicBezTo>
                <a:cubicBezTo>
                  <a:pt x="4018" y="365"/>
                  <a:pt x="4067" y="373"/>
                  <a:pt x="4091" y="365"/>
                </a:cubicBezTo>
                <a:cubicBezTo>
                  <a:pt x="4108" y="365"/>
                  <a:pt x="4238" y="333"/>
                  <a:pt x="4238" y="333"/>
                </a:cubicBezTo>
                <a:lnTo>
                  <a:pt x="4247" y="278"/>
                </a:lnTo>
                <a:lnTo>
                  <a:pt x="4304" y="230"/>
                </a:lnTo>
                <a:lnTo>
                  <a:pt x="4206" y="159"/>
                </a:lnTo>
                <a:lnTo>
                  <a:pt x="4165" y="95"/>
                </a:lnTo>
                <a:cubicBezTo>
                  <a:pt x="4165" y="95"/>
                  <a:pt x="4157" y="71"/>
                  <a:pt x="4140" y="71"/>
                </a:cubicBezTo>
                <a:cubicBezTo>
                  <a:pt x="4116" y="71"/>
                  <a:pt x="4051" y="103"/>
                  <a:pt x="4051" y="103"/>
                </a:cubicBezTo>
                <a:lnTo>
                  <a:pt x="4002" y="71"/>
                </a:lnTo>
                <a:lnTo>
                  <a:pt x="3928" y="79"/>
                </a:lnTo>
                <a:lnTo>
                  <a:pt x="3822" y="48"/>
                </a:lnTo>
                <a:lnTo>
                  <a:pt x="3822" y="71"/>
                </a:lnTo>
                <a:cubicBezTo>
                  <a:pt x="3822" y="71"/>
                  <a:pt x="3789" y="63"/>
                  <a:pt x="3781" y="48"/>
                </a:cubicBezTo>
                <a:lnTo>
                  <a:pt x="3781" y="16"/>
                </a:lnTo>
                <a:lnTo>
                  <a:pt x="3740" y="24"/>
                </a:lnTo>
                <a:lnTo>
                  <a:pt x="3724" y="24"/>
                </a:lnTo>
                <a:lnTo>
                  <a:pt x="3675" y="0"/>
                </a:lnTo>
                <a:lnTo>
                  <a:pt x="3650" y="48"/>
                </a:lnTo>
                <a:lnTo>
                  <a:pt x="3683" y="103"/>
                </a:lnTo>
                <a:lnTo>
                  <a:pt x="3650" y="166"/>
                </a:lnTo>
                <a:lnTo>
                  <a:pt x="3675" y="206"/>
                </a:lnTo>
                <a:lnTo>
                  <a:pt x="3675" y="262"/>
                </a:lnTo>
                <a:lnTo>
                  <a:pt x="3642" y="325"/>
                </a:lnTo>
                <a:lnTo>
                  <a:pt x="3593" y="285"/>
                </a:lnTo>
                <a:lnTo>
                  <a:pt x="3601" y="230"/>
                </a:lnTo>
                <a:lnTo>
                  <a:pt x="3626" y="166"/>
                </a:lnTo>
                <a:lnTo>
                  <a:pt x="3593" y="103"/>
                </a:lnTo>
                <a:lnTo>
                  <a:pt x="3528" y="159"/>
                </a:lnTo>
                <a:lnTo>
                  <a:pt x="3528" y="238"/>
                </a:lnTo>
                <a:lnTo>
                  <a:pt x="3495" y="293"/>
                </a:lnTo>
                <a:lnTo>
                  <a:pt x="3495" y="365"/>
                </a:lnTo>
                <a:lnTo>
                  <a:pt x="3479" y="420"/>
                </a:lnTo>
                <a:lnTo>
                  <a:pt x="3471" y="492"/>
                </a:lnTo>
                <a:cubicBezTo>
                  <a:pt x="3471" y="492"/>
                  <a:pt x="3471" y="507"/>
                  <a:pt x="3454" y="507"/>
                </a:cubicBezTo>
                <a:cubicBezTo>
                  <a:pt x="3438" y="515"/>
                  <a:pt x="3405" y="500"/>
                  <a:pt x="3405" y="500"/>
                </a:cubicBezTo>
                <a:lnTo>
                  <a:pt x="3405" y="396"/>
                </a:lnTo>
                <a:lnTo>
                  <a:pt x="3422" y="341"/>
                </a:lnTo>
                <a:lnTo>
                  <a:pt x="3446" y="293"/>
                </a:lnTo>
                <a:lnTo>
                  <a:pt x="3479" y="230"/>
                </a:lnTo>
                <a:cubicBezTo>
                  <a:pt x="3479" y="230"/>
                  <a:pt x="3479" y="190"/>
                  <a:pt x="3471" y="182"/>
                </a:cubicBezTo>
                <a:cubicBezTo>
                  <a:pt x="3471" y="182"/>
                  <a:pt x="3454" y="174"/>
                  <a:pt x="3462" y="174"/>
                </a:cubicBezTo>
                <a:cubicBezTo>
                  <a:pt x="3462" y="166"/>
                  <a:pt x="3495" y="135"/>
                  <a:pt x="3495" y="135"/>
                </a:cubicBezTo>
                <a:cubicBezTo>
                  <a:pt x="3495" y="135"/>
                  <a:pt x="3495" y="111"/>
                  <a:pt x="3471" y="95"/>
                </a:cubicBezTo>
                <a:cubicBezTo>
                  <a:pt x="3454" y="87"/>
                  <a:pt x="3438" y="71"/>
                  <a:pt x="3422" y="79"/>
                </a:cubicBezTo>
                <a:cubicBezTo>
                  <a:pt x="3413" y="87"/>
                  <a:pt x="3373" y="103"/>
                  <a:pt x="3373" y="111"/>
                </a:cubicBezTo>
                <a:cubicBezTo>
                  <a:pt x="3364" y="119"/>
                  <a:pt x="3373" y="135"/>
                  <a:pt x="3381" y="143"/>
                </a:cubicBezTo>
                <a:cubicBezTo>
                  <a:pt x="3389" y="143"/>
                  <a:pt x="3397" y="151"/>
                  <a:pt x="3405" y="151"/>
                </a:cubicBezTo>
                <a:cubicBezTo>
                  <a:pt x="3405" y="158"/>
                  <a:pt x="3413" y="182"/>
                  <a:pt x="3405" y="190"/>
                </a:cubicBezTo>
                <a:cubicBezTo>
                  <a:pt x="3397" y="198"/>
                  <a:pt x="3405" y="222"/>
                  <a:pt x="3381" y="214"/>
                </a:cubicBezTo>
                <a:cubicBezTo>
                  <a:pt x="3364" y="206"/>
                  <a:pt x="3315" y="174"/>
                  <a:pt x="3315" y="174"/>
                </a:cubicBezTo>
                <a:cubicBezTo>
                  <a:pt x="3307" y="174"/>
                  <a:pt x="3315" y="143"/>
                  <a:pt x="3299" y="174"/>
                </a:cubicBezTo>
                <a:cubicBezTo>
                  <a:pt x="3283" y="198"/>
                  <a:pt x="3274" y="206"/>
                  <a:pt x="3283" y="222"/>
                </a:cubicBezTo>
                <a:cubicBezTo>
                  <a:pt x="3291" y="238"/>
                  <a:pt x="3299" y="238"/>
                  <a:pt x="3299" y="246"/>
                </a:cubicBezTo>
                <a:cubicBezTo>
                  <a:pt x="3299" y="254"/>
                  <a:pt x="3266" y="254"/>
                  <a:pt x="3266" y="262"/>
                </a:cubicBezTo>
                <a:cubicBezTo>
                  <a:pt x="3266" y="270"/>
                  <a:pt x="3258" y="277"/>
                  <a:pt x="3274" y="293"/>
                </a:cubicBezTo>
                <a:cubicBezTo>
                  <a:pt x="3291" y="301"/>
                  <a:pt x="3307" y="309"/>
                  <a:pt x="3307" y="309"/>
                </a:cubicBezTo>
                <a:cubicBezTo>
                  <a:pt x="3307" y="309"/>
                  <a:pt x="3323" y="333"/>
                  <a:pt x="3315" y="333"/>
                </a:cubicBezTo>
                <a:cubicBezTo>
                  <a:pt x="3315" y="341"/>
                  <a:pt x="3266" y="333"/>
                  <a:pt x="3266" y="341"/>
                </a:cubicBezTo>
                <a:lnTo>
                  <a:pt x="3266" y="373"/>
                </a:lnTo>
                <a:lnTo>
                  <a:pt x="3266" y="396"/>
                </a:lnTo>
                <a:cubicBezTo>
                  <a:pt x="3266" y="404"/>
                  <a:pt x="3234" y="404"/>
                  <a:pt x="3225" y="412"/>
                </a:cubicBezTo>
                <a:cubicBezTo>
                  <a:pt x="3209" y="420"/>
                  <a:pt x="3201" y="444"/>
                  <a:pt x="3201" y="460"/>
                </a:cubicBezTo>
                <a:cubicBezTo>
                  <a:pt x="3193" y="476"/>
                  <a:pt x="3193" y="492"/>
                  <a:pt x="3193" y="500"/>
                </a:cubicBezTo>
                <a:cubicBezTo>
                  <a:pt x="3193" y="507"/>
                  <a:pt x="3176" y="523"/>
                  <a:pt x="3176" y="523"/>
                </a:cubicBezTo>
                <a:cubicBezTo>
                  <a:pt x="3176" y="523"/>
                  <a:pt x="3176" y="531"/>
                  <a:pt x="3160" y="523"/>
                </a:cubicBezTo>
                <a:cubicBezTo>
                  <a:pt x="3144" y="523"/>
                  <a:pt x="3087" y="492"/>
                  <a:pt x="3078" y="492"/>
                </a:cubicBezTo>
                <a:cubicBezTo>
                  <a:pt x="3062" y="492"/>
                  <a:pt x="3046" y="500"/>
                  <a:pt x="3046" y="515"/>
                </a:cubicBezTo>
                <a:cubicBezTo>
                  <a:pt x="3046" y="523"/>
                  <a:pt x="3070" y="547"/>
                  <a:pt x="3078" y="547"/>
                </a:cubicBezTo>
                <a:cubicBezTo>
                  <a:pt x="3078" y="547"/>
                  <a:pt x="3119" y="555"/>
                  <a:pt x="3127" y="563"/>
                </a:cubicBezTo>
                <a:lnTo>
                  <a:pt x="3127" y="626"/>
                </a:lnTo>
                <a:cubicBezTo>
                  <a:pt x="3127" y="626"/>
                  <a:pt x="3160" y="690"/>
                  <a:pt x="3103" y="634"/>
                </a:cubicBezTo>
                <a:cubicBezTo>
                  <a:pt x="3038" y="579"/>
                  <a:pt x="3038" y="571"/>
                  <a:pt x="3029" y="563"/>
                </a:cubicBezTo>
                <a:cubicBezTo>
                  <a:pt x="3021" y="563"/>
                  <a:pt x="2964" y="547"/>
                  <a:pt x="2964" y="547"/>
                </a:cubicBezTo>
                <a:cubicBezTo>
                  <a:pt x="2964" y="547"/>
                  <a:pt x="2956" y="523"/>
                  <a:pt x="2948" y="547"/>
                </a:cubicBezTo>
                <a:cubicBezTo>
                  <a:pt x="2940" y="563"/>
                  <a:pt x="2964" y="603"/>
                  <a:pt x="2964" y="603"/>
                </a:cubicBezTo>
                <a:lnTo>
                  <a:pt x="2956" y="595"/>
                </a:lnTo>
                <a:cubicBezTo>
                  <a:pt x="2956" y="595"/>
                  <a:pt x="2931" y="579"/>
                  <a:pt x="2915" y="571"/>
                </a:cubicBezTo>
                <a:cubicBezTo>
                  <a:pt x="2907" y="555"/>
                  <a:pt x="2882" y="571"/>
                  <a:pt x="2882" y="571"/>
                </a:cubicBezTo>
                <a:cubicBezTo>
                  <a:pt x="2882" y="571"/>
                  <a:pt x="2874" y="579"/>
                  <a:pt x="2858" y="595"/>
                </a:cubicBezTo>
                <a:cubicBezTo>
                  <a:pt x="2850" y="603"/>
                  <a:pt x="2817" y="571"/>
                  <a:pt x="2850" y="611"/>
                </a:cubicBezTo>
                <a:cubicBezTo>
                  <a:pt x="2874" y="642"/>
                  <a:pt x="2899" y="650"/>
                  <a:pt x="2907" y="658"/>
                </a:cubicBezTo>
                <a:cubicBezTo>
                  <a:pt x="2907" y="658"/>
                  <a:pt x="2940" y="666"/>
                  <a:pt x="2948" y="674"/>
                </a:cubicBezTo>
                <a:cubicBezTo>
                  <a:pt x="2956" y="682"/>
                  <a:pt x="2956" y="706"/>
                  <a:pt x="2956" y="714"/>
                </a:cubicBezTo>
                <a:cubicBezTo>
                  <a:pt x="2956" y="714"/>
                  <a:pt x="2980" y="745"/>
                  <a:pt x="2940" y="722"/>
                </a:cubicBezTo>
                <a:cubicBezTo>
                  <a:pt x="2899" y="690"/>
                  <a:pt x="2899" y="682"/>
                  <a:pt x="2882" y="682"/>
                </a:cubicBezTo>
                <a:cubicBezTo>
                  <a:pt x="2874" y="682"/>
                  <a:pt x="2858" y="698"/>
                  <a:pt x="2858" y="698"/>
                </a:cubicBezTo>
                <a:cubicBezTo>
                  <a:pt x="2858" y="698"/>
                  <a:pt x="2809" y="690"/>
                  <a:pt x="2809" y="666"/>
                </a:cubicBezTo>
                <a:cubicBezTo>
                  <a:pt x="2801" y="642"/>
                  <a:pt x="2817" y="603"/>
                  <a:pt x="2784" y="611"/>
                </a:cubicBezTo>
                <a:cubicBezTo>
                  <a:pt x="2744" y="611"/>
                  <a:pt x="2736" y="626"/>
                  <a:pt x="2736" y="634"/>
                </a:cubicBezTo>
                <a:cubicBezTo>
                  <a:pt x="2736" y="642"/>
                  <a:pt x="2712" y="650"/>
                  <a:pt x="2736" y="674"/>
                </a:cubicBezTo>
                <a:cubicBezTo>
                  <a:pt x="2760" y="698"/>
                  <a:pt x="2776" y="714"/>
                  <a:pt x="2784" y="714"/>
                </a:cubicBezTo>
                <a:cubicBezTo>
                  <a:pt x="2784" y="714"/>
                  <a:pt x="2833" y="714"/>
                  <a:pt x="2809" y="722"/>
                </a:cubicBezTo>
                <a:cubicBezTo>
                  <a:pt x="2792" y="737"/>
                  <a:pt x="2760" y="737"/>
                  <a:pt x="2753" y="737"/>
                </a:cubicBezTo>
                <a:cubicBezTo>
                  <a:pt x="2744" y="737"/>
                  <a:pt x="2753" y="730"/>
                  <a:pt x="2744" y="737"/>
                </a:cubicBezTo>
                <a:cubicBezTo>
                  <a:pt x="2728" y="745"/>
                  <a:pt x="2687" y="785"/>
                  <a:pt x="2687" y="785"/>
                </a:cubicBezTo>
                <a:cubicBezTo>
                  <a:pt x="2687" y="785"/>
                  <a:pt x="2679" y="769"/>
                  <a:pt x="2679" y="761"/>
                </a:cubicBezTo>
                <a:cubicBezTo>
                  <a:pt x="2679" y="753"/>
                  <a:pt x="2712" y="737"/>
                  <a:pt x="2712" y="722"/>
                </a:cubicBezTo>
                <a:cubicBezTo>
                  <a:pt x="2712" y="706"/>
                  <a:pt x="2695" y="650"/>
                  <a:pt x="2695" y="650"/>
                </a:cubicBezTo>
                <a:lnTo>
                  <a:pt x="2663" y="634"/>
                </a:lnTo>
                <a:cubicBezTo>
                  <a:pt x="2655" y="626"/>
                  <a:pt x="2630" y="611"/>
                  <a:pt x="2622" y="618"/>
                </a:cubicBezTo>
                <a:cubicBezTo>
                  <a:pt x="2614" y="626"/>
                  <a:pt x="2597" y="650"/>
                  <a:pt x="2614" y="666"/>
                </a:cubicBezTo>
                <a:cubicBezTo>
                  <a:pt x="2630" y="690"/>
                  <a:pt x="2646" y="706"/>
                  <a:pt x="2638" y="706"/>
                </a:cubicBezTo>
                <a:cubicBezTo>
                  <a:pt x="2622" y="714"/>
                  <a:pt x="2614" y="722"/>
                  <a:pt x="2606" y="714"/>
                </a:cubicBezTo>
                <a:cubicBezTo>
                  <a:pt x="2597" y="714"/>
                  <a:pt x="2581" y="698"/>
                  <a:pt x="2557" y="706"/>
                </a:cubicBezTo>
                <a:cubicBezTo>
                  <a:pt x="2532" y="714"/>
                  <a:pt x="2508" y="761"/>
                  <a:pt x="2508" y="761"/>
                </a:cubicBezTo>
                <a:cubicBezTo>
                  <a:pt x="2508" y="761"/>
                  <a:pt x="2532" y="809"/>
                  <a:pt x="2540" y="817"/>
                </a:cubicBezTo>
                <a:cubicBezTo>
                  <a:pt x="2548" y="817"/>
                  <a:pt x="2557" y="833"/>
                  <a:pt x="2557" y="848"/>
                </a:cubicBezTo>
                <a:cubicBezTo>
                  <a:pt x="2548" y="864"/>
                  <a:pt x="2557" y="841"/>
                  <a:pt x="2540" y="848"/>
                </a:cubicBezTo>
                <a:cubicBezTo>
                  <a:pt x="2516" y="856"/>
                  <a:pt x="2508" y="864"/>
                  <a:pt x="2491" y="864"/>
                </a:cubicBezTo>
                <a:cubicBezTo>
                  <a:pt x="2475" y="864"/>
                  <a:pt x="2434" y="912"/>
                  <a:pt x="2434" y="912"/>
                </a:cubicBezTo>
                <a:lnTo>
                  <a:pt x="2459" y="944"/>
                </a:lnTo>
                <a:cubicBezTo>
                  <a:pt x="2459" y="944"/>
                  <a:pt x="2393" y="967"/>
                  <a:pt x="2377" y="975"/>
                </a:cubicBezTo>
                <a:cubicBezTo>
                  <a:pt x="2369" y="975"/>
                  <a:pt x="2401" y="967"/>
                  <a:pt x="2361" y="975"/>
                </a:cubicBezTo>
                <a:cubicBezTo>
                  <a:pt x="2328" y="991"/>
                  <a:pt x="2303" y="1023"/>
                  <a:pt x="2295" y="1039"/>
                </a:cubicBezTo>
                <a:cubicBezTo>
                  <a:pt x="2295" y="1047"/>
                  <a:pt x="2263" y="1047"/>
                  <a:pt x="2263" y="1071"/>
                </a:cubicBezTo>
                <a:cubicBezTo>
                  <a:pt x="2263" y="1086"/>
                  <a:pt x="2271" y="1118"/>
                  <a:pt x="2263" y="1126"/>
                </a:cubicBezTo>
                <a:lnTo>
                  <a:pt x="2263" y="1150"/>
                </a:lnTo>
                <a:cubicBezTo>
                  <a:pt x="2263" y="1166"/>
                  <a:pt x="2254" y="1182"/>
                  <a:pt x="2279" y="1182"/>
                </a:cubicBezTo>
                <a:cubicBezTo>
                  <a:pt x="2303" y="1182"/>
                  <a:pt x="2336" y="1166"/>
                  <a:pt x="2344" y="1158"/>
                </a:cubicBezTo>
                <a:cubicBezTo>
                  <a:pt x="2344" y="1150"/>
                  <a:pt x="2352" y="1118"/>
                  <a:pt x="2361" y="1134"/>
                </a:cubicBezTo>
                <a:cubicBezTo>
                  <a:pt x="2377" y="1142"/>
                  <a:pt x="2377" y="1174"/>
                  <a:pt x="2377" y="1174"/>
                </a:cubicBezTo>
                <a:lnTo>
                  <a:pt x="2377" y="1213"/>
                </a:lnTo>
                <a:cubicBezTo>
                  <a:pt x="2369" y="1229"/>
                  <a:pt x="2426" y="1213"/>
                  <a:pt x="2369" y="1237"/>
                </a:cubicBezTo>
                <a:cubicBezTo>
                  <a:pt x="2312" y="1269"/>
                  <a:pt x="2295" y="1269"/>
                  <a:pt x="2295" y="1277"/>
                </a:cubicBezTo>
                <a:cubicBezTo>
                  <a:pt x="2295" y="1293"/>
                  <a:pt x="2328" y="1332"/>
                  <a:pt x="2287" y="1316"/>
                </a:cubicBezTo>
                <a:cubicBezTo>
                  <a:pt x="2246" y="1308"/>
                  <a:pt x="2246" y="1316"/>
                  <a:pt x="2246" y="1308"/>
                </a:cubicBezTo>
                <a:cubicBezTo>
                  <a:pt x="2238" y="1300"/>
                  <a:pt x="2254" y="1348"/>
                  <a:pt x="2205" y="1277"/>
                </a:cubicBezTo>
                <a:cubicBezTo>
                  <a:pt x="2156" y="1205"/>
                  <a:pt x="2156" y="1213"/>
                  <a:pt x="2156" y="1197"/>
                </a:cubicBezTo>
                <a:cubicBezTo>
                  <a:pt x="2156" y="1182"/>
                  <a:pt x="2148" y="1126"/>
                  <a:pt x="2148" y="1126"/>
                </a:cubicBezTo>
                <a:cubicBezTo>
                  <a:pt x="2148" y="1126"/>
                  <a:pt x="2140" y="1071"/>
                  <a:pt x="2115" y="1094"/>
                </a:cubicBezTo>
                <a:cubicBezTo>
                  <a:pt x="2083" y="1118"/>
                  <a:pt x="2083" y="1158"/>
                  <a:pt x="2083" y="1158"/>
                </a:cubicBezTo>
                <a:cubicBezTo>
                  <a:pt x="2083" y="1158"/>
                  <a:pt x="2042" y="1197"/>
                  <a:pt x="2034" y="1205"/>
                </a:cubicBezTo>
                <a:cubicBezTo>
                  <a:pt x="2026" y="1205"/>
                  <a:pt x="2009" y="1205"/>
                  <a:pt x="1985" y="1221"/>
                </a:cubicBezTo>
                <a:cubicBezTo>
                  <a:pt x="1968" y="1245"/>
                  <a:pt x="1911" y="1324"/>
                  <a:pt x="1911" y="1324"/>
                </a:cubicBezTo>
                <a:cubicBezTo>
                  <a:pt x="1911" y="1324"/>
                  <a:pt x="1879" y="1380"/>
                  <a:pt x="1887" y="1396"/>
                </a:cubicBezTo>
                <a:cubicBezTo>
                  <a:pt x="1895" y="1412"/>
                  <a:pt x="1919" y="1435"/>
                  <a:pt x="1919" y="1435"/>
                </a:cubicBezTo>
                <a:cubicBezTo>
                  <a:pt x="1919" y="1435"/>
                  <a:pt x="1928" y="1427"/>
                  <a:pt x="1928" y="1451"/>
                </a:cubicBezTo>
                <a:cubicBezTo>
                  <a:pt x="1928" y="1475"/>
                  <a:pt x="1968" y="1483"/>
                  <a:pt x="1968" y="1483"/>
                </a:cubicBezTo>
                <a:cubicBezTo>
                  <a:pt x="1968" y="1483"/>
                  <a:pt x="1985" y="1491"/>
                  <a:pt x="1968" y="1507"/>
                </a:cubicBezTo>
                <a:cubicBezTo>
                  <a:pt x="1944" y="1523"/>
                  <a:pt x="1879" y="1531"/>
                  <a:pt x="1879" y="1531"/>
                </a:cubicBezTo>
                <a:lnTo>
                  <a:pt x="1813" y="1531"/>
                </a:lnTo>
                <a:cubicBezTo>
                  <a:pt x="1813" y="1531"/>
                  <a:pt x="1780" y="1570"/>
                  <a:pt x="1772" y="1570"/>
                </a:cubicBezTo>
                <a:cubicBezTo>
                  <a:pt x="1756" y="1578"/>
                  <a:pt x="1731" y="1594"/>
                  <a:pt x="1723" y="1618"/>
                </a:cubicBezTo>
                <a:cubicBezTo>
                  <a:pt x="1723" y="1634"/>
                  <a:pt x="1650" y="1697"/>
                  <a:pt x="1650" y="1697"/>
                </a:cubicBezTo>
                <a:lnTo>
                  <a:pt x="1650" y="1729"/>
                </a:lnTo>
                <a:cubicBezTo>
                  <a:pt x="1650" y="1737"/>
                  <a:pt x="1617" y="1753"/>
                  <a:pt x="1633" y="1760"/>
                </a:cubicBezTo>
                <a:cubicBezTo>
                  <a:pt x="1650" y="1768"/>
                  <a:pt x="1674" y="1776"/>
                  <a:pt x="1691" y="1745"/>
                </a:cubicBezTo>
                <a:cubicBezTo>
                  <a:pt x="1707" y="1721"/>
                  <a:pt x="1707" y="1681"/>
                  <a:pt x="1707" y="1681"/>
                </a:cubicBezTo>
                <a:cubicBezTo>
                  <a:pt x="1707" y="1681"/>
                  <a:pt x="1723" y="1665"/>
                  <a:pt x="1740" y="1665"/>
                </a:cubicBezTo>
                <a:cubicBezTo>
                  <a:pt x="1764" y="1665"/>
                  <a:pt x="1789" y="1642"/>
                  <a:pt x="1813" y="1634"/>
                </a:cubicBezTo>
                <a:cubicBezTo>
                  <a:pt x="1838" y="1634"/>
                  <a:pt x="1870" y="1594"/>
                  <a:pt x="1879" y="1594"/>
                </a:cubicBezTo>
                <a:cubicBezTo>
                  <a:pt x="1895" y="1594"/>
                  <a:pt x="1887" y="1602"/>
                  <a:pt x="1919" y="1594"/>
                </a:cubicBezTo>
                <a:cubicBezTo>
                  <a:pt x="1952" y="1594"/>
                  <a:pt x="1985" y="1594"/>
                  <a:pt x="1993" y="1586"/>
                </a:cubicBezTo>
                <a:cubicBezTo>
                  <a:pt x="2009" y="1578"/>
                  <a:pt x="2075" y="1618"/>
                  <a:pt x="2083" y="1626"/>
                </a:cubicBezTo>
                <a:cubicBezTo>
                  <a:pt x="2083" y="1634"/>
                  <a:pt x="2026" y="1642"/>
                  <a:pt x="2050" y="1657"/>
                </a:cubicBezTo>
                <a:cubicBezTo>
                  <a:pt x="2083" y="1673"/>
                  <a:pt x="2083" y="1681"/>
                  <a:pt x="2091" y="1681"/>
                </a:cubicBezTo>
                <a:cubicBezTo>
                  <a:pt x="2099" y="1681"/>
                  <a:pt x="2115" y="1673"/>
                  <a:pt x="2140" y="1665"/>
                </a:cubicBezTo>
                <a:cubicBezTo>
                  <a:pt x="2156" y="1649"/>
                  <a:pt x="2124" y="1626"/>
                  <a:pt x="2173" y="1642"/>
                </a:cubicBezTo>
                <a:cubicBezTo>
                  <a:pt x="2213" y="1657"/>
                  <a:pt x="2213" y="1673"/>
                  <a:pt x="2213" y="1673"/>
                </a:cubicBezTo>
                <a:lnTo>
                  <a:pt x="2205" y="1689"/>
                </a:lnTo>
                <a:lnTo>
                  <a:pt x="2173" y="1697"/>
                </a:lnTo>
                <a:lnTo>
                  <a:pt x="2124" y="1689"/>
                </a:lnTo>
                <a:lnTo>
                  <a:pt x="2091" y="1705"/>
                </a:lnTo>
                <a:cubicBezTo>
                  <a:pt x="2091" y="1705"/>
                  <a:pt x="2083" y="1713"/>
                  <a:pt x="2075" y="1713"/>
                </a:cubicBezTo>
                <a:lnTo>
                  <a:pt x="2001" y="1721"/>
                </a:lnTo>
                <a:lnTo>
                  <a:pt x="1968" y="1768"/>
                </a:lnTo>
                <a:lnTo>
                  <a:pt x="1993" y="1800"/>
                </a:lnTo>
                <a:cubicBezTo>
                  <a:pt x="2001" y="1800"/>
                  <a:pt x="2050" y="1784"/>
                  <a:pt x="2050" y="1792"/>
                </a:cubicBezTo>
                <a:cubicBezTo>
                  <a:pt x="2058" y="1792"/>
                  <a:pt x="2066" y="1808"/>
                  <a:pt x="2058" y="1816"/>
                </a:cubicBezTo>
                <a:cubicBezTo>
                  <a:pt x="2058" y="1824"/>
                  <a:pt x="2026" y="1848"/>
                  <a:pt x="2026" y="1848"/>
                </a:cubicBezTo>
                <a:lnTo>
                  <a:pt x="2009" y="1879"/>
                </a:lnTo>
                <a:cubicBezTo>
                  <a:pt x="2009" y="1879"/>
                  <a:pt x="2042" y="1887"/>
                  <a:pt x="2050" y="1887"/>
                </a:cubicBezTo>
                <a:cubicBezTo>
                  <a:pt x="2050" y="1887"/>
                  <a:pt x="2099" y="1887"/>
                  <a:pt x="2091" y="1895"/>
                </a:cubicBezTo>
                <a:lnTo>
                  <a:pt x="2017" y="1903"/>
                </a:lnTo>
                <a:cubicBezTo>
                  <a:pt x="2017" y="1903"/>
                  <a:pt x="1952" y="1895"/>
                  <a:pt x="1960" y="1895"/>
                </a:cubicBezTo>
                <a:cubicBezTo>
                  <a:pt x="1960" y="1903"/>
                  <a:pt x="1952" y="1919"/>
                  <a:pt x="1952" y="1927"/>
                </a:cubicBezTo>
                <a:lnTo>
                  <a:pt x="1936" y="1951"/>
                </a:lnTo>
                <a:cubicBezTo>
                  <a:pt x="1928" y="1951"/>
                  <a:pt x="1911" y="1951"/>
                  <a:pt x="1903" y="1959"/>
                </a:cubicBezTo>
                <a:cubicBezTo>
                  <a:pt x="1903" y="1967"/>
                  <a:pt x="1895" y="1983"/>
                  <a:pt x="1895" y="1998"/>
                </a:cubicBezTo>
                <a:cubicBezTo>
                  <a:pt x="1895" y="2006"/>
                  <a:pt x="1919" y="2030"/>
                  <a:pt x="1919" y="2030"/>
                </a:cubicBezTo>
                <a:lnTo>
                  <a:pt x="1911" y="2046"/>
                </a:lnTo>
                <a:lnTo>
                  <a:pt x="1879" y="2078"/>
                </a:lnTo>
                <a:cubicBezTo>
                  <a:pt x="1879" y="2078"/>
                  <a:pt x="1862" y="2086"/>
                  <a:pt x="1862" y="2094"/>
                </a:cubicBezTo>
                <a:cubicBezTo>
                  <a:pt x="1870" y="2094"/>
                  <a:pt x="1838" y="2109"/>
                  <a:pt x="1838" y="2109"/>
                </a:cubicBezTo>
                <a:lnTo>
                  <a:pt x="1780" y="2141"/>
                </a:lnTo>
                <a:cubicBezTo>
                  <a:pt x="1780" y="2141"/>
                  <a:pt x="1789" y="2165"/>
                  <a:pt x="1789" y="2173"/>
                </a:cubicBezTo>
                <a:cubicBezTo>
                  <a:pt x="1789" y="2173"/>
                  <a:pt x="1813" y="2189"/>
                  <a:pt x="1797" y="2205"/>
                </a:cubicBezTo>
                <a:cubicBezTo>
                  <a:pt x="1780" y="2213"/>
                  <a:pt x="1764" y="2220"/>
                  <a:pt x="1756" y="2228"/>
                </a:cubicBezTo>
                <a:cubicBezTo>
                  <a:pt x="1756" y="2228"/>
                  <a:pt x="1740" y="2236"/>
                  <a:pt x="1740" y="2260"/>
                </a:cubicBezTo>
                <a:cubicBezTo>
                  <a:pt x="1748" y="2276"/>
                  <a:pt x="1731" y="2300"/>
                  <a:pt x="1723" y="2300"/>
                </a:cubicBezTo>
                <a:cubicBezTo>
                  <a:pt x="1723" y="2300"/>
                  <a:pt x="1707" y="2308"/>
                  <a:pt x="1707" y="2332"/>
                </a:cubicBezTo>
                <a:cubicBezTo>
                  <a:pt x="1715" y="2347"/>
                  <a:pt x="1707" y="2403"/>
                  <a:pt x="1707" y="2403"/>
                </a:cubicBezTo>
                <a:cubicBezTo>
                  <a:pt x="1707" y="2403"/>
                  <a:pt x="1731" y="2435"/>
                  <a:pt x="1740" y="2435"/>
                </a:cubicBezTo>
                <a:cubicBezTo>
                  <a:pt x="1740" y="2435"/>
                  <a:pt x="1780" y="2419"/>
                  <a:pt x="1789" y="2427"/>
                </a:cubicBezTo>
                <a:cubicBezTo>
                  <a:pt x="1805" y="2427"/>
                  <a:pt x="1829" y="2443"/>
                  <a:pt x="1829" y="2443"/>
                </a:cubicBezTo>
                <a:cubicBezTo>
                  <a:pt x="1829" y="2443"/>
                  <a:pt x="1821" y="2482"/>
                  <a:pt x="1813" y="2490"/>
                </a:cubicBezTo>
                <a:cubicBezTo>
                  <a:pt x="1805" y="2490"/>
                  <a:pt x="1756" y="2498"/>
                  <a:pt x="1756" y="2498"/>
                </a:cubicBezTo>
                <a:cubicBezTo>
                  <a:pt x="1756" y="2498"/>
                  <a:pt x="1731" y="2482"/>
                  <a:pt x="1723" y="2482"/>
                </a:cubicBezTo>
                <a:cubicBezTo>
                  <a:pt x="1715" y="2490"/>
                  <a:pt x="1674" y="2530"/>
                  <a:pt x="1674" y="2530"/>
                </a:cubicBezTo>
                <a:cubicBezTo>
                  <a:pt x="1674" y="2530"/>
                  <a:pt x="1674" y="2554"/>
                  <a:pt x="1666" y="2554"/>
                </a:cubicBezTo>
                <a:cubicBezTo>
                  <a:pt x="1650" y="2562"/>
                  <a:pt x="1642" y="2546"/>
                  <a:pt x="1642" y="2562"/>
                </a:cubicBezTo>
                <a:lnTo>
                  <a:pt x="1642" y="2601"/>
                </a:lnTo>
                <a:lnTo>
                  <a:pt x="1642" y="2641"/>
                </a:lnTo>
                <a:cubicBezTo>
                  <a:pt x="1642" y="2641"/>
                  <a:pt x="1625" y="2673"/>
                  <a:pt x="1617" y="2688"/>
                </a:cubicBezTo>
                <a:cubicBezTo>
                  <a:pt x="1609" y="2704"/>
                  <a:pt x="1593" y="2744"/>
                  <a:pt x="1593" y="2752"/>
                </a:cubicBezTo>
                <a:cubicBezTo>
                  <a:pt x="1601" y="2760"/>
                  <a:pt x="1617" y="2799"/>
                  <a:pt x="1617" y="2799"/>
                </a:cubicBezTo>
                <a:lnTo>
                  <a:pt x="1560" y="2831"/>
                </a:lnTo>
                <a:lnTo>
                  <a:pt x="1576" y="2871"/>
                </a:lnTo>
                <a:cubicBezTo>
                  <a:pt x="1576" y="2871"/>
                  <a:pt x="1584" y="2871"/>
                  <a:pt x="1584" y="2879"/>
                </a:cubicBezTo>
                <a:cubicBezTo>
                  <a:pt x="1584" y="2895"/>
                  <a:pt x="1544" y="2918"/>
                  <a:pt x="1544" y="2918"/>
                </a:cubicBezTo>
                <a:lnTo>
                  <a:pt x="1544" y="2966"/>
                </a:lnTo>
                <a:cubicBezTo>
                  <a:pt x="1544" y="2974"/>
                  <a:pt x="1503" y="2942"/>
                  <a:pt x="1503" y="2942"/>
                </a:cubicBezTo>
                <a:lnTo>
                  <a:pt x="1470" y="2950"/>
                </a:lnTo>
                <a:lnTo>
                  <a:pt x="1470" y="2982"/>
                </a:lnTo>
                <a:lnTo>
                  <a:pt x="1454" y="3014"/>
                </a:lnTo>
                <a:lnTo>
                  <a:pt x="1397" y="3014"/>
                </a:lnTo>
                <a:lnTo>
                  <a:pt x="1347" y="3045"/>
                </a:lnTo>
                <a:cubicBezTo>
                  <a:pt x="1356" y="3053"/>
                  <a:pt x="1331" y="3077"/>
                  <a:pt x="1356" y="3077"/>
                </a:cubicBezTo>
                <a:lnTo>
                  <a:pt x="1388" y="3077"/>
                </a:lnTo>
                <a:cubicBezTo>
                  <a:pt x="1405" y="3069"/>
                  <a:pt x="1437" y="3053"/>
                  <a:pt x="1446" y="3053"/>
                </a:cubicBezTo>
                <a:cubicBezTo>
                  <a:pt x="1454" y="3053"/>
                  <a:pt x="1478" y="3053"/>
                  <a:pt x="1462" y="3069"/>
                </a:cubicBezTo>
                <a:cubicBezTo>
                  <a:pt x="1446" y="3085"/>
                  <a:pt x="1429" y="3085"/>
                  <a:pt x="1421" y="3093"/>
                </a:cubicBezTo>
                <a:cubicBezTo>
                  <a:pt x="1405" y="3101"/>
                  <a:pt x="1380" y="3101"/>
                  <a:pt x="1380" y="3125"/>
                </a:cubicBezTo>
                <a:cubicBezTo>
                  <a:pt x="1380" y="3148"/>
                  <a:pt x="1372" y="3172"/>
                  <a:pt x="1372" y="3172"/>
                </a:cubicBezTo>
                <a:lnTo>
                  <a:pt x="1429" y="3156"/>
                </a:lnTo>
                <a:cubicBezTo>
                  <a:pt x="1429" y="3156"/>
                  <a:pt x="1446" y="3148"/>
                  <a:pt x="1446" y="3172"/>
                </a:cubicBezTo>
                <a:cubicBezTo>
                  <a:pt x="1454" y="3204"/>
                  <a:pt x="1429" y="3212"/>
                  <a:pt x="1413" y="3212"/>
                </a:cubicBezTo>
                <a:cubicBezTo>
                  <a:pt x="1405" y="3212"/>
                  <a:pt x="1364" y="3180"/>
                  <a:pt x="1364" y="3180"/>
                </a:cubicBezTo>
                <a:lnTo>
                  <a:pt x="1331" y="3204"/>
                </a:lnTo>
                <a:cubicBezTo>
                  <a:pt x="1331" y="3204"/>
                  <a:pt x="1323" y="3196"/>
                  <a:pt x="1290" y="3220"/>
                </a:cubicBezTo>
                <a:cubicBezTo>
                  <a:pt x="1258" y="3251"/>
                  <a:pt x="1241" y="3291"/>
                  <a:pt x="1241" y="3299"/>
                </a:cubicBezTo>
                <a:cubicBezTo>
                  <a:pt x="1241" y="3307"/>
                  <a:pt x="1241" y="3323"/>
                  <a:pt x="1217" y="3339"/>
                </a:cubicBezTo>
                <a:cubicBezTo>
                  <a:pt x="1200" y="3347"/>
                  <a:pt x="1176" y="3370"/>
                  <a:pt x="1176" y="3370"/>
                </a:cubicBezTo>
                <a:cubicBezTo>
                  <a:pt x="1176" y="3370"/>
                  <a:pt x="1168" y="3394"/>
                  <a:pt x="1160" y="3410"/>
                </a:cubicBezTo>
                <a:lnTo>
                  <a:pt x="1151" y="3426"/>
                </a:lnTo>
                <a:lnTo>
                  <a:pt x="1184" y="3458"/>
                </a:lnTo>
                <a:lnTo>
                  <a:pt x="1127" y="3489"/>
                </a:lnTo>
                <a:lnTo>
                  <a:pt x="1102" y="3505"/>
                </a:lnTo>
                <a:cubicBezTo>
                  <a:pt x="1102" y="3505"/>
                  <a:pt x="1053" y="3553"/>
                  <a:pt x="1086" y="3561"/>
                </a:cubicBezTo>
                <a:cubicBezTo>
                  <a:pt x="1127" y="3569"/>
                  <a:pt x="1151" y="3569"/>
                  <a:pt x="1151" y="3569"/>
                </a:cubicBezTo>
                <a:cubicBezTo>
                  <a:pt x="1151" y="3569"/>
                  <a:pt x="1143" y="3616"/>
                  <a:pt x="1151" y="3616"/>
                </a:cubicBezTo>
                <a:lnTo>
                  <a:pt x="1233" y="3616"/>
                </a:lnTo>
                <a:lnTo>
                  <a:pt x="1274" y="3585"/>
                </a:lnTo>
                <a:lnTo>
                  <a:pt x="1298" y="3569"/>
                </a:lnTo>
                <a:lnTo>
                  <a:pt x="1315" y="3600"/>
                </a:lnTo>
                <a:cubicBezTo>
                  <a:pt x="1315" y="3600"/>
                  <a:pt x="1298" y="3624"/>
                  <a:pt x="1282" y="3624"/>
                </a:cubicBezTo>
                <a:cubicBezTo>
                  <a:pt x="1258" y="3624"/>
                  <a:pt x="1266" y="3624"/>
                  <a:pt x="1249" y="3640"/>
                </a:cubicBezTo>
                <a:cubicBezTo>
                  <a:pt x="1225" y="3664"/>
                  <a:pt x="1217" y="3672"/>
                  <a:pt x="1200" y="3672"/>
                </a:cubicBezTo>
                <a:cubicBezTo>
                  <a:pt x="1192" y="3672"/>
                  <a:pt x="1176" y="3696"/>
                  <a:pt x="1160" y="3664"/>
                </a:cubicBezTo>
                <a:cubicBezTo>
                  <a:pt x="1151" y="3640"/>
                  <a:pt x="1135" y="3616"/>
                  <a:pt x="1135" y="3616"/>
                </a:cubicBezTo>
                <a:lnTo>
                  <a:pt x="1062" y="3585"/>
                </a:lnTo>
                <a:lnTo>
                  <a:pt x="1045" y="3593"/>
                </a:lnTo>
                <a:cubicBezTo>
                  <a:pt x="1045" y="3593"/>
                  <a:pt x="1037" y="3624"/>
                  <a:pt x="1029" y="3624"/>
                </a:cubicBezTo>
                <a:lnTo>
                  <a:pt x="955" y="3624"/>
                </a:lnTo>
                <a:cubicBezTo>
                  <a:pt x="947" y="3624"/>
                  <a:pt x="931" y="3624"/>
                  <a:pt x="931" y="3616"/>
                </a:cubicBezTo>
                <a:cubicBezTo>
                  <a:pt x="923" y="3600"/>
                  <a:pt x="931" y="3600"/>
                  <a:pt x="923" y="3593"/>
                </a:cubicBezTo>
                <a:cubicBezTo>
                  <a:pt x="915" y="3585"/>
                  <a:pt x="898" y="3553"/>
                  <a:pt x="882" y="3561"/>
                </a:cubicBezTo>
                <a:cubicBezTo>
                  <a:pt x="874" y="3561"/>
                  <a:pt x="833" y="3577"/>
                  <a:pt x="833" y="3577"/>
                </a:cubicBezTo>
                <a:lnTo>
                  <a:pt x="825" y="3640"/>
                </a:lnTo>
                <a:cubicBezTo>
                  <a:pt x="825" y="3640"/>
                  <a:pt x="800" y="3640"/>
                  <a:pt x="808" y="3656"/>
                </a:cubicBezTo>
                <a:cubicBezTo>
                  <a:pt x="808" y="3672"/>
                  <a:pt x="841" y="3688"/>
                  <a:pt x="841" y="3688"/>
                </a:cubicBezTo>
                <a:cubicBezTo>
                  <a:pt x="841" y="3688"/>
                  <a:pt x="857" y="3704"/>
                  <a:pt x="857" y="3711"/>
                </a:cubicBezTo>
                <a:cubicBezTo>
                  <a:pt x="866" y="3727"/>
                  <a:pt x="841" y="3743"/>
                  <a:pt x="841" y="3743"/>
                </a:cubicBezTo>
                <a:cubicBezTo>
                  <a:pt x="841" y="3743"/>
                  <a:pt x="800" y="3743"/>
                  <a:pt x="792" y="3759"/>
                </a:cubicBezTo>
                <a:cubicBezTo>
                  <a:pt x="792" y="3767"/>
                  <a:pt x="800" y="3791"/>
                  <a:pt x="792" y="3791"/>
                </a:cubicBezTo>
                <a:cubicBezTo>
                  <a:pt x="784" y="3799"/>
                  <a:pt x="776" y="3815"/>
                  <a:pt x="776" y="3823"/>
                </a:cubicBezTo>
                <a:lnTo>
                  <a:pt x="792" y="3862"/>
                </a:lnTo>
                <a:cubicBezTo>
                  <a:pt x="792" y="3862"/>
                  <a:pt x="792" y="3894"/>
                  <a:pt x="776" y="3878"/>
                </a:cubicBezTo>
                <a:cubicBezTo>
                  <a:pt x="759" y="3862"/>
                  <a:pt x="710" y="3838"/>
                  <a:pt x="710" y="3838"/>
                </a:cubicBezTo>
                <a:lnTo>
                  <a:pt x="678" y="3815"/>
                </a:lnTo>
                <a:cubicBezTo>
                  <a:pt x="678" y="3815"/>
                  <a:pt x="645" y="3838"/>
                  <a:pt x="637" y="3838"/>
                </a:cubicBezTo>
                <a:cubicBezTo>
                  <a:pt x="637" y="3846"/>
                  <a:pt x="580" y="3838"/>
                  <a:pt x="563" y="3846"/>
                </a:cubicBezTo>
                <a:cubicBezTo>
                  <a:pt x="555" y="3854"/>
                  <a:pt x="555" y="3862"/>
                  <a:pt x="547" y="3878"/>
                </a:cubicBezTo>
                <a:cubicBezTo>
                  <a:pt x="531" y="3894"/>
                  <a:pt x="506" y="3894"/>
                  <a:pt x="531" y="3918"/>
                </a:cubicBezTo>
                <a:cubicBezTo>
                  <a:pt x="547" y="3941"/>
                  <a:pt x="588" y="3949"/>
                  <a:pt x="588" y="3949"/>
                </a:cubicBezTo>
                <a:cubicBezTo>
                  <a:pt x="588" y="3949"/>
                  <a:pt x="604" y="3957"/>
                  <a:pt x="588" y="3981"/>
                </a:cubicBezTo>
                <a:cubicBezTo>
                  <a:pt x="571" y="4013"/>
                  <a:pt x="539" y="3989"/>
                  <a:pt x="531" y="3989"/>
                </a:cubicBezTo>
                <a:cubicBezTo>
                  <a:pt x="522" y="3981"/>
                  <a:pt x="490" y="3957"/>
                  <a:pt x="482" y="3965"/>
                </a:cubicBezTo>
                <a:cubicBezTo>
                  <a:pt x="473" y="3973"/>
                  <a:pt x="449" y="4013"/>
                  <a:pt x="449" y="4013"/>
                </a:cubicBezTo>
                <a:cubicBezTo>
                  <a:pt x="449" y="4013"/>
                  <a:pt x="424" y="4021"/>
                  <a:pt x="416" y="4013"/>
                </a:cubicBezTo>
                <a:cubicBezTo>
                  <a:pt x="408" y="4013"/>
                  <a:pt x="384" y="3973"/>
                  <a:pt x="375" y="3981"/>
                </a:cubicBezTo>
                <a:cubicBezTo>
                  <a:pt x="367" y="3989"/>
                  <a:pt x="359" y="4005"/>
                  <a:pt x="359" y="4013"/>
                </a:cubicBezTo>
                <a:cubicBezTo>
                  <a:pt x="359" y="4021"/>
                  <a:pt x="375" y="4037"/>
                  <a:pt x="367" y="4045"/>
                </a:cubicBezTo>
                <a:cubicBezTo>
                  <a:pt x="367" y="4053"/>
                  <a:pt x="326" y="4060"/>
                  <a:pt x="318" y="4068"/>
                </a:cubicBezTo>
                <a:cubicBezTo>
                  <a:pt x="318" y="4076"/>
                  <a:pt x="318" y="4060"/>
                  <a:pt x="302" y="4092"/>
                </a:cubicBezTo>
                <a:cubicBezTo>
                  <a:pt x="294" y="4124"/>
                  <a:pt x="302" y="4124"/>
                  <a:pt x="294" y="4124"/>
                </a:cubicBezTo>
                <a:cubicBezTo>
                  <a:pt x="277" y="4132"/>
                  <a:pt x="245" y="4108"/>
                  <a:pt x="245" y="4108"/>
                </a:cubicBezTo>
                <a:cubicBezTo>
                  <a:pt x="245" y="4108"/>
                  <a:pt x="220" y="4084"/>
                  <a:pt x="220" y="4108"/>
                </a:cubicBezTo>
                <a:cubicBezTo>
                  <a:pt x="220" y="4140"/>
                  <a:pt x="212" y="4171"/>
                  <a:pt x="212" y="4171"/>
                </a:cubicBezTo>
                <a:lnTo>
                  <a:pt x="236" y="4187"/>
                </a:lnTo>
                <a:cubicBezTo>
                  <a:pt x="236" y="4187"/>
                  <a:pt x="228" y="4203"/>
                  <a:pt x="220" y="4203"/>
                </a:cubicBezTo>
                <a:cubicBezTo>
                  <a:pt x="220" y="4203"/>
                  <a:pt x="204" y="4195"/>
                  <a:pt x="196" y="4179"/>
                </a:cubicBezTo>
                <a:cubicBezTo>
                  <a:pt x="187" y="4171"/>
                  <a:pt x="196" y="4171"/>
                  <a:pt x="171" y="4164"/>
                </a:cubicBezTo>
                <a:cubicBezTo>
                  <a:pt x="147" y="4156"/>
                  <a:pt x="130" y="4140"/>
                  <a:pt x="130" y="4156"/>
                </a:cubicBezTo>
                <a:cubicBezTo>
                  <a:pt x="130" y="4164"/>
                  <a:pt x="122" y="4179"/>
                  <a:pt x="130" y="4187"/>
                </a:cubicBezTo>
                <a:cubicBezTo>
                  <a:pt x="138" y="4203"/>
                  <a:pt x="155" y="4219"/>
                  <a:pt x="155" y="4219"/>
                </a:cubicBezTo>
                <a:lnTo>
                  <a:pt x="163" y="4219"/>
                </a:lnTo>
                <a:cubicBezTo>
                  <a:pt x="163" y="4219"/>
                  <a:pt x="155" y="4243"/>
                  <a:pt x="147" y="4243"/>
                </a:cubicBezTo>
                <a:cubicBezTo>
                  <a:pt x="138" y="4251"/>
                  <a:pt x="130" y="4235"/>
                  <a:pt x="122" y="4235"/>
                </a:cubicBezTo>
                <a:lnTo>
                  <a:pt x="98" y="4251"/>
                </a:lnTo>
                <a:cubicBezTo>
                  <a:pt x="98" y="4251"/>
                  <a:pt x="106" y="4267"/>
                  <a:pt x="106" y="4275"/>
                </a:cubicBezTo>
                <a:cubicBezTo>
                  <a:pt x="106" y="4283"/>
                  <a:pt x="81" y="4290"/>
                  <a:pt x="81" y="4298"/>
                </a:cubicBezTo>
                <a:cubicBezTo>
                  <a:pt x="73" y="4298"/>
                  <a:pt x="65" y="4306"/>
                  <a:pt x="65" y="4314"/>
                </a:cubicBezTo>
                <a:cubicBezTo>
                  <a:pt x="65" y="4322"/>
                  <a:pt x="73" y="4346"/>
                  <a:pt x="81" y="4338"/>
                </a:cubicBezTo>
                <a:cubicBezTo>
                  <a:pt x="89" y="4338"/>
                  <a:pt x="130" y="4346"/>
                  <a:pt x="130" y="4346"/>
                </a:cubicBezTo>
                <a:cubicBezTo>
                  <a:pt x="130" y="4346"/>
                  <a:pt x="122" y="4362"/>
                  <a:pt x="114" y="4370"/>
                </a:cubicBezTo>
                <a:cubicBezTo>
                  <a:pt x="106" y="4370"/>
                  <a:pt x="98" y="4386"/>
                  <a:pt x="89" y="4394"/>
                </a:cubicBezTo>
                <a:cubicBezTo>
                  <a:pt x="81" y="4409"/>
                  <a:pt x="98" y="4441"/>
                  <a:pt x="114" y="4449"/>
                </a:cubicBezTo>
                <a:cubicBezTo>
                  <a:pt x="138" y="4457"/>
                  <a:pt x="163" y="4457"/>
                  <a:pt x="163" y="4473"/>
                </a:cubicBezTo>
                <a:cubicBezTo>
                  <a:pt x="155" y="4481"/>
                  <a:pt x="114" y="4513"/>
                  <a:pt x="106" y="4520"/>
                </a:cubicBezTo>
                <a:cubicBezTo>
                  <a:pt x="98" y="4520"/>
                  <a:pt x="81" y="4528"/>
                  <a:pt x="81" y="4544"/>
                </a:cubicBezTo>
                <a:cubicBezTo>
                  <a:pt x="81" y="4560"/>
                  <a:pt x="81" y="4568"/>
                  <a:pt x="65" y="4576"/>
                </a:cubicBezTo>
                <a:cubicBezTo>
                  <a:pt x="49" y="4584"/>
                  <a:pt x="40" y="4576"/>
                  <a:pt x="40" y="4600"/>
                </a:cubicBezTo>
                <a:cubicBezTo>
                  <a:pt x="40" y="4616"/>
                  <a:pt x="49" y="4624"/>
                  <a:pt x="57" y="4624"/>
                </a:cubicBezTo>
                <a:lnTo>
                  <a:pt x="65" y="4624"/>
                </a:lnTo>
                <a:lnTo>
                  <a:pt x="130" y="4616"/>
                </a:lnTo>
                <a:cubicBezTo>
                  <a:pt x="130" y="4616"/>
                  <a:pt x="122" y="4639"/>
                  <a:pt x="122" y="4647"/>
                </a:cubicBezTo>
                <a:cubicBezTo>
                  <a:pt x="122" y="4655"/>
                  <a:pt x="73" y="4703"/>
                  <a:pt x="73" y="4703"/>
                </a:cubicBezTo>
                <a:cubicBezTo>
                  <a:pt x="73" y="4703"/>
                  <a:pt x="81" y="4727"/>
                  <a:pt x="73" y="4727"/>
                </a:cubicBezTo>
                <a:cubicBezTo>
                  <a:pt x="57" y="4735"/>
                  <a:pt x="40" y="4743"/>
                  <a:pt x="32" y="4750"/>
                </a:cubicBezTo>
                <a:lnTo>
                  <a:pt x="32" y="4782"/>
                </a:lnTo>
                <a:cubicBezTo>
                  <a:pt x="40" y="4798"/>
                  <a:pt x="57" y="4822"/>
                  <a:pt x="57" y="4830"/>
                </a:cubicBezTo>
                <a:cubicBezTo>
                  <a:pt x="65" y="4838"/>
                  <a:pt x="49" y="4854"/>
                  <a:pt x="49" y="4854"/>
                </a:cubicBezTo>
                <a:lnTo>
                  <a:pt x="32" y="4917"/>
                </a:lnTo>
                <a:lnTo>
                  <a:pt x="32" y="4957"/>
                </a:lnTo>
                <a:cubicBezTo>
                  <a:pt x="32" y="4965"/>
                  <a:pt x="0" y="4973"/>
                  <a:pt x="16" y="4996"/>
                </a:cubicBezTo>
                <a:cubicBezTo>
                  <a:pt x="32" y="5012"/>
                  <a:pt x="40" y="5020"/>
                  <a:pt x="49" y="5028"/>
                </a:cubicBezTo>
                <a:cubicBezTo>
                  <a:pt x="65" y="5028"/>
                  <a:pt x="106" y="5028"/>
                  <a:pt x="106" y="5036"/>
                </a:cubicBezTo>
                <a:cubicBezTo>
                  <a:pt x="106" y="5036"/>
                  <a:pt x="106" y="5044"/>
                  <a:pt x="81" y="5052"/>
                </a:cubicBezTo>
                <a:cubicBezTo>
                  <a:pt x="65" y="5052"/>
                  <a:pt x="49" y="5044"/>
                  <a:pt x="49" y="5060"/>
                </a:cubicBezTo>
                <a:cubicBezTo>
                  <a:pt x="40" y="5068"/>
                  <a:pt x="8" y="5115"/>
                  <a:pt x="8" y="5115"/>
                </a:cubicBezTo>
                <a:lnTo>
                  <a:pt x="49" y="5163"/>
                </a:lnTo>
                <a:cubicBezTo>
                  <a:pt x="49" y="5163"/>
                  <a:pt x="65" y="5147"/>
                  <a:pt x="73" y="5147"/>
                </a:cubicBezTo>
                <a:cubicBezTo>
                  <a:pt x="81" y="5139"/>
                  <a:pt x="106" y="5147"/>
                  <a:pt x="106" y="5155"/>
                </a:cubicBezTo>
                <a:cubicBezTo>
                  <a:pt x="106" y="5155"/>
                  <a:pt x="89" y="5179"/>
                  <a:pt x="81" y="5179"/>
                </a:cubicBezTo>
                <a:cubicBezTo>
                  <a:pt x="81" y="5187"/>
                  <a:pt x="57" y="5195"/>
                  <a:pt x="57" y="5203"/>
                </a:cubicBezTo>
                <a:lnTo>
                  <a:pt x="81" y="5234"/>
                </a:lnTo>
                <a:cubicBezTo>
                  <a:pt x="81" y="5234"/>
                  <a:pt x="98" y="5234"/>
                  <a:pt x="98" y="5250"/>
                </a:cubicBezTo>
                <a:cubicBezTo>
                  <a:pt x="98" y="5258"/>
                  <a:pt x="65" y="5274"/>
                  <a:pt x="65" y="5274"/>
                </a:cubicBezTo>
                <a:lnTo>
                  <a:pt x="73" y="5298"/>
                </a:lnTo>
                <a:lnTo>
                  <a:pt x="49" y="5345"/>
                </a:lnTo>
                <a:lnTo>
                  <a:pt x="89" y="5369"/>
                </a:lnTo>
                <a:cubicBezTo>
                  <a:pt x="89" y="5369"/>
                  <a:pt x="122" y="5369"/>
                  <a:pt x="114" y="5393"/>
                </a:cubicBezTo>
                <a:cubicBezTo>
                  <a:pt x="98" y="5409"/>
                  <a:pt x="73" y="5425"/>
                  <a:pt x="73" y="5433"/>
                </a:cubicBezTo>
                <a:cubicBezTo>
                  <a:pt x="73" y="5448"/>
                  <a:pt x="65" y="5464"/>
                  <a:pt x="81" y="5472"/>
                </a:cubicBezTo>
                <a:cubicBezTo>
                  <a:pt x="98" y="5472"/>
                  <a:pt x="98" y="5480"/>
                  <a:pt x="106" y="5472"/>
                </a:cubicBezTo>
                <a:cubicBezTo>
                  <a:pt x="122" y="5464"/>
                  <a:pt x="138" y="5456"/>
                  <a:pt x="138" y="5456"/>
                </a:cubicBezTo>
                <a:cubicBezTo>
                  <a:pt x="138" y="5456"/>
                  <a:pt x="163" y="5440"/>
                  <a:pt x="179" y="5440"/>
                </a:cubicBezTo>
                <a:cubicBezTo>
                  <a:pt x="187" y="5440"/>
                  <a:pt x="204" y="5448"/>
                  <a:pt x="212" y="5456"/>
                </a:cubicBezTo>
                <a:cubicBezTo>
                  <a:pt x="212" y="5464"/>
                  <a:pt x="212" y="5472"/>
                  <a:pt x="220" y="5480"/>
                </a:cubicBezTo>
                <a:cubicBezTo>
                  <a:pt x="228" y="5480"/>
                  <a:pt x="212" y="5520"/>
                  <a:pt x="212" y="5520"/>
                </a:cubicBezTo>
                <a:lnTo>
                  <a:pt x="187" y="5552"/>
                </a:lnTo>
                <a:cubicBezTo>
                  <a:pt x="187" y="5552"/>
                  <a:pt x="212" y="5583"/>
                  <a:pt x="204" y="5583"/>
                </a:cubicBezTo>
                <a:cubicBezTo>
                  <a:pt x="204" y="5583"/>
                  <a:pt x="163" y="5591"/>
                  <a:pt x="155" y="5591"/>
                </a:cubicBezTo>
                <a:cubicBezTo>
                  <a:pt x="147" y="5591"/>
                  <a:pt x="138" y="5583"/>
                  <a:pt x="138" y="5599"/>
                </a:cubicBezTo>
                <a:cubicBezTo>
                  <a:pt x="130" y="5615"/>
                  <a:pt x="106" y="5655"/>
                  <a:pt x="106" y="5655"/>
                </a:cubicBezTo>
                <a:cubicBezTo>
                  <a:pt x="106" y="5655"/>
                  <a:pt x="98" y="5670"/>
                  <a:pt x="106" y="5686"/>
                </a:cubicBezTo>
                <a:cubicBezTo>
                  <a:pt x="114" y="5702"/>
                  <a:pt x="147" y="5758"/>
                  <a:pt x="147" y="5758"/>
                </a:cubicBezTo>
                <a:cubicBezTo>
                  <a:pt x="147" y="5766"/>
                  <a:pt x="163" y="5789"/>
                  <a:pt x="187" y="5805"/>
                </a:cubicBezTo>
                <a:cubicBezTo>
                  <a:pt x="212" y="5821"/>
                  <a:pt x="228" y="5821"/>
                  <a:pt x="228" y="5837"/>
                </a:cubicBezTo>
                <a:lnTo>
                  <a:pt x="236" y="5853"/>
                </a:lnTo>
                <a:lnTo>
                  <a:pt x="269" y="5885"/>
                </a:lnTo>
                <a:cubicBezTo>
                  <a:pt x="269" y="5885"/>
                  <a:pt x="285" y="5893"/>
                  <a:pt x="310" y="5893"/>
                </a:cubicBezTo>
                <a:cubicBezTo>
                  <a:pt x="334" y="5901"/>
                  <a:pt x="367" y="5901"/>
                  <a:pt x="367" y="5908"/>
                </a:cubicBezTo>
                <a:cubicBezTo>
                  <a:pt x="375" y="5908"/>
                  <a:pt x="343" y="5932"/>
                  <a:pt x="343" y="5932"/>
                </a:cubicBezTo>
                <a:cubicBezTo>
                  <a:pt x="343" y="5932"/>
                  <a:pt x="302" y="5964"/>
                  <a:pt x="318" y="5972"/>
                </a:cubicBezTo>
                <a:cubicBezTo>
                  <a:pt x="334" y="5980"/>
                  <a:pt x="449" y="6004"/>
                  <a:pt x="449" y="6004"/>
                </a:cubicBezTo>
                <a:cubicBezTo>
                  <a:pt x="449" y="6004"/>
                  <a:pt x="465" y="6012"/>
                  <a:pt x="465" y="6020"/>
                </a:cubicBezTo>
                <a:cubicBezTo>
                  <a:pt x="465" y="6027"/>
                  <a:pt x="490" y="6012"/>
                  <a:pt x="490" y="6012"/>
                </a:cubicBezTo>
                <a:cubicBezTo>
                  <a:pt x="498" y="6004"/>
                  <a:pt x="531" y="6020"/>
                  <a:pt x="539" y="6020"/>
                </a:cubicBezTo>
                <a:lnTo>
                  <a:pt x="588" y="6012"/>
                </a:lnTo>
                <a:lnTo>
                  <a:pt x="629" y="5996"/>
                </a:lnTo>
                <a:cubicBezTo>
                  <a:pt x="629" y="5996"/>
                  <a:pt x="653" y="5956"/>
                  <a:pt x="669" y="5964"/>
                </a:cubicBezTo>
                <a:cubicBezTo>
                  <a:pt x="694" y="5972"/>
                  <a:pt x="686" y="5988"/>
                  <a:pt x="702" y="5988"/>
                </a:cubicBezTo>
                <a:cubicBezTo>
                  <a:pt x="710" y="5988"/>
                  <a:pt x="727" y="5988"/>
                  <a:pt x="743" y="5964"/>
                </a:cubicBezTo>
                <a:cubicBezTo>
                  <a:pt x="759" y="5948"/>
                  <a:pt x="776" y="5932"/>
                  <a:pt x="784" y="5924"/>
                </a:cubicBezTo>
                <a:cubicBezTo>
                  <a:pt x="792" y="5924"/>
                  <a:pt x="890" y="5869"/>
                  <a:pt x="890" y="5869"/>
                </a:cubicBezTo>
                <a:lnTo>
                  <a:pt x="955" y="5758"/>
                </a:lnTo>
                <a:lnTo>
                  <a:pt x="980" y="5678"/>
                </a:lnTo>
                <a:cubicBezTo>
                  <a:pt x="980" y="5678"/>
                  <a:pt x="1012" y="5639"/>
                  <a:pt x="1037" y="5639"/>
                </a:cubicBezTo>
                <a:cubicBezTo>
                  <a:pt x="1053" y="5639"/>
                  <a:pt x="1111" y="5615"/>
                  <a:pt x="1102" y="5599"/>
                </a:cubicBezTo>
                <a:cubicBezTo>
                  <a:pt x="1102" y="5575"/>
                  <a:pt x="1127" y="5567"/>
                  <a:pt x="1127" y="5599"/>
                </a:cubicBezTo>
                <a:cubicBezTo>
                  <a:pt x="1135" y="5631"/>
                  <a:pt x="1127" y="5663"/>
                  <a:pt x="1143" y="5647"/>
                </a:cubicBezTo>
                <a:cubicBezTo>
                  <a:pt x="1168" y="5631"/>
                  <a:pt x="1209" y="5583"/>
                  <a:pt x="1209" y="5583"/>
                </a:cubicBezTo>
                <a:cubicBezTo>
                  <a:pt x="1209" y="5583"/>
                  <a:pt x="1233" y="5560"/>
                  <a:pt x="1249" y="5552"/>
                </a:cubicBezTo>
                <a:cubicBezTo>
                  <a:pt x="1266" y="5552"/>
                  <a:pt x="1290" y="5496"/>
                  <a:pt x="1290" y="5496"/>
                </a:cubicBezTo>
                <a:cubicBezTo>
                  <a:pt x="1290" y="5496"/>
                  <a:pt x="1323" y="5472"/>
                  <a:pt x="1339" y="5496"/>
                </a:cubicBezTo>
                <a:cubicBezTo>
                  <a:pt x="1347" y="5528"/>
                  <a:pt x="1380" y="5567"/>
                  <a:pt x="1380" y="5583"/>
                </a:cubicBezTo>
                <a:cubicBezTo>
                  <a:pt x="1380" y="5583"/>
                  <a:pt x="1396" y="5591"/>
                  <a:pt x="1413" y="5599"/>
                </a:cubicBezTo>
                <a:lnTo>
                  <a:pt x="1413" y="5536"/>
                </a:lnTo>
                <a:lnTo>
                  <a:pt x="1470" y="5583"/>
                </a:lnTo>
                <a:cubicBezTo>
                  <a:pt x="1478" y="5591"/>
                  <a:pt x="1478" y="5639"/>
                  <a:pt x="1478" y="5639"/>
                </a:cubicBezTo>
                <a:lnTo>
                  <a:pt x="1494" y="5639"/>
                </a:lnTo>
                <a:lnTo>
                  <a:pt x="1494" y="5631"/>
                </a:lnTo>
                <a:lnTo>
                  <a:pt x="1511" y="5639"/>
                </a:lnTo>
                <a:lnTo>
                  <a:pt x="1519" y="5631"/>
                </a:lnTo>
                <a:lnTo>
                  <a:pt x="1527" y="5583"/>
                </a:lnTo>
                <a:lnTo>
                  <a:pt x="1535" y="5527"/>
                </a:lnTo>
                <a:lnTo>
                  <a:pt x="1560" y="5480"/>
                </a:lnTo>
                <a:lnTo>
                  <a:pt x="1560" y="5432"/>
                </a:lnTo>
                <a:lnTo>
                  <a:pt x="1527" y="5377"/>
                </a:lnTo>
                <a:lnTo>
                  <a:pt x="1511" y="5329"/>
                </a:lnTo>
                <a:lnTo>
                  <a:pt x="1535" y="5321"/>
                </a:lnTo>
                <a:lnTo>
                  <a:pt x="1535" y="5313"/>
                </a:lnTo>
                <a:lnTo>
                  <a:pt x="1543" y="5313"/>
                </a:lnTo>
                <a:lnTo>
                  <a:pt x="1560" y="5297"/>
                </a:lnTo>
                <a:lnTo>
                  <a:pt x="1568" y="5258"/>
                </a:lnTo>
                <a:lnTo>
                  <a:pt x="1552" y="5242"/>
                </a:lnTo>
                <a:lnTo>
                  <a:pt x="1552" y="5218"/>
                </a:lnTo>
                <a:lnTo>
                  <a:pt x="1568" y="5202"/>
                </a:lnTo>
                <a:lnTo>
                  <a:pt x="1576" y="5194"/>
                </a:lnTo>
                <a:lnTo>
                  <a:pt x="1584" y="5194"/>
                </a:lnTo>
                <a:lnTo>
                  <a:pt x="1592" y="5186"/>
                </a:lnTo>
                <a:lnTo>
                  <a:pt x="1625" y="5186"/>
                </a:lnTo>
                <a:lnTo>
                  <a:pt x="1642" y="5171"/>
                </a:lnTo>
                <a:cubicBezTo>
                  <a:pt x="1642" y="5171"/>
                  <a:pt x="1674" y="5147"/>
                  <a:pt x="1674" y="5139"/>
                </a:cubicBezTo>
                <a:cubicBezTo>
                  <a:pt x="1674" y="5131"/>
                  <a:pt x="1691" y="5107"/>
                  <a:pt x="1691" y="5107"/>
                </a:cubicBezTo>
                <a:lnTo>
                  <a:pt x="1691" y="5067"/>
                </a:lnTo>
                <a:lnTo>
                  <a:pt x="1674" y="5028"/>
                </a:lnTo>
                <a:lnTo>
                  <a:pt x="1691" y="5004"/>
                </a:lnTo>
                <a:lnTo>
                  <a:pt x="1715" y="4956"/>
                </a:lnTo>
                <a:lnTo>
                  <a:pt x="1699" y="4909"/>
                </a:lnTo>
                <a:lnTo>
                  <a:pt x="1650" y="4853"/>
                </a:lnTo>
                <a:lnTo>
                  <a:pt x="1625" y="4782"/>
                </a:lnTo>
                <a:lnTo>
                  <a:pt x="1609" y="4734"/>
                </a:lnTo>
                <a:lnTo>
                  <a:pt x="1650" y="4695"/>
                </a:lnTo>
                <a:lnTo>
                  <a:pt x="1658" y="4687"/>
                </a:lnTo>
                <a:lnTo>
                  <a:pt x="1691" y="4687"/>
                </a:lnTo>
                <a:cubicBezTo>
                  <a:pt x="1691" y="4687"/>
                  <a:pt x="1731" y="4687"/>
                  <a:pt x="1731" y="4679"/>
                </a:cubicBezTo>
                <a:lnTo>
                  <a:pt x="1731" y="4671"/>
                </a:lnTo>
                <a:lnTo>
                  <a:pt x="1740" y="4671"/>
                </a:lnTo>
                <a:lnTo>
                  <a:pt x="1740" y="4623"/>
                </a:lnTo>
                <a:lnTo>
                  <a:pt x="1748" y="4623"/>
                </a:lnTo>
                <a:lnTo>
                  <a:pt x="1748" y="4615"/>
                </a:lnTo>
                <a:lnTo>
                  <a:pt x="1740" y="4544"/>
                </a:lnTo>
                <a:lnTo>
                  <a:pt x="1691" y="4504"/>
                </a:lnTo>
                <a:lnTo>
                  <a:pt x="1633" y="4465"/>
                </a:lnTo>
                <a:lnTo>
                  <a:pt x="1609" y="4401"/>
                </a:lnTo>
                <a:lnTo>
                  <a:pt x="1601" y="4155"/>
                </a:lnTo>
                <a:cubicBezTo>
                  <a:pt x="1601" y="4155"/>
                  <a:pt x="1543" y="4052"/>
                  <a:pt x="1543" y="4044"/>
                </a:cubicBezTo>
                <a:cubicBezTo>
                  <a:pt x="1535" y="4029"/>
                  <a:pt x="1535" y="4013"/>
                  <a:pt x="1552" y="3997"/>
                </a:cubicBezTo>
                <a:cubicBezTo>
                  <a:pt x="1560" y="3989"/>
                  <a:pt x="1552" y="3973"/>
                  <a:pt x="1552" y="3973"/>
                </a:cubicBezTo>
                <a:lnTo>
                  <a:pt x="1543" y="3918"/>
                </a:lnTo>
                <a:lnTo>
                  <a:pt x="1560" y="3894"/>
                </a:lnTo>
                <a:lnTo>
                  <a:pt x="1560" y="3846"/>
                </a:lnTo>
                <a:lnTo>
                  <a:pt x="1527" y="3783"/>
                </a:lnTo>
                <a:lnTo>
                  <a:pt x="1527" y="3727"/>
                </a:lnTo>
                <a:cubicBezTo>
                  <a:pt x="1527" y="3711"/>
                  <a:pt x="1552" y="3680"/>
                  <a:pt x="1552" y="3680"/>
                </a:cubicBezTo>
                <a:lnTo>
                  <a:pt x="1560" y="3624"/>
                </a:lnTo>
                <a:lnTo>
                  <a:pt x="1576" y="3545"/>
                </a:lnTo>
                <a:lnTo>
                  <a:pt x="1682" y="3410"/>
                </a:lnTo>
                <a:lnTo>
                  <a:pt x="1707" y="3410"/>
                </a:lnTo>
                <a:lnTo>
                  <a:pt x="1878" y="3402"/>
                </a:lnTo>
                <a:lnTo>
                  <a:pt x="1887" y="3386"/>
                </a:lnTo>
                <a:lnTo>
                  <a:pt x="1895" y="3378"/>
                </a:lnTo>
                <a:lnTo>
                  <a:pt x="1911" y="3331"/>
                </a:lnTo>
                <a:lnTo>
                  <a:pt x="1903" y="3204"/>
                </a:lnTo>
                <a:lnTo>
                  <a:pt x="1829" y="3188"/>
                </a:lnTo>
                <a:lnTo>
                  <a:pt x="1813" y="3148"/>
                </a:lnTo>
                <a:lnTo>
                  <a:pt x="1936" y="2942"/>
                </a:lnTo>
                <a:lnTo>
                  <a:pt x="1927" y="2894"/>
                </a:lnTo>
                <a:lnTo>
                  <a:pt x="1960" y="2871"/>
                </a:lnTo>
                <a:cubicBezTo>
                  <a:pt x="1960" y="2871"/>
                  <a:pt x="1952" y="2839"/>
                  <a:pt x="1944" y="2823"/>
                </a:cubicBezTo>
                <a:cubicBezTo>
                  <a:pt x="1936" y="2815"/>
                  <a:pt x="1952" y="2768"/>
                  <a:pt x="1952" y="2768"/>
                </a:cubicBezTo>
                <a:lnTo>
                  <a:pt x="1960" y="2712"/>
                </a:lnTo>
                <a:lnTo>
                  <a:pt x="1976" y="2649"/>
                </a:lnTo>
                <a:lnTo>
                  <a:pt x="1936" y="2514"/>
                </a:lnTo>
                <a:lnTo>
                  <a:pt x="1960" y="2490"/>
                </a:lnTo>
                <a:lnTo>
                  <a:pt x="1993" y="2490"/>
                </a:lnTo>
                <a:cubicBezTo>
                  <a:pt x="2001" y="2490"/>
                  <a:pt x="2017" y="2482"/>
                  <a:pt x="2034" y="2482"/>
                </a:cubicBezTo>
                <a:cubicBezTo>
                  <a:pt x="2050" y="2474"/>
                  <a:pt x="2058" y="2466"/>
                  <a:pt x="2083" y="2442"/>
                </a:cubicBezTo>
                <a:lnTo>
                  <a:pt x="2091" y="2426"/>
                </a:lnTo>
                <a:lnTo>
                  <a:pt x="2099" y="2387"/>
                </a:lnTo>
                <a:lnTo>
                  <a:pt x="2099" y="2315"/>
                </a:lnTo>
                <a:lnTo>
                  <a:pt x="2140" y="2212"/>
                </a:lnTo>
                <a:cubicBezTo>
                  <a:pt x="2140" y="2212"/>
                  <a:pt x="2205" y="2133"/>
                  <a:pt x="2213" y="2117"/>
                </a:cubicBezTo>
                <a:cubicBezTo>
                  <a:pt x="2222" y="2101"/>
                  <a:pt x="2246" y="2046"/>
                  <a:pt x="2246" y="2046"/>
                </a:cubicBezTo>
                <a:cubicBezTo>
                  <a:pt x="2246" y="2046"/>
                  <a:pt x="2230" y="1982"/>
                  <a:pt x="2222" y="1967"/>
                </a:cubicBezTo>
                <a:cubicBezTo>
                  <a:pt x="2205" y="1959"/>
                  <a:pt x="2181" y="1911"/>
                  <a:pt x="2181" y="1911"/>
                </a:cubicBezTo>
                <a:lnTo>
                  <a:pt x="2181" y="1871"/>
                </a:lnTo>
                <a:lnTo>
                  <a:pt x="2230" y="1840"/>
                </a:lnTo>
                <a:lnTo>
                  <a:pt x="2246" y="1808"/>
                </a:lnTo>
                <a:lnTo>
                  <a:pt x="2246" y="1729"/>
                </a:lnTo>
                <a:lnTo>
                  <a:pt x="2254" y="1729"/>
                </a:lnTo>
                <a:lnTo>
                  <a:pt x="2254" y="1713"/>
                </a:lnTo>
                <a:lnTo>
                  <a:pt x="2262" y="1713"/>
                </a:lnTo>
                <a:lnTo>
                  <a:pt x="2262" y="1705"/>
                </a:lnTo>
                <a:cubicBezTo>
                  <a:pt x="2262" y="1689"/>
                  <a:pt x="2295" y="1657"/>
                  <a:pt x="2295" y="1657"/>
                </a:cubicBezTo>
                <a:lnTo>
                  <a:pt x="2328" y="1594"/>
                </a:lnTo>
                <a:lnTo>
                  <a:pt x="2409" y="1633"/>
                </a:lnTo>
                <a:lnTo>
                  <a:pt x="2450" y="1633"/>
                </a:lnTo>
                <a:lnTo>
                  <a:pt x="2467" y="1602"/>
                </a:lnTo>
                <a:cubicBezTo>
                  <a:pt x="2458" y="1578"/>
                  <a:pt x="2450" y="1411"/>
                  <a:pt x="2475" y="1380"/>
                </a:cubicBezTo>
                <a:cubicBezTo>
                  <a:pt x="2475" y="1380"/>
                  <a:pt x="2589" y="1388"/>
                  <a:pt x="2606" y="1380"/>
                </a:cubicBezTo>
                <a:cubicBezTo>
                  <a:pt x="2614" y="1380"/>
                  <a:pt x="2654" y="1395"/>
                  <a:pt x="2663" y="1403"/>
                </a:cubicBezTo>
                <a:cubicBezTo>
                  <a:pt x="2671" y="1411"/>
                  <a:pt x="2679" y="1411"/>
                  <a:pt x="2687" y="1411"/>
                </a:cubicBezTo>
                <a:cubicBezTo>
                  <a:pt x="2704" y="1419"/>
                  <a:pt x="2720" y="1419"/>
                  <a:pt x="2720" y="1419"/>
                </a:cubicBezTo>
                <a:lnTo>
                  <a:pt x="2768" y="1411"/>
                </a:lnTo>
                <a:lnTo>
                  <a:pt x="2801" y="1372"/>
                </a:lnTo>
                <a:lnTo>
                  <a:pt x="2768" y="1340"/>
                </a:lnTo>
                <a:cubicBezTo>
                  <a:pt x="2801" y="1300"/>
                  <a:pt x="2801" y="1245"/>
                  <a:pt x="2792" y="1237"/>
                </a:cubicBezTo>
                <a:cubicBezTo>
                  <a:pt x="2784" y="1221"/>
                  <a:pt x="2768" y="1150"/>
                  <a:pt x="2760" y="1142"/>
                </a:cubicBezTo>
                <a:cubicBezTo>
                  <a:pt x="2760" y="1134"/>
                  <a:pt x="2776" y="1126"/>
                  <a:pt x="2776" y="1126"/>
                </a:cubicBezTo>
                <a:lnTo>
                  <a:pt x="2792" y="1126"/>
                </a:lnTo>
                <a:cubicBezTo>
                  <a:pt x="2792" y="1126"/>
                  <a:pt x="2801" y="1118"/>
                  <a:pt x="2809" y="1118"/>
                </a:cubicBezTo>
                <a:lnTo>
                  <a:pt x="2850" y="1086"/>
                </a:lnTo>
                <a:lnTo>
                  <a:pt x="2890" y="1094"/>
                </a:lnTo>
                <a:cubicBezTo>
                  <a:pt x="2890" y="1094"/>
                  <a:pt x="2890" y="1086"/>
                  <a:pt x="2899" y="1086"/>
                </a:cubicBezTo>
                <a:cubicBezTo>
                  <a:pt x="2907" y="1086"/>
                  <a:pt x="2907" y="1078"/>
                  <a:pt x="2907" y="1078"/>
                </a:cubicBezTo>
                <a:cubicBezTo>
                  <a:pt x="2907" y="1078"/>
                  <a:pt x="2882" y="1031"/>
                  <a:pt x="2899" y="1007"/>
                </a:cubicBezTo>
                <a:cubicBezTo>
                  <a:pt x="2907" y="991"/>
                  <a:pt x="2915" y="991"/>
                  <a:pt x="2931" y="991"/>
                </a:cubicBezTo>
                <a:lnTo>
                  <a:pt x="2964" y="991"/>
                </a:lnTo>
                <a:lnTo>
                  <a:pt x="2964" y="999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45" name="Freeform 137">
            <a:extLst>
              <a:ext uri="{FF2B5EF4-FFF2-40B4-BE49-F238E27FC236}">
                <a16:creationId xmlns:a16="http://schemas.microsoft.com/office/drawing/2014/main" id="{781F0029-1E60-EA10-0195-AC79E5421F8B}"/>
              </a:ext>
            </a:extLst>
          </p:cNvPr>
          <p:cNvSpPr>
            <a:spLocks noChangeArrowheads="1"/>
          </p:cNvSpPr>
          <p:nvPr>
            <p:custDataLst>
              <p:tags r:id="rId136"/>
            </p:custDataLst>
          </p:nvPr>
        </p:nvSpPr>
        <p:spPr bwMode="auto">
          <a:xfrm>
            <a:off x="7873386" y="266248"/>
            <a:ext cx="47092" cy="52526"/>
          </a:xfrm>
          <a:custGeom>
            <a:avLst/>
            <a:gdLst>
              <a:gd name="T0" fmla="*/ 40 w 115"/>
              <a:gd name="T1" fmla="*/ 119 h 128"/>
              <a:gd name="T2" fmla="*/ 65 w 115"/>
              <a:gd name="T3" fmla="*/ 119 h 128"/>
              <a:gd name="T4" fmla="*/ 73 w 115"/>
              <a:gd name="T5" fmla="*/ 79 h 128"/>
              <a:gd name="T6" fmla="*/ 106 w 115"/>
              <a:gd name="T7" fmla="*/ 47 h 128"/>
              <a:gd name="T8" fmla="*/ 114 w 115"/>
              <a:gd name="T9" fmla="*/ 23 h 128"/>
              <a:gd name="T10" fmla="*/ 89 w 115"/>
              <a:gd name="T11" fmla="*/ 0 h 128"/>
              <a:gd name="T12" fmla="*/ 49 w 115"/>
              <a:gd name="T13" fmla="*/ 16 h 128"/>
              <a:gd name="T14" fmla="*/ 49 w 115"/>
              <a:gd name="T15" fmla="*/ 47 h 128"/>
              <a:gd name="T16" fmla="*/ 16 w 115"/>
              <a:gd name="T17" fmla="*/ 71 h 128"/>
              <a:gd name="T18" fmla="*/ 0 w 115"/>
              <a:gd name="T19" fmla="*/ 103 h 128"/>
              <a:gd name="T20" fmla="*/ 40 w 115"/>
              <a:gd name="T21" fmla="*/ 119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5" h="128">
                <a:moveTo>
                  <a:pt x="40" y="119"/>
                </a:moveTo>
                <a:cubicBezTo>
                  <a:pt x="40" y="119"/>
                  <a:pt x="65" y="127"/>
                  <a:pt x="65" y="119"/>
                </a:cubicBezTo>
                <a:cubicBezTo>
                  <a:pt x="65" y="119"/>
                  <a:pt x="73" y="103"/>
                  <a:pt x="73" y="79"/>
                </a:cubicBezTo>
                <a:cubicBezTo>
                  <a:pt x="81" y="55"/>
                  <a:pt x="98" y="55"/>
                  <a:pt x="106" y="47"/>
                </a:cubicBezTo>
                <a:cubicBezTo>
                  <a:pt x="114" y="39"/>
                  <a:pt x="106" y="39"/>
                  <a:pt x="114" y="23"/>
                </a:cubicBezTo>
                <a:cubicBezTo>
                  <a:pt x="114" y="8"/>
                  <a:pt x="106" y="8"/>
                  <a:pt x="89" y="0"/>
                </a:cubicBezTo>
                <a:cubicBezTo>
                  <a:pt x="65" y="0"/>
                  <a:pt x="65" y="16"/>
                  <a:pt x="49" y="16"/>
                </a:cubicBezTo>
                <a:cubicBezTo>
                  <a:pt x="40" y="23"/>
                  <a:pt x="40" y="39"/>
                  <a:pt x="49" y="47"/>
                </a:cubicBezTo>
                <a:cubicBezTo>
                  <a:pt x="49" y="55"/>
                  <a:pt x="32" y="63"/>
                  <a:pt x="16" y="71"/>
                </a:cubicBezTo>
                <a:cubicBezTo>
                  <a:pt x="0" y="87"/>
                  <a:pt x="0" y="103"/>
                  <a:pt x="0" y="103"/>
                </a:cubicBezTo>
                <a:lnTo>
                  <a:pt x="40" y="119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46" name="Freeform 138">
            <a:extLst>
              <a:ext uri="{FF2B5EF4-FFF2-40B4-BE49-F238E27FC236}">
                <a16:creationId xmlns:a16="http://schemas.microsoft.com/office/drawing/2014/main" id="{D75BC4F0-9138-CC85-610B-DB0E05A58E10}"/>
              </a:ext>
            </a:extLst>
          </p:cNvPr>
          <p:cNvSpPr>
            <a:spLocks noChangeArrowheads="1"/>
          </p:cNvSpPr>
          <p:nvPr>
            <p:custDataLst>
              <p:tags r:id="rId137"/>
            </p:custDataLst>
          </p:nvPr>
        </p:nvSpPr>
        <p:spPr bwMode="auto">
          <a:xfrm>
            <a:off x="7813616" y="233646"/>
            <a:ext cx="110484" cy="72449"/>
          </a:xfrm>
          <a:custGeom>
            <a:avLst/>
            <a:gdLst>
              <a:gd name="T0" fmla="*/ 81 w 270"/>
              <a:gd name="T1" fmla="*/ 167 h 176"/>
              <a:gd name="T2" fmla="*/ 40 w 270"/>
              <a:gd name="T3" fmla="*/ 159 h 176"/>
              <a:gd name="T4" fmla="*/ 16 w 270"/>
              <a:gd name="T5" fmla="*/ 127 h 176"/>
              <a:gd name="T6" fmla="*/ 24 w 270"/>
              <a:gd name="T7" fmla="*/ 96 h 176"/>
              <a:gd name="T8" fmla="*/ 106 w 270"/>
              <a:gd name="T9" fmla="*/ 56 h 176"/>
              <a:gd name="T10" fmla="*/ 138 w 270"/>
              <a:gd name="T11" fmla="*/ 8 h 176"/>
              <a:gd name="T12" fmla="*/ 196 w 270"/>
              <a:gd name="T13" fmla="*/ 8 h 176"/>
              <a:gd name="T14" fmla="*/ 220 w 270"/>
              <a:gd name="T15" fmla="*/ 16 h 176"/>
              <a:gd name="T16" fmla="*/ 253 w 270"/>
              <a:gd name="T17" fmla="*/ 24 h 176"/>
              <a:gd name="T18" fmla="*/ 212 w 270"/>
              <a:gd name="T19" fmla="*/ 48 h 176"/>
              <a:gd name="T20" fmla="*/ 163 w 270"/>
              <a:gd name="T21" fmla="*/ 103 h 176"/>
              <a:gd name="T22" fmla="*/ 155 w 270"/>
              <a:gd name="T23" fmla="*/ 127 h 176"/>
              <a:gd name="T24" fmla="*/ 81 w 270"/>
              <a:gd name="T25" fmla="*/ 167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70" h="176">
                <a:moveTo>
                  <a:pt x="81" y="167"/>
                </a:moveTo>
                <a:cubicBezTo>
                  <a:pt x="65" y="167"/>
                  <a:pt x="40" y="175"/>
                  <a:pt x="40" y="159"/>
                </a:cubicBezTo>
                <a:cubicBezTo>
                  <a:pt x="40" y="151"/>
                  <a:pt x="16" y="127"/>
                  <a:pt x="16" y="127"/>
                </a:cubicBezTo>
                <a:cubicBezTo>
                  <a:pt x="16" y="119"/>
                  <a:pt x="0" y="103"/>
                  <a:pt x="24" y="96"/>
                </a:cubicBezTo>
                <a:cubicBezTo>
                  <a:pt x="40" y="80"/>
                  <a:pt x="98" y="56"/>
                  <a:pt x="106" y="56"/>
                </a:cubicBezTo>
                <a:cubicBezTo>
                  <a:pt x="106" y="56"/>
                  <a:pt x="130" y="16"/>
                  <a:pt x="138" y="8"/>
                </a:cubicBezTo>
                <a:lnTo>
                  <a:pt x="196" y="8"/>
                </a:lnTo>
                <a:cubicBezTo>
                  <a:pt x="196" y="8"/>
                  <a:pt x="204" y="16"/>
                  <a:pt x="220" y="16"/>
                </a:cubicBezTo>
                <a:cubicBezTo>
                  <a:pt x="236" y="24"/>
                  <a:pt x="269" y="0"/>
                  <a:pt x="253" y="24"/>
                </a:cubicBezTo>
                <a:cubicBezTo>
                  <a:pt x="228" y="40"/>
                  <a:pt x="220" y="48"/>
                  <a:pt x="212" y="48"/>
                </a:cubicBezTo>
                <a:cubicBezTo>
                  <a:pt x="204" y="56"/>
                  <a:pt x="163" y="88"/>
                  <a:pt x="163" y="103"/>
                </a:cubicBezTo>
                <a:cubicBezTo>
                  <a:pt x="155" y="119"/>
                  <a:pt x="163" y="119"/>
                  <a:pt x="155" y="127"/>
                </a:cubicBezTo>
                <a:cubicBezTo>
                  <a:pt x="138" y="135"/>
                  <a:pt x="89" y="159"/>
                  <a:pt x="81" y="167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47" name="Freeform 139">
            <a:extLst>
              <a:ext uri="{FF2B5EF4-FFF2-40B4-BE49-F238E27FC236}">
                <a16:creationId xmlns:a16="http://schemas.microsoft.com/office/drawing/2014/main" id="{B04E6A88-D2B4-F1F1-53BE-B1163C9F342C}"/>
              </a:ext>
            </a:extLst>
          </p:cNvPr>
          <p:cNvSpPr>
            <a:spLocks noChangeArrowheads="1"/>
          </p:cNvSpPr>
          <p:nvPr>
            <p:custDataLst>
              <p:tags r:id="rId138"/>
            </p:custDataLst>
          </p:nvPr>
        </p:nvSpPr>
        <p:spPr bwMode="auto">
          <a:xfrm>
            <a:off x="5212709" y="2041241"/>
            <a:ext cx="967190" cy="1789482"/>
          </a:xfrm>
          <a:custGeom>
            <a:avLst/>
            <a:gdLst>
              <a:gd name="T0" fmla="*/ 1627 w 2356"/>
              <a:gd name="T1" fmla="*/ 682 h 4356"/>
              <a:gd name="T2" fmla="*/ 1643 w 2356"/>
              <a:gd name="T3" fmla="*/ 714 h 4356"/>
              <a:gd name="T4" fmla="*/ 850 w 2356"/>
              <a:gd name="T5" fmla="*/ 1992 h 4356"/>
              <a:gd name="T6" fmla="*/ 656 w 2356"/>
              <a:gd name="T7" fmla="*/ 1365 h 4356"/>
              <a:gd name="T8" fmla="*/ 599 w 2356"/>
              <a:gd name="T9" fmla="*/ 1793 h 4356"/>
              <a:gd name="T10" fmla="*/ 769 w 2356"/>
              <a:gd name="T11" fmla="*/ 936 h 4356"/>
              <a:gd name="T12" fmla="*/ 696 w 2356"/>
              <a:gd name="T13" fmla="*/ 841 h 4356"/>
              <a:gd name="T14" fmla="*/ 567 w 2356"/>
              <a:gd name="T15" fmla="*/ 1523 h 4356"/>
              <a:gd name="T16" fmla="*/ 559 w 2356"/>
              <a:gd name="T17" fmla="*/ 1111 h 4356"/>
              <a:gd name="T18" fmla="*/ 478 w 2356"/>
              <a:gd name="T19" fmla="*/ 1555 h 4356"/>
              <a:gd name="T20" fmla="*/ 364 w 2356"/>
              <a:gd name="T21" fmla="*/ 1412 h 4356"/>
              <a:gd name="T22" fmla="*/ 1028 w 2356"/>
              <a:gd name="T23" fmla="*/ 3895 h 4356"/>
              <a:gd name="T24" fmla="*/ 907 w 2356"/>
              <a:gd name="T25" fmla="*/ 3855 h 4356"/>
              <a:gd name="T26" fmla="*/ 591 w 2356"/>
              <a:gd name="T27" fmla="*/ 3657 h 4356"/>
              <a:gd name="T28" fmla="*/ 599 w 2356"/>
              <a:gd name="T29" fmla="*/ 3514 h 4356"/>
              <a:gd name="T30" fmla="*/ 761 w 2356"/>
              <a:gd name="T31" fmla="*/ 3196 h 4356"/>
              <a:gd name="T32" fmla="*/ 745 w 2356"/>
              <a:gd name="T33" fmla="*/ 2990 h 4356"/>
              <a:gd name="T34" fmla="*/ 1085 w 2356"/>
              <a:gd name="T35" fmla="*/ 3046 h 4356"/>
              <a:gd name="T36" fmla="*/ 1222 w 2356"/>
              <a:gd name="T37" fmla="*/ 2737 h 4356"/>
              <a:gd name="T38" fmla="*/ 1238 w 2356"/>
              <a:gd name="T39" fmla="*/ 2388 h 4356"/>
              <a:gd name="T40" fmla="*/ 874 w 2356"/>
              <a:gd name="T41" fmla="*/ 2388 h 4356"/>
              <a:gd name="T42" fmla="*/ 931 w 2356"/>
              <a:gd name="T43" fmla="*/ 2110 h 4356"/>
              <a:gd name="T44" fmla="*/ 704 w 2356"/>
              <a:gd name="T45" fmla="*/ 2118 h 4356"/>
              <a:gd name="T46" fmla="*/ 745 w 2356"/>
              <a:gd name="T47" fmla="*/ 1777 h 4356"/>
              <a:gd name="T48" fmla="*/ 502 w 2356"/>
              <a:gd name="T49" fmla="*/ 1936 h 4356"/>
              <a:gd name="T50" fmla="*/ 761 w 2356"/>
              <a:gd name="T51" fmla="*/ 1666 h 4356"/>
              <a:gd name="T52" fmla="*/ 704 w 2356"/>
              <a:gd name="T53" fmla="*/ 1499 h 4356"/>
              <a:gd name="T54" fmla="*/ 769 w 2356"/>
              <a:gd name="T55" fmla="*/ 1372 h 4356"/>
              <a:gd name="T56" fmla="*/ 623 w 2356"/>
              <a:gd name="T57" fmla="*/ 1166 h 4356"/>
              <a:gd name="T58" fmla="*/ 818 w 2356"/>
              <a:gd name="T59" fmla="*/ 1245 h 4356"/>
              <a:gd name="T60" fmla="*/ 874 w 2356"/>
              <a:gd name="T61" fmla="*/ 1182 h 4356"/>
              <a:gd name="T62" fmla="*/ 1036 w 2356"/>
              <a:gd name="T63" fmla="*/ 1063 h 4356"/>
              <a:gd name="T64" fmla="*/ 1174 w 2356"/>
              <a:gd name="T65" fmla="*/ 849 h 4356"/>
              <a:gd name="T66" fmla="*/ 1546 w 2356"/>
              <a:gd name="T67" fmla="*/ 896 h 4356"/>
              <a:gd name="T68" fmla="*/ 1343 w 2356"/>
              <a:gd name="T69" fmla="*/ 1142 h 4356"/>
              <a:gd name="T70" fmla="*/ 1287 w 2356"/>
              <a:gd name="T71" fmla="*/ 1253 h 4356"/>
              <a:gd name="T72" fmla="*/ 1764 w 2356"/>
              <a:gd name="T73" fmla="*/ 1325 h 4356"/>
              <a:gd name="T74" fmla="*/ 1513 w 2356"/>
              <a:gd name="T75" fmla="*/ 1737 h 4356"/>
              <a:gd name="T76" fmla="*/ 1400 w 2356"/>
              <a:gd name="T77" fmla="*/ 1872 h 4356"/>
              <a:gd name="T78" fmla="*/ 1570 w 2356"/>
              <a:gd name="T79" fmla="*/ 2039 h 4356"/>
              <a:gd name="T80" fmla="*/ 1886 w 2356"/>
              <a:gd name="T81" fmla="*/ 2705 h 4356"/>
              <a:gd name="T82" fmla="*/ 1894 w 2356"/>
              <a:gd name="T83" fmla="*/ 2998 h 4356"/>
              <a:gd name="T84" fmla="*/ 1975 w 2356"/>
              <a:gd name="T85" fmla="*/ 3419 h 4356"/>
              <a:gd name="T86" fmla="*/ 2193 w 2356"/>
              <a:gd name="T87" fmla="*/ 3839 h 4356"/>
              <a:gd name="T88" fmla="*/ 2055 w 2356"/>
              <a:gd name="T89" fmla="*/ 4006 h 4356"/>
              <a:gd name="T90" fmla="*/ 1958 w 2356"/>
              <a:gd name="T91" fmla="*/ 4228 h 4356"/>
              <a:gd name="T92" fmla="*/ 1449 w 2356"/>
              <a:gd name="T93" fmla="*/ 4188 h 4356"/>
              <a:gd name="T94" fmla="*/ 1133 w 2356"/>
              <a:gd name="T95" fmla="*/ 4204 h 4356"/>
              <a:gd name="T96" fmla="*/ 761 w 2356"/>
              <a:gd name="T97" fmla="*/ 4323 h 4356"/>
              <a:gd name="T98" fmla="*/ 308 w 2356"/>
              <a:gd name="T99" fmla="*/ 4355 h 4356"/>
              <a:gd name="T100" fmla="*/ 413 w 2356"/>
              <a:gd name="T101" fmla="*/ 4133 h 4356"/>
              <a:gd name="T102" fmla="*/ 146 w 2356"/>
              <a:gd name="T103" fmla="*/ 2238 h 4356"/>
              <a:gd name="T104" fmla="*/ 154 w 2356"/>
              <a:gd name="T105" fmla="*/ 2483 h 4356"/>
              <a:gd name="T106" fmla="*/ 518 w 2356"/>
              <a:gd name="T107" fmla="*/ 2563 h 4356"/>
              <a:gd name="T108" fmla="*/ 656 w 2356"/>
              <a:gd name="T109" fmla="*/ 2452 h 4356"/>
              <a:gd name="T110" fmla="*/ 518 w 2356"/>
              <a:gd name="T111" fmla="*/ 2095 h 4356"/>
              <a:gd name="T112" fmla="*/ 2161 w 2356"/>
              <a:gd name="T113" fmla="*/ 95 h 4356"/>
              <a:gd name="T114" fmla="*/ 2185 w 2356"/>
              <a:gd name="T115" fmla="*/ 167 h 4356"/>
              <a:gd name="T116" fmla="*/ 2136 w 2356"/>
              <a:gd name="T117" fmla="*/ 72 h 4356"/>
              <a:gd name="T118" fmla="*/ 1999 w 2356"/>
              <a:gd name="T119" fmla="*/ 191 h 4356"/>
              <a:gd name="T120" fmla="*/ 1594 w 2356"/>
              <a:gd name="T121" fmla="*/ 619 h 4356"/>
              <a:gd name="T122" fmla="*/ 1554 w 2356"/>
              <a:gd name="T123" fmla="*/ 754 h 4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56" h="4356">
                <a:moveTo>
                  <a:pt x="1756" y="564"/>
                </a:moveTo>
                <a:lnTo>
                  <a:pt x="1788" y="556"/>
                </a:lnTo>
                <a:lnTo>
                  <a:pt x="1756" y="579"/>
                </a:lnTo>
                <a:lnTo>
                  <a:pt x="1756" y="564"/>
                </a:lnTo>
                <a:close/>
                <a:moveTo>
                  <a:pt x="1716" y="587"/>
                </a:moveTo>
                <a:lnTo>
                  <a:pt x="1724" y="627"/>
                </a:lnTo>
                <a:lnTo>
                  <a:pt x="1756" y="595"/>
                </a:lnTo>
                <a:lnTo>
                  <a:pt x="1724" y="603"/>
                </a:lnTo>
                <a:lnTo>
                  <a:pt x="1716" y="587"/>
                </a:lnTo>
                <a:close/>
                <a:moveTo>
                  <a:pt x="1691" y="675"/>
                </a:moveTo>
                <a:lnTo>
                  <a:pt x="1691" y="675"/>
                </a:lnTo>
                <a:close/>
                <a:moveTo>
                  <a:pt x="1627" y="682"/>
                </a:moveTo>
                <a:lnTo>
                  <a:pt x="1659" y="675"/>
                </a:lnTo>
                <a:lnTo>
                  <a:pt x="1627" y="675"/>
                </a:lnTo>
                <a:lnTo>
                  <a:pt x="1627" y="682"/>
                </a:lnTo>
                <a:close/>
                <a:moveTo>
                  <a:pt x="1627" y="595"/>
                </a:moveTo>
                <a:lnTo>
                  <a:pt x="1659" y="571"/>
                </a:lnTo>
                <a:lnTo>
                  <a:pt x="1659" y="540"/>
                </a:lnTo>
                <a:lnTo>
                  <a:pt x="1627" y="571"/>
                </a:lnTo>
                <a:lnTo>
                  <a:pt x="1627" y="595"/>
                </a:lnTo>
                <a:close/>
                <a:moveTo>
                  <a:pt x="1619" y="714"/>
                </a:moveTo>
                <a:lnTo>
                  <a:pt x="1610" y="746"/>
                </a:lnTo>
                <a:lnTo>
                  <a:pt x="1643" y="746"/>
                </a:lnTo>
                <a:lnTo>
                  <a:pt x="1643" y="714"/>
                </a:lnTo>
                <a:lnTo>
                  <a:pt x="1619" y="714"/>
                </a:lnTo>
                <a:close/>
                <a:moveTo>
                  <a:pt x="1570" y="770"/>
                </a:moveTo>
                <a:lnTo>
                  <a:pt x="1578" y="809"/>
                </a:lnTo>
                <a:lnTo>
                  <a:pt x="1610" y="802"/>
                </a:lnTo>
                <a:lnTo>
                  <a:pt x="1627" y="762"/>
                </a:lnTo>
                <a:lnTo>
                  <a:pt x="1586" y="770"/>
                </a:lnTo>
                <a:lnTo>
                  <a:pt x="1570" y="770"/>
                </a:lnTo>
                <a:close/>
                <a:moveTo>
                  <a:pt x="769" y="2071"/>
                </a:moveTo>
                <a:lnTo>
                  <a:pt x="801" y="2087"/>
                </a:lnTo>
                <a:lnTo>
                  <a:pt x="834" y="2079"/>
                </a:lnTo>
                <a:lnTo>
                  <a:pt x="834" y="2039"/>
                </a:lnTo>
                <a:lnTo>
                  <a:pt x="850" y="1992"/>
                </a:lnTo>
                <a:lnTo>
                  <a:pt x="818" y="1968"/>
                </a:lnTo>
                <a:lnTo>
                  <a:pt x="785" y="1984"/>
                </a:lnTo>
                <a:lnTo>
                  <a:pt x="769" y="2015"/>
                </a:lnTo>
                <a:lnTo>
                  <a:pt x="769" y="2071"/>
                </a:lnTo>
                <a:close/>
                <a:moveTo>
                  <a:pt x="696" y="1936"/>
                </a:moveTo>
                <a:lnTo>
                  <a:pt x="672" y="1968"/>
                </a:lnTo>
                <a:lnTo>
                  <a:pt x="704" y="1960"/>
                </a:lnTo>
                <a:lnTo>
                  <a:pt x="696" y="1936"/>
                </a:lnTo>
                <a:close/>
                <a:moveTo>
                  <a:pt x="688" y="1404"/>
                </a:moveTo>
                <a:lnTo>
                  <a:pt x="720" y="1389"/>
                </a:lnTo>
                <a:lnTo>
                  <a:pt x="688" y="1357"/>
                </a:lnTo>
                <a:lnTo>
                  <a:pt x="656" y="1365"/>
                </a:lnTo>
                <a:lnTo>
                  <a:pt x="664" y="1397"/>
                </a:lnTo>
                <a:lnTo>
                  <a:pt x="688" y="1404"/>
                </a:lnTo>
                <a:close/>
                <a:moveTo>
                  <a:pt x="631" y="1349"/>
                </a:moveTo>
                <a:lnTo>
                  <a:pt x="672" y="1341"/>
                </a:lnTo>
                <a:lnTo>
                  <a:pt x="631" y="1349"/>
                </a:lnTo>
                <a:close/>
                <a:moveTo>
                  <a:pt x="615" y="1698"/>
                </a:moveTo>
                <a:lnTo>
                  <a:pt x="648" y="1682"/>
                </a:lnTo>
                <a:lnTo>
                  <a:pt x="599" y="1658"/>
                </a:lnTo>
                <a:lnTo>
                  <a:pt x="615" y="1698"/>
                </a:lnTo>
                <a:close/>
                <a:moveTo>
                  <a:pt x="607" y="1793"/>
                </a:moveTo>
                <a:lnTo>
                  <a:pt x="631" y="1761"/>
                </a:lnTo>
                <a:lnTo>
                  <a:pt x="599" y="1793"/>
                </a:lnTo>
                <a:lnTo>
                  <a:pt x="607" y="1793"/>
                </a:lnTo>
                <a:close/>
                <a:moveTo>
                  <a:pt x="615" y="968"/>
                </a:moveTo>
                <a:lnTo>
                  <a:pt x="607" y="1000"/>
                </a:lnTo>
                <a:lnTo>
                  <a:pt x="575" y="992"/>
                </a:lnTo>
                <a:lnTo>
                  <a:pt x="607" y="1047"/>
                </a:lnTo>
                <a:lnTo>
                  <a:pt x="640" y="1032"/>
                </a:lnTo>
                <a:lnTo>
                  <a:pt x="680" y="1016"/>
                </a:lnTo>
                <a:lnTo>
                  <a:pt x="680" y="984"/>
                </a:lnTo>
                <a:lnTo>
                  <a:pt x="712" y="992"/>
                </a:lnTo>
                <a:lnTo>
                  <a:pt x="745" y="976"/>
                </a:lnTo>
                <a:lnTo>
                  <a:pt x="729" y="944"/>
                </a:lnTo>
                <a:lnTo>
                  <a:pt x="769" y="936"/>
                </a:lnTo>
                <a:lnTo>
                  <a:pt x="761" y="905"/>
                </a:lnTo>
                <a:lnTo>
                  <a:pt x="793" y="889"/>
                </a:lnTo>
                <a:lnTo>
                  <a:pt x="826" y="881"/>
                </a:lnTo>
                <a:lnTo>
                  <a:pt x="834" y="849"/>
                </a:lnTo>
                <a:lnTo>
                  <a:pt x="801" y="873"/>
                </a:lnTo>
                <a:lnTo>
                  <a:pt x="826" y="841"/>
                </a:lnTo>
                <a:lnTo>
                  <a:pt x="858" y="809"/>
                </a:lnTo>
                <a:lnTo>
                  <a:pt x="842" y="770"/>
                </a:lnTo>
                <a:lnTo>
                  <a:pt x="809" y="778"/>
                </a:lnTo>
                <a:lnTo>
                  <a:pt x="777" y="802"/>
                </a:lnTo>
                <a:lnTo>
                  <a:pt x="729" y="817"/>
                </a:lnTo>
                <a:lnTo>
                  <a:pt x="696" y="841"/>
                </a:lnTo>
                <a:lnTo>
                  <a:pt x="664" y="865"/>
                </a:lnTo>
                <a:lnTo>
                  <a:pt x="631" y="849"/>
                </a:lnTo>
                <a:lnTo>
                  <a:pt x="607" y="881"/>
                </a:lnTo>
                <a:lnTo>
                  <a:pt x="623" y="913"/>
                </a:lnTo>
                <a:lnTo>
                  <a:pt x="623" y="952"/>
                </a:lnTo>
                <a:lnTo>
                  <a:pt x="615" y="968"/>
                </a:lnTo>
                <a:close/>
                <a:moveTo>
                  <a:pt x="567" y="1523"/>
                </a:moveTo>
                <a:lnTo>
                  <a:pt x="559" y="1555"/>
                </a:lnTo>
                <a:lnTo>
                  <a:pt x="591" y="1539"/>
                </a:lnTo>
                <a:lnTo>
                  <a:pt x="615" y="1508"/>
                </a:lnTo>
                <a:lnTo>
                  <a:pt x="583" y="1508"/>
                </a:lnTo>
                <a:lnTo>
                  <a:pt x="567" y="1523"/>
                </a:lnTo>
                <a:close/>
                <a:moveTo>
                  <a:pt x="494" y="1174"/>
                </a:moveTo>
                <a:lnTo>
                  <a:pt x="526" y="1190"/>
                </a:lnTo>
                <a:lnTo>
                  <a:pt x="534" y="1159"/>
                </a:lnTo>
                <a:lnTo>
                  <a:pt x="518" y="1127"/>
                </a:lnTo>
                <a:lnTo>
                  <a:pt x="486" y="1119"/>
                </a:lnTo>
                <a:lnTo>
                  <a:pt x="494" y="1174"/>
                </a:lnTo>
                <a:close/>
                <a:moveTo>
                  <a:pt x="534" y="1032"/>
                </a:moveTo>
                <a:lnTo>
                  <a:pt x="518" y="1063"/>
                </a:lnTo>
                <a:lnTo>
                  <a:pt x="486" y="1040"/>
                </a:lnTo>
                <a:lnTo>
                  <a:pt x="470" y="1079"/>
                </a:lnTo>
                <a:lnTo>
                  <a:pt x="510" y="1111"/>
                </a:lnTo>
                <a:lnTo>
                  <a:pt x="559" y="1111"/>
                </a:lnTo>
                <a:lnTo>
                  <a:pt x="542" y="1071"/>
                </a:lnTo>
                <a:lnTo>
                  <a:pt x="559" y="1040"/>
                </a:lnTo>
                <a:lnTo>
                  <a:pt x="534" y="1032"/>
                </a:lnTo>
                <a:close/>
                <a:moveTo>
                  <a:pt x="462" y="1198"/>
                </a:moveTo>
                <a:lnTo>
                  <a:pt x="445" y="1246"/>
                </a:lnTo>
                <a:lnTo>
                  <a:pt x="445" y="1293"/>
                </a:lnTo>
                <a:lnTo>
                  <a:pt x="478" y="1285"/>
                </a:lnTo>
                <a:lnTo>
                  <a:pt x="478" y="1246"/>
                </a:lnTo>
                <a:lnTo>
                  <a:pt x="502" y="1214"/>
                </a:lnTo>
                <a:lnTo>
                  <a:pt x="470" y="1182"/>
                </a:lnTo>
                <a:lnTo>
                  <a:pt x="462" y="1198"/>
                </a:lnTo>
                <a:close/>
                <a:moveTo>
                  <a:pt x="478" y="1555"/>
                </a:moveTo>
                <a:lnTo>
                  <a:pt x="445" y="1595"/>
                </a:lnTo>
                <a:lnTo>
                  <a:pt x="494" y="1579"/>
                </a:lnTo>
                <a:lnTo>
                  <a:pt x="526" y="1555"/>
                </a:lnTo>
                <a:lnTo>
                  <a:pt x="494" y="1547"/>
                </a:lnTo>
                <a:lnTo>
                  <a:pt x="478" y="1555"/>
                </a:lnTo>
                <a:close/>
                <a:moveTo>
                  <a:pt x="405" y="1325"/>
                </a:moveTo>
                <a:lnTo>
                  <a:pt x="397" y="1357"/>
                </a:lnTo>
                <a:lnTo>
                  <a:pt x="429" y="1341"/>
                </a:lnTo>
                <a:lnTo>
                  <a:pt x="429" y="1293"/>
                </a:lnTo>
                <a:lnTo>
                  <a:pt x="405" y="1325"/>
                </a:lnTo>
                <a:close/>
                <a:moveTo>
                  <a:pt x="364" y="1373"/>
                </a:moveTo>
                <a:lnTo>
                  <a:pt x="364" y="1412"/>
                </a:lnTo>
                <a:lnTo>
                  <a:pt x="364" y="1373"/>
                </a:lnTo>
                <a:close/>
                <a:moveTo>
                  <a:pt x="631" y="3966"/>
                </a:moveTo>
                <a:lnTo>
                  <a:pt x="672" y="3934"/>
                </a:lnTo>
                <a:lnTo>
                  <a:pt x="688" y="3903"/>
                </a:lnTo>
                <a:lnTo>
                  <a:pt x="720" y="3887"/>
                </a:lnTo>
                <a:cubicBezTo>
                  <a:pt x="720" y="3887"/>
                  <a:pt x="801" y="3910"/>
                  <a:pt x="818" y="3910"/>
                </a:cubicBezTo>
                <a:lnTo>
                  <a:pt x="858" y="3918"/>
                </a:lnTo>
                <a:lnTo>
                  <a:pt x="898" y="3926"/>
                </a:lnTo>
                <a:lnTo>
                  <a:pt x="931" y="3934"/>
                </a:lnTo>
                <a:lnTo>
                  <a:pt x="971" y="3942"/>
                </a:lnTo>
                <a:lnTo>
                  <a:pt x="1004" y="3926"/>
                </a:lnTo>
                <a:lnTo>
                  <a:pt x="1028" y="3895"/>
                </a:lnTo>
                <a:lnTo>
                  <a:pt x="1076" y="3871"/>
                </a:lnTo>
                <a:lnTo>
                  <a:pt x="1109" y="3823"/>
                </a:lnTo>
                <a:lnTo>
                  <a:pt x="1141" y="3799"/>
                </a:lnTo>
                <a:lnTo>
                  <a:pt x="1190" y="3760"/>
                </a:lnTo>
                <a:lnTo>
                  <a:pt x="1238" y="3744"/>
                </a:lnTo>
                <a:lnTo>
                  <a:pt x="1182" y="3760"/>
                </a:lnTo>
                <a:lnTo>
                  <a:pt x="1149" y="3776"/>
                </a:lnTo>
                <a:lnTo>
                  <a:pt x="1117" y="3807"/>
                </a:lnTo>
                <a:lnTo>
                  <a:pt x="1052" y="3815"/>
                </a:lnTo>
                <a:lnTo>
                  <a:pt x="1020" y="3815"/>
                </a:lnTo>
                <a:lnTo>
                  <a:pt x="971" y="3855"/>
                </a:lnTo>
                <a:lnTo>
                  <a:pt x="907" y="3855"/>
                </a:lnTo>
                <a:lnTo>
                  <a:pt x="858" y="3823"/>
                </a:lnTo>
                <a:lnTo>
                  <a:pt x="826" y="3776"/>
                </a:lnTo>
                <a:lnTo>
                  <a:pt x="818" y="3736"/>
                </a:lnTo>
                <a:lnTo>
                  <a:pt x="777" y="3760"/>
                </a:lnTo>
                <a:lnTo>
                  <a:pt x="737" y="3760"/>
                </a:lnTo>
                <a:lnTo>
                  <a:pt x="688" y="3752"/>
                </a:lnTo>
                <a:lnTo>
                  <a:pt x="712" y="3712"/>
                </a:lnTo>
                <a:lnTo>
                  <a:pt x="769" y="3712"/>
                </a:lnTo>
                <a:lnTo>
                  <a:pt x="720" y="3696"/>
                </a:lnTo>
                <a:lnTo>
                  <a:pt x="688" y="3657"/>
                </a:lnTo>
                <a:lnTo>
                  <a:pt x="631" y="3665"/>
                </a:lnTo>
                <a:lnTo>
                  <a:pt x="591" y="3657"/>
                </a:lnTo>
                <a:lnTo>
                  <a:pt x="559" y="3672"/>
                </a:lnTo>
                <a:lnTo>
                  <a:pt x="518" y="3688"/>
                </a:lnTo>
                <a:lnTo>
                  <a:pt x="486" y="3688"/>
                </a:lnTo>
                <a:lnTo>
                  <a:pt x="502" y="3649"/>
                </a:lnTo>
                <a:lnTo>
                  <a:pt x="542" y="3625"/>
                </a:lnTo>
                <a:lnTo>
                  <a:pt x="486" y="3641"/>
                </a:lnTo>
                <a:lnTo>
                  <a:pt x="462" y="3609"/>
                </a:lnTo>
                <a:lnTo>
                  <a:pt x="502" y="3577"/>
                </a:lnTo>
                <a:lnTo>
                  <a:pt x="462" y="3553"/>
                </a:lnTo>
                <a:lnTo>
                  <a:pt x="494" y="3530"/>
                </a:lnTo>
                <a:lnTo>
                  <a:pt x="534" y="3506"/>
                </a:lnTo>
                <a:lnTo>
                  <a:pt x="599" y="3514"/>
                </a:lnTo>
                <a:lnTo>
                  <a:pt x="631" y="3490"/>
                </a:lnTo>
                <a:lnTo>
                  <a:pt x="696" y="3466"/>
                </a:lnTo>
                <a:lnTo>
                  <a:pt x="745" y="3458"/>
                </a:lnTo>
                <a:lnTo>
                  <a:pt x="793" y="3434"/>
                </a:lnTo>
                <a:lnTo>
                  <a:pt x="818" y="3379"/>
                </a:lnTo>
                <a:lnTo>
                  <a:pt x="818" y="3331"/>
                </a:lnTo>
                <a:lnTo>
                  <a:pt x="834" y="3300"/>
                </a:lnTo>
                <a:lnTo>
                  <a:pt x="842" y="3268"/>
                </a:lnTo>
                <a:lnTo>
                  <a:pt x="850" y="3220"/>
                </a:lnTo>
                <a:lnTo>
                  <a:pt x="850" y="3181"/>
                </a:lnTo>
                <a:lnTo>
                  <a:pt x="818" y="3173"/>
                </a:lnTo>
                <a:lnTo>
                  <a:pt x="761" y="3196"/>
                </a:lnTo>
                <a:lnTo>
                  <a:pt x="729" y="3212"/>
                </a:lnTo>
                <a:lnTo>
                  <a:pt x="680" y="3204"/>
                </a:lnTo>
                <a:lnTo>
                  <a:pt x="631" y="3188"/>
                </a:lnTo>
                <a:lnTo>
                  <a:pt x="680" y="3173"/>
                </a:lnTo>
                <a:lnTo>
                  <a:pt x="712" y="3157"/>
                </a:lnTo>
                <a:lnTo>
                  <a:pt x="761" y="3149"/>
                </a:lnTo>
                <a:lnTo>
                  <a:pt x="793" y="3117"/>
                </a:lnTo>
                <a:lnTo>
                  <a:pt x="801" y="3085"/>
                </a:lnTo>
                <a:lnTo>
                  <a:pt x="842" y="3069"/>
                </a:lnTo>
                <a:lnTo>
                  <a:pt x="785" y="3069"/>
                </a:lnTo>
                <a:lnTo>
                  <a:pt x="769" y="3022"/>
                </a:lnTo>
                <a:lnTo>
                  <a:pt x="745" y="2990"/>
                </a:lnTo>
                <a:lnTo>
                  <a:pt x="785" y="2966"/>
                </a:lnTo>
                <a:lnTo>
                  <a:pt x="818" y="2942"/>
                </a:lnTo>
                <a:lnTo>
                  <a:pt x="850" y="2958"/>
                </a:lnTo>
                <a:lnTo>
                  <a:pt x="850" y="2990"/>
                </a:lnTo>
                <a:lnTo>
                  <a:pt x="890" y="3022"/>
                </a:lnTo>
                <a:lnTo>
                  <a:pt x="874" y="3054"/>
                </a:lnTo>
                <a:lnTo>
                  <a:pt x="907" y="3046"/>
                </a:lnTo>
                <a:lnTo>
                  <a:pt x="939" y="3038"/>
                </a:lnTo>
                <a:lnTo>
                  <a:pt x="979" y="3038"/>
                </a:lnTo>
                <a:lnTo>
                  <a:pt x="1020" y="3054"/>
                </a:lnTo>
                <a:lnTo>
                  <a:pt x="1052" y="3046"/>
                </a:lnTo>
                <a:lnTo>
                  <a:pt x="1085" y="3046"/>
                </a:lnTo>
                <a:lnTo>
                  <a:pt x="1133" y="3062"/>
                </a:lnTo>
                <a:lnTo>
                  <a:pt x="1149" y="3022"/>
                </a:lnTo>
                <a:lnTo>
                  <a:pt x="1182" y="2998"/>
                </a:lnTo>
                <a:lnTo>
                  <a:pt x="1190" y="2935"/>
                </a:lnTo>
                <a:lnTo>
                  <a:pt x="1190" y="2896"/>
                </a:lnTo>
                <a:lnTo>
                  <a:pt x="1182" y="2864"/>
                </a:lnTo>
                <a:lnTo>
                  <a:pt x="1206" y="2824"/>
                </a:lnTo>
                <a:lnTo>
                  <a:pt x="1246" y="2817"/>
                </a:lnTo>
                <a:lnTo>
                  <a:pt x="1254" y="2785"/>
                </a:lnTo>
                <a:lnTo>
                  <a:pt x="1279" y="2753"/>
                </a:lnTo>
                <a:lnTo>
                  <a:pt x="1287" y="2721"/>
                </a:lnTo>
                <a:lnTo>
                  <a:pt x="1222" y="2737"/>
                </a:lnTo>
                <a:lnTo>
                  <a:pt x="1174" y="2753"/>
                </a:lnTo>
                <a:lnTo>
                  <a:pt x="1165" y="2705"/>
                </a:lnTo>
                <a:lnTo>
                  <a:pt x="1157" y="2674"/>
                </a:lnTo>
                <a:lnTo>
                  <a:pt x="1141" y="2642"/>
                </a:lnTo>
                <a:lnTo>
                  <a:pt x="1141" y="2610"/>
                </a:lnTo>
                <a:lnTo>
                  <a:pt x="1109" y="2579"/>
                </a:lnTo>
                <a:lnTo>
                  <a:pt x="1109" y="2547"/>
                </a:lnTo>
                <a:lnTo>
                  <a:pt x="1141" y="2483"/>
                </a:lnTo>
                <a:lnTo>
                  <a:pt x="1174" y="2459"/>
                </a:lnTo>
                <a:lnTo>
                  <a:pt x="1198" y="2428"/>
                </a:lnTo>
                <a:lnTo>
                  <a:pt x="1206" y="2396"/>
                </a:lnTo>
                <a:lnTo>
                  <a:pt x="1238" y="2388"/>
                </a:lnTo>
                <a:lnTo>
                  <a:pt x="1279" y="2380"/>
                </a:lnTo>
                <a:cubicBezTo>
                  <a:pt x="1279" y="2380"/>
                  <a:pt x="1190" y="2364"/>
                  <a:pt x="1157" y="2364"/>
                </a:cubicBezTo>
                <a:lnTo>
                  <a:pt x="1125" y="2404"/>
                </a:lnTo>
                <a:lnTo>
                  <a:pt x="1093" y="2412"/>
                </a:lnTo>
                <a:lnTo>
                  <a:pt x="1060" y="2436"/>
                </a:lnTo>
                <a:lnTo>
                  <a:pt x="1012" y="2412"/>
                </a:lnTo>
                <a:lnTo>
                  <a:pt x="979" y="2396"/>
                </a:lnTo>
                <a:lnTo>
                  <a:pt x="947" y="2364"/>
                </a:lnTo>
                <a:lnTo>
                  <a:pt x="955" y="2396"/>
                </a:lnTo>
                <a:lnTo>
                  <a:pt x="939" y="2436"/>
                </a:lnTo>
                <a:lnTo>
                  <a:pt x="907" y="2420"/>
                </a:lnTo>
                <a:lnTo>
                  <a:pt x="874" y="2388"/>
                </a:lnTo>
                <a:lnTo>
                  <a:pt x="850" y="2356"/>
                </a:lnTo>
                <a:lnTo>
                  <a:pt x="818" y="2340"/>
                </a:lnTo>
                <a:lnTo>
                  <a:pt x="801" y="2380"/>
                </a:lnTo>
                <a:lnTo>
                  <a:pt x="793" y="2420"/>
                </a:lnTo>
                <a:lnTo>
                  <a:pt x="769" y="2372"/>
                </a:lnTo>
                <a:lnTo>
                  <a:pt x="753" y="2317"/>
                </a:lnTo>
                <a:lnTo>
                  <a:pt x="777" y="2285"/>
                </a:lnTo>
                <a:lnTo>
                  <a:pt x="793" y="2253"/>
                </a:lnTo>
                <a:lnTo>
                  <a:pt x="834" y="2214"/>
                </a:lnTo>
                <a:lnTo>
                  <a:pt x="882" y="2174"/>
                </a:lnTo>
                <a:lnTo>
                  <a:pt x="890" y="2142"/>
                </a:lnTo>
                <a:lnTo>
                  <a:pt x="931" y="2110"/>
                </a:lnTo>
                <a:lnTo>
                  <a:pt x="947" y="2071"/>
                </a:lnTo>
                <a:lnTo>
                  <a:pt x="939" y="2039"/>
                </a:lnTo>
                <a:lnTo>
                  <a:pt x="898" y="1999"/>
                </a:lnTo>
                <a:lnTo>
                  <a:pt x="874" y="1960"/>
                </a:lnTo>
                <a:lnTo>
                  <a:pt x="818" y="1912"/>
                </a:lnTo>
                <a:lnTo>
                  <a:pt x="793" y="1864"/>
                </a:lnTo>
                <a:lnTo>
                  <a:pt x="785" y="1944"/>
                </a:lnTo>
                <a:lnTo>
                  <a:pt x="769" y="1975"/>
                </a:lnTo>
                <a:lnTo>
                  <a:pt x="737" y="2007"/>
                </a:lnTo>
                <a:lnTo>
                  <a:pt x="737" y="2039"/>
                </a:lnTo>
                <a:lnTo>
                  <a:pt x="720" y="2087"/>
                </a:lnTo>
                <a:lnTo>
                  <a:pt x="704" y="2118"/>
                </a:lnTo>
                <a:lnTo>
                  <a:pt x="672" y="2118"/>
                </a:lnTo>
                <a:lnTo>
                  <a:pt x="640" y="2110"/>
                </a:lnTo>
                <a:lnTo>
                  <a:pt x="664" y="2079"/>
                </a:lnTo>
                <a:lnTo>
                  <a:pt x="672" y="2023"/>
                </a:lnTo>
                <a:lnTo>
                  <a:pt x="704" y="1975"/>
                </a:lnTo>
                <a:lnTo>
                  <a:pt x="745" y="1936"/>
                </a:lnTo>
                <a:lnTo>
                  <a:pt x="720" y="1904"/>
                </a:lnTo>
                <a:lnTo>
                  <a:pt x="729" y="1864"/>
                </a:lnTo>
                <a:lnTo>
                  <a:pt x="753" y="1833"/>
                </a:lnTo>
                <a:lnTo>
                  <a:pt x="769" y="1801"/>
                </a:lnTo>
                <a:lnTo>
                  <a:pt x="777" y="1761"/>
                </a:lnTo>
                <a:lnTo>
                  <a:pt x="745" y="1777"/>
                </a:lnTo>
                <a:lnTo>
                  <a:pt x="720" y="1809"/>
                </a:lnTo>
                <a:lnTo>
                  <a:pt x="696" y="1841"/>
                </a:lnTo>
                <a:lnTo>
                  <a:pt x="664" y="1864"/>
                </a:lnTo>
                <a:lnTo>
                  <a:pt x="640" y="1896"/>
                </a:lnTo>
                <a:lnTo>
                  <a:pt x="631" y="1928"/>
                </a:lnTo>
                <a:lnTo>
                  <a:pt x="607" y="1960"/>
                </a:lnTo>
                <a:lnTo>
                  <a:pt x="559" y="1983"/>
                </a:lnTo>
                <a:lnTo>
                  <a:pt x="526" y="1991"/>
                </a:lnTo>
                <a:lnTo>
                  <a:pt x="559" y="1944"/>
                </a:lnTo>
                <a:lnTo>
                  <a:pt x="567" y="1896"/>
                </a:lnTo>
                <a:lnTo>
                  <a:pt x="534" y="1920"/>
                </a:lnTo>
                <a:lnTo>
                  <a:pt x="502" y="1936"/>
                </a:lnTo>
                <a:lnTo>
                  <a:pt x="526" y="1904"/>
                </a:lnTo>
                <a:lnTo>
                  <a:pt x="534" y="1856"/>
                </a:lnTo>
                <a:lnTo>
                  <a:pt x="567" y="1841"/>
                </a:lnTo>
                <a:lnTo>
                  <a:pt x="607" y="1833"/>
                </a:lnTo>
                <a:lnTo>
                  <a:pt x="656" y="1833"/>
                </a:lnTo>
                <a:lnTo>
                  <a:pt x="680" y="1801"/>
                </a:lnTo>
                <a:lnTo>
                  <a:pt x="712" y="1777"/>
                </a:lnTo>
                <a:lnTo>
                  <a:pt x="745" y="1753"/>
                </a:lnTo>
                <a:lnTo>
                  <a:pt x="769" y="1722"/>
                </a:lnTo>
                <a:lnTo>
                  <a:pt x="801" y="1682"/>
                </a:lnTo>
                <a:lnTo>
                  <a:pt x="793" y="1650"/>
                </a:lnTo>
                <a:lnTo>
                  <a:pt x="761" y="1666"/>
                </a:lnTo>
                <a:lnTo>
                  <a:pt x="729" y="1690"/>
                </a:lnTo>
                <a:lnTo>
                  <a:pt x="688" y="1682"/>
                </a:lnTo>
                <a:lnTo>
                  <a:pt x="656" y="1690"/>
                </a:lnTo>
                <a:lnTo>
                  <a:pt x="623" y="1682"/>
                </a:lnTo>
                <a:lnTo>
                  <a:pt x="648" y="1650"/>
                </a:lnTo>
                <a:lnTo>
                  <a:pt x="672" y="1618"/>
                </a:lnTo>
                <a:lnTo>
                  <a:pt x="656" y="1587"/>
                </a:lnTo>
                <a:lnTo>
                  <a:pt x="648" y="1555"/>
                </a:lnTo>
                <a:lnTo>
                  <a:pt x="688" y="1531"/>
                </a:lnTo>
                <a:lnTo>
                  <a:pt x="720" y="1523"/>
                </a:lnTo>
                <a:lnTo>
                  <a:pt x="672" y="1523"/>
                </a:lnTo>
                <a:lnTo>
                  <a:pt x="704" y="1499"/>
                </a:lnTo>
                <a:lnTo>
                  <a:pt x="737" y="1499"/>
                </a:lnTo>
                <a:lnTo>
                  <a:pt x="769" y="1484"/>
                </a:lnTo>
                <a:lnTo>
                  <a:pt x="801" y="1468"/>
                </a:lnTo>
                <a:lnTo>
                  <a:pt x="777" y="1436"/>
                </a:lnTo>
                <a:lnTo>
                  <a:pt x="785" y="1404"/>
                </a:lnTo>
                <a:lnTo>
                  <a:pt x="826" y="1404"/>
                </a:lnTo>
                <a:lnTo>
                  <a:pt x="834" y="1372"/>
                </a:lnTo>
                <a:lnTo>
                  <a:pt x="866" y="1372"/>
                </a:lnTo>
                <a:lnTo>
                  <a:pt x="834" y="1349"/>
                </a:lnTo>
                <a:lnTo>
                  <a:pt x="801" y="1372"/>
                </a:lnTo>
                <a:lnTo>
                  <a:pt x="745" y="1420"/>
                </a:lnTo>
                <a:lnTo>
                  <a:pt x="769" y="1372"/>
                </a:lnTo>
                <a:lnTo>
                  <a:pt x="777" y="1341"/>
                </a:lnTo>
                <a:lnTo>
                  <a:pt x="745" y="1341"/>
                </a:lnTo>
                <a:lnTo>
                  <a:pt x="753" y="1309"/>
                </a:lnTo>
                <a:lnTo>
                  <a:pt x="720" y="1317"/>
                </a:lnTo>
                <a:lnTo>
                  <a:pt x="688" y="1309"/>
                </a:lnTo>
                <a:lnTo>
                  <a:pt x="672" y="1277"/>
                </a:lnTo>
                <a:lnTo>
                  <a:pt x="680" y="1238"/>
                </a:lnTo>
                <a:lnTo>
                  <a:pt x="712" y="1245"/>
                </a:lnTo>
                <a:lnTo>
                  <a:pt x="688" y="1206"/>
                </a:lnTo>
                <a:lnTo>
                  <a:pt x="656" y="1222"/>
                </a:lnTo>
                <a:lnTo>
                  <a:pt x="623" y="1198"/>
                </a:lnTo>
                <a:lnTo>
                  <a:pt x="623" y="1166"/>
                </a:lnTo>
                <a:lnTo>
                  <a:pt x="656" y="1142"/>
                </a:lnTo>
                <a:lnTo>
                  <a:pt x="648" y="1111"/>
                </a:lnTo>
                <a:lnTo>
                  <a:pt x="688" y="1134"/>
                </a:lnTo>
                <a:lnTo>
                  <a:pt x="720" y="1158"/>
                </a:lnTo>
                <a:lnTo>
                  <a:pt x="720" y="1126"/>
                </a:lnTo>
                <a:lnTo>
                  <a:pt x="753" y="1095"/>
                </a:lnTo>
                <a:lnTo>
                  <a:pt x="769" y="1126"/>
                </a:lnTo>
                <a:lnTo>
                  <a:pt x="769" y="1166"/>
                </a:lnTo>
                <a:lnTo>
                  <a:pt x="761" y="1198"/>
                </a:lnTo>
                <a:lnTo>
                  <a:pt x="761" y="1230"/>
                </a:lnTo>
                <a:lnTo>
                  <a:pt x="793" y="1214"/>
                </a:lnTo>
                <a:lnTo>
                  <a:pt x="818" y="1245"/>
                </a:lnTo>
                <a:lnTo>
                  <a:pt x="777" y="1253"/>
                </a:lnTo>
                <a:lnTo>
                  <a:pt x="769" y="1285"/>
                </a:lnTo>
                <a:lnTo>
                  <a:pt x="801" y="1301"/>
                </a:lnTo>
                <a:lnTo>
                  <a:pt x="834" y="1301"/>
                </a:lnTo>
                <a:lnTo>
                  <a:pt x="866" y="1301"/>
                </a:lnTo>
                <a:lnTo>
                  <a:pt x="866" y="1269"/>
                </a:lnTo>
                <a:lnTo>
                  <a:pt x="898" y="1269"/>
                </a:lnTo>
                <a:lnTo>
                  <a:pt x="866" y="1261"/>
                </a:lnTo>
                <a:lnTo>
                  <a:pt x="834" y="1245"/>
                </a:lnTo>
                <a:lnTo>
                  <a:pt x="842" y="1206"/>
                </a:lnTo>
                <a:lnTo>
                  <a:pt x="842" y="1174"/>
                </a:lnTo>
                <a:lnTo>
                  <a:pt x="874" y="1182"/>
                </a:lnTo>
                <a:lnTo>
                  <a:pt x="866" y="1150"/>
                </a:lnTo>
                <a:lnTo>
                  <a:pt x="866" y="1119"/>
                </a:lnTo>
                <a:lnTo>
                  <a:pt x="898" y="1111"/>
                </a:lnTo>
                <a:lnTo>
                  <a:pt x="866" y="1095"/>
                </a:lnTo>
                <a:lnTo>
                  <a:pt x="874" y="1063"/>
                </a:lnTo>
                <a:lnTo>
                  <a:pt x="907" y="1047"/>
                </a:lnTo>
                <a:lnTo>
                  <a:pt x="923" y="1079"/>
                </a:lnTo>
                <a:lnTo>
                  <a:pt x="931" y="1039"/>
                </a:lnTo>
                <a:lnTo>
                  <a:pt x="939" y="1071"/>
                </a:lnTo>
                <a:lnTo>
                  <a:pt x="971" y="1039"/>
                </a:lnTo>
                <a:lnTo>
                  <a:pt x="1004" y="1047"/>
                </a:lnTo>
                <a:lnTo>
                  <a:pt x="1036" y="1063"/>
                </a:lnTo>
                <a:lnTo>
                  <a:pt x="1004" y="1031"/>
                </a:lnTo>
                <a:lnTo>
                  <a:pt x="996" y="1000"/>
                </a:lnTo>
                <a:lnTo>
                  <a:pt x="1028" y="960"/>
                </a:lnTo>
                <a:lnTo>
                  <a:pt x="1036" y="912"/>
                </a:lnTo>
                <a:lnTo>
                  <a:pt x="1085" y="920"/>
                </a:lnTo>
                <a:lnTo>
                  <a:pt x="1068" y="888"/>
                </a:lnTo>
                <a:lnTo>
                  <a:pt x="1093" y="857"/>
                </a:lnTo>
                <a:lnTo>
                  <a:pt x="1093" y="809"/>
                </a:lnTo>
                <a:lnTo>
                  <a:pt x="1133" y="785"/>
                </a:lnTo>
                <a:lnTo>
                  <a:pt x="1165" y="793"/>
                </a:lnTo>
                <a:lnTo>
                  <a:pt x="1206" y="825"/>
                </a:lnTo>
                <a:lnTo>
                  <a:pt x="1174" y="849"/>
                </a:lnTo>
                <a:lnTo>
                  <a:pt x="1222" y="809"/>
                </a:lnTo>
                <a:lnTo>
                  <a:pt x="1254" y="825"/>
                </a:lnTo>
                <a:lnTo>
                  <a:pt x="1238" y="865"/>
                </a:lnTo>
                <a:lnTo>
                  <a:pt x="1271" y="841"/>
                </a:lnTo>
                <a:lnTo>
                  <a:pt x="1311" y="833"/>
                </a:lnTo>
                <a:lnTo>
                  <a:pt x="1360" y="849"/>
                </a:lnTo>
                <a:lnTo>
                  <a:pt x="1400" y="849"/>
                </a:lnTo>
                <a:lnTo>
                  <a:pt x="1441" y="825"/>
                </a:lnTo>
                <a:lnTo>
                  <a:pt x="1489" y="833"/>
                </a:lnTo>
                <a:lnTo>
                  <a:pt x="1538" y="833"/>
                </a:lnTo>
                <a:lnTo>
                  <a:pt x="1562" y="865"/>
                </a:lnTo>
                <a:lnTo>
                  <a:pt x="1546" y="896"/>
                </a:lnTo>
                <a:lnTo>
                  <a:pt x="1538" y="952"/>
                </a:lnTo>
                <a:lnTo>
                  <a:pt x="1481" y="984"/>
                </a:lnTo>
                <a:lnTo>
                  <a:pt x="1449" y="1023"/>
                </a:lnTo>
                <a:lnTo>
                  <a:pt x="1400" y="1039"/>
                </a:lnTo>
                <a:lnTo>
                  <a:pt x="1360" y="1063"/>
                </a:lnTo>
                <a:lnTo>
                  <a:pt x="1319" y="1095"/>
                </a:lnTo>
                <a:lnTo>
                  <a:pt x="1287" y="1119"/>
                </a:lnTo>
                <a:lnTo>
                  <a:pt x="1246" y="1126"/>
                </a:lnTo>
                <a:lnTo>
                  <a:pt x="1214" y="1111"/>
                </a:lnTo>
                <a:lnTo>
                  <a:pt x="1254" y="1142"/>
                </a:lnTo>
                <a:lnTo>
                  <a:pt x="1295" y="1142"/>
                </a:lnTo>
                <a:lnTo>
                  <a:pt x="1343" y="1142"/>
                </a:lnTo>
                <a:lnTo>
                  <a:pt x="1311" y="1182"/>
                </a:lnTo>
                <a:lnTo>
                  <a:pt x="1279" y="1174"/>
                </a:lnTo>
                <a:lnTo>
                  <a:pt x="1238" y="1190"/>
                </a:lnTo>
                <a:lnTo>
                  <a:pt x="1206" y="1206"/>
                </a:lnTo>
                <a:lnTo>
                  <a:pt x="1157" y="1230"/>
                </a:lnTo>
                <a:lnTo>
                  <a:pt x="1206" y="1214"/>
                </a:lnTo>
                <a:lnTo>
                  <a:pt x="1246" y="1206"/>
                </a:lnTo>
                <a:lnTo>
                  <a:pt x="1295" y="1198"/>
                </a:lnTo>
                <a:lnTo>
                  <a:pt x="1254" y="1230"/>
                </a:lnTo>
                <a:lnTo>
                  <a:pt x="1214" y="1277"/>
                </a:lnTo>
                <a:lnTo>
                  <a:pt x="1254" y="1245"/>
                </a:lnTo>
                <a:lnTo>
                  <a:pt x="1287" y="1253"/>
                </a:lnTo>
                <a:lnTo>
                  <a:pt x="1319" y="1245"/>
                </a:lnTo>
                <a:lnTo>
                  <a:pt x="1352" y="1238"/>
                </a:lnTo>
                <a:lnTo>
                  <a:pt x="1392" y="1222"/>
                </a:lnTo>
                <a:lnTo>
                  <a:pt x="1465" y="1245"/>
                </a:lnTo>
                <a:lnTo>
                  <a:pt x="1505" y="1253"/>
                </a:lnTo>
                <a:lnTo>
                  <a:pt x="1554" y="1253"/>
                </a:lnTo>
                <a:lnTo>
                  <a:pt x="1594" y="1269"/>
                </a:lnTo>
                <a:lnTo>
                  <a:pt x="1635" y="1277"/>
                </a:lnTo>
                <a:lnTo>
                  <a:pt x="1667" y="1269"/>
                </a:lnTo>
                <a:lnTo>
                  <a:pt x="1699" y="1277"/>
                </a:lnTo>
                <a:lnTo>
                  <a:pt x="1732" y="1277"/>
                </a:lnTo>
                <a:lnTo>
                  <a:pt x="1764" y="1325"/>
                </a:lnTo>
                <a:lnTo>
                  <a:pt x="1780" y="1365"/>
                </a:lnTo>
                <a:lnTo>
                  <a:pt x="1772" y="1404"/>
                </a:lnTo>
                <a:lnTo>
                  <a:pt x="1716" y="1452"/>
                </a:lnTo>
                <a:lnTo>
                  <a:pt x="1683" y="1476"/>
                </a:lnTo>
                <a:lnTo>
                  <a:pt x="1691" y="1523"/>
                </a:lnTo>
                <a:lnTo>
                  <a:pt x="1659" y="1547"/>
                </a:lnTo>
                <a:lnTo>
                  <a:pt x="1643" y="1579"/>
                </a:lnTo>
                <a:lnTo>
                  <a:pt x="1627" y="1618"/>
                </a:lnTo>
                <a:lnTo>
                  <a:pt x="1594" y="1650"/>
                </a:lnTo>
                <a:lnTo>
                  <a:pt x="1554" y="1674"/>
                </a:lnTo>
                <a:lnTo>
                  <a:pt x="1546" y="1722"/>
                </a:lnTo>
                <a:lnTo>
                  <a:pt x="1513" y="1737"/>
                </a:lnTo>
                <a:lnTo>
                  <a:pt x="1481" y="1761"/>
                </a:lnTo>
                <a:lnTo>
                  <a:pt x="1441" y="1761"/>
                </a:lnTo>
                <a:lnTo>
                  <a:pt x="1408" y="1753"/>
                </a:lnTo>
                <a:lnTo>
                  <a:pt x="1376" y="1777"/>
                </a:lnTo>
                <a:lnTo>
                  <a:pt x="1335" y="1793"/>
                </a:lnTo>
                <a:lnTo>
                  <a:pt x="1376" y="1785"/>
                </a:lnTo>
                <a:lnTo>
                  <a:pt x="1424" y="1769"/>
                </a:lnTo>
                <a:lnTo>
                  <a:pt x="1457" y="1785"/>
                </a:lnTo>
                <a:lnTo>
                  <a:pt x="1465" y="1817"/>
                </a:lnTo>
                <a:lnTo>
                  <a:pt x="1497" y="1856"/>
                </a:lnTo>
                <a:lnTo>
                  <a:pt x="1441" y="1880"/>
                </a:lnTo>
                <a:lnTo>
                  <a:pt x="1400" y="1872"/>
                </a:lnTo>
                <a:lnTo>
                  <a:pt x="1360" y="1888"/>
                </a:lnTo>
                <a:lnTo>
                  <a:pt x="1327" y="1928"/>
                </a:lnTo>
                <a:lnTo>
                  <a:pt x="1279" y="1920"/>
                </a:lnTo>
                <a:lnTo>
                  <a:pt x="1230" y="1912"/>
                </a:lnTo>
                <a:lnTo>
                  <a:pt x="1287" y="1944"/>
                </a:lnTo>
                <a:lnTo>
                  <a:pt x="1343" y="1968"/>
                </a:lnTo>
                <a:lnTo>
                  <a:pt x="1376" y="1960"/>
                </a:lnTo>
                <a:lnTo>
                  <a:pt x="1408" y="1952"/>
                </a:lnTo>
                <a:lnTo>
                  <a:pt x="1441" y="1936"/>
                </a:lnTo>
                <a:lnTo>
                  <a:pt x="1473" y="1944"/>
                </a:lnTo>
                <a:lnTo>
                  <a:pt x="1538" y="1999"/>
                </a:lnTo>
                <a:lnTo>
                  <a:pt x="1570" y="2039"/>
                </a:lnTo>
                <a:lnTo>
                  <a:pt x="1619" y="2087"/>
                </a:lnTo>
                <a:lnTo>
                  <a:pt x="1635" y="2134"/>
                </a:lnTo>
                <a:lnTo>
                  <a:pt x="1675" y="2182"/>
                </a:lnTo>
                <a:lnTo>
                  <a:pt x="1675" y="2348"/>
                </a:lnTo>
                <a:lnTo>
                  <a:pt x="1683" y="2412"/>
                </a:lnTo>
                <a:lnTo>
                  <a:pt x="1699" y="2475"/>
                </a:lnTo>
                <a:lnTo>
                  <a:pt x="1699" y="2507"/>
                </a:lnTo>
                <a:lnTo>
                  <a:pt x="1716" y="2571"/>
                </a:lnTo>
                <a:lnTo>
                  <a:pt x="1748" y="2610"/>
                </a:lnTo>
                <a:lnTo>
                  <a:pt x="1797" y="2634"/>
                </a:lnTo>
                <a:lnTo>
                  <a:pt x="1845" y="2666"/>
                </a:lnTo>
                <a:lnTo>
                  <a:pt x="1886" y="2705"/>
                </a:lnTo>
                <a:lnTo>
                  <a:pt x="1902" y="2777"/>
                </a:lnTo>
                <a:lnTo>
                  <a:pt x="1926" y="2809"/>
                </a:lnTo>
                <a:lnTo>
                  <a:pt x="1958" y="2848"/>
                </a:lnTo>
                <a:lnTo>
                  <a:pt x="1926" y="2872"/>
                </a:lnTo>
                <a:lnTo>
                  <a:pt x="1934" y="2934"/>
                </a:lnTo>
                <a:lnTo>
                  <a:pt x="1958" y="2990"/>
                </a:lnTo>
                <a:lnTo>
                  <a:pt x="1975" y="3022"/>
                </a:lnTo>
                <a:lnTo>
                  <a:pt x="1999" y="3054"/>
                </a:lnTo>
                <a:lnTo>
                  <a:pt x="1991" y="3085"/>
                </a:lnTo>
                <a:lnTo>
                  <a:pt x="1958" y="3061"/>
                </a:lnTo>
                <a:lnTo>
                  <a:pt x="1910" y="3030"/>
                </a:lnTo>
                <a:lnTo>
                  <a:pt x="1894" y="2998"/>
                </a:lnTo>
                <a:lnTo>
                  <a:pt x="1894" y="3038"/>
                </a:lnTo>
                <a:lnTo>
                  <a:pt x="1918" y="3069"/>
                </a:lnTo>
                <a:lnTo>
                  <a:pt x="1966" y="3093"/>
                </a:lnTo>
                <a:lnTo>
                  <a:pt x="1983" y="3125"/>
                </a:lnTo>
                <a:lnTo>
                  <a:pt x="2007" y="3157"/>
                </a:lnTo>
                <a:lnTo>
                  <a:pt x="2023" y="3220"/>
                </a:lnTo>
                <a:lnTo>
                  <a:pt x="2015" y="3284"/>
                </a:lnTo>
                <a:lnTo>
                  <a:pt x="1975" y="3323"/>
                </a:lnTo>
                <a:lnTo>
                  <a:pt x="1934" y="3339"/>
                </a:lnTo>
                <a:lnTo>
                  <a:pt x="1902" y="3363"/>
                </a:lnTo>
                <a:lnTo>
                  <a:pt x="1934" y="3371"/>
                </a:lnTo>
                <a:lnTo>
                  <a:pt x="1975" y="3419"/>
                </a:lnTo>
                <a:lnTo>
                  <a:pt x="2007" y="3403"/>
                </a:lnTo>
                <a:lnTo>
                  <a:pt x="2039" y="3363"/>
                </a:lnTo>
                <a:lnTo>
                  <a:pt x="2072" y="3347"/>
                </a:lnTo>
                <a:lnTo>
                  <a:pt x="2136" y="3363"/>
                </a:lnTo>
                <a:cubicBezTo>
                  <a:pt x="2136" y="3363"/>
                  <a:pt x="2225" y="3387"/>
                  <a:pt x="2258" y="3395"/>
                </a:cubicBezTo>
                <a:lnTo>
                  <a:pt x="2306" y="3434"/>
                </a:lnTo>
                <a:lnTo>
                  <a:pt x="2347" y="3498"/>
                </a:lnTo>
                <a:lnTo>
                  <a:pt x="2355" y="3593"/>
                </a:lnTo>
                <a:lnTo>
                  <a:pt x="2314" y="3664"/>
                </a:lnTo>
                <a:lnTo>
                  <a:pt x="2306" y="3712"/>
                </a:lnTo>
                <a:lnTo>
                  <a:pt x="2274" y="3760"/>
                </a:lnTo>
                <a:lnTo>
                  <a:pt x="2193" y="3839"/>
                </a:lnTo>
                <a:lnTo>
                  <a:pt x="2177" y="3871"/>
                </a:lnTo>
                <a:lnTo>
                  <a:pt x="2136" y="3863"/>
                </a:lnTo>
                <a:lnTo>
                  <a:pt x="2096" y="3863"/>
                </a:lnTo>
                <a:lnTo>
                  <a:pt x="2047" y="3887"/>
                </a:lnTo>
                <a:lnTo>
                  <a:pt x="2080" y="3879"/>
                </a:lnTo>
                <a:lnTo>
                  <a:pt x="2104" y="3918"/>
                </a:lnTo>
                <a:lnTo>
                  <a:pt x="2072" y="3966"/>
                </a:lnTo>
                <a:lnTo>
                  <a:pt x="2023" y="3958"/>
                </a:lnTo>
                <a:lnTo>
                  <a:pt x="1991" y="3958"/>
                </a:lnTo>
                <a:lnTo>
                  <a:pt x="1958" y="3974"/>
                </a:lnTo>
                <a:lnTo>
                  <a:pt x="2015" y="3982"/>
                </a:lnTo>
                <a:lnTo>
                  <a:pt x="2055" y="4006"/>
                </a:lnTo>
                <a:lnTo>
                  <a:pt x="2080" y="4037"/>
                </a:lnTo>
                <a:lnTo>
                  <a:pt x="2128" y="4045"/>
                </a:lnTo>
                <a:lnTo>
                  <a:pt x="2169" y="4045"/>
                </a:lnTo>
                <a:lnTo>
                  <a:pt x="2201" y="4045"/>
                </a:lnTo>
                <a:lnTo>
                  <a:pt x="2201" y="4093"/>
                </a:lnTo>
                <a:lnTo>
                  <a:pt x="2177" y="4125"/>
                </a:lnTo>
                <a:lnTo>
                  <a:pt x="2153" y="4156"/>
                </a:lnTo>
                <a:lnTo>
                  <a:pt x="2120" y="4164"/>
                </a:lnTo>
                <a:lnTo>
                  <a:pt x="2080" y="4180"/>
                </a:lnTo>
                <a:lnTo>
                  <a:pt x="2047" y="4220"/>
                </a:lnTo>
                <a:lnTo>
                  <a:pt x="2015" y="4220"/>
                </a:lnTo>
                <a:lnTo>
                  <a:pt x="1958" y="4228"/>
                </a:lnTo>
                <a:lnTo>
                  <a:pt x="1926" y="4244"/>
                </a:lnTo>
                <a:lnTo>
                  <a:pt x="1886" y="4267"/>
                </a:lnTo>
                <a:lnTo>
                  <a:pt x="1845" y="4267"/>
                </a:lnTo>
                <a:lnTo>
                  <a:pt x="1805" y="4259"/>
                </a:lnTo>
                <a:lnTo>
                  <a:pt x="1764" y="4220"/>
                </a:lnTo>
                <a:lnTo>
                  <a:pt x="1716" y="4228"/>
                </a:lnTo>
                <a:lnTo>
                  <a:pt x="1619" y="4220"/>
                </a:lnTo>
                <a:lnTo>
                  <a:pt x="1586" y="4236"/>
                </a:lnTo>
                <a:lnTo>
                  <a:pt x="1554" y="4236"/>
                </a:lnTo>
                <a:lnTo>
                  <a:pt x="1538" y="4204"/>
                </a:lnTo>
                <a:lnTo>
                  <a:pt x="1481" y="4212"/>
                </a:lnTo>
                <a:lnTo>
                  <a:pt x="1449" y="4188"/>
                </a:lnTo>
                <a:lnTo>
                  <a:pt x="1441" y="4220"/>
                </a:lnTo>
                <a:lnTo>
                  <a:pt x="1497" y="4244"/>
                </a:lnTo>
                <a:lnTo>
                  <a:pt x="1457" y="4275"/>
                </a:lnTo>
                <a:lnTo>
                  <a:pt x="1416" y="4267"/>
                </a:lnTo>
                <a:lnTo>
                  <a:pt x="1384" y="4228"/>
                </a:lnTo>
                <a:lnTo>
                  <a:pt x="1432" y="4196"/>
                </a:lnTo>
                <a:lnTo>
                  <a:pt x="1400" y="4204"/>
                </a:lnTo>
                <a:lnTo>
                  <a:pt x="1360" y="4212"/>
                </a:lnTo>
                <a:lnTo>
                  <a:pt x="1254" y="4220"/>
                </a:lnTo>
                <a:lnTo>
                  <a:pt x="1206" y="4244"/>
                </a:lnTo>
                <a:lnTo>
                  <a:pt x="1174" y="4236"/>
                </a:lnTo>
                <a:lnTo>
                  <a:pt x="1133" y="4204"/>
                </a:lnTo>
                <a:lnTo>
                  <a:pt x="1117" y="4259"/>
                </a:lnTo>
                <a:lnTo>
                  <a:pt x="1093" y="4228"/>
                </a:lnTo>
                <a:lnTo>
                  <a:pt x="1052" y="4188"/>
                </a:lnTo>
                <a:lnTo>
                  <a:pt x="1012" y="4156"/>
                </a:lnTo>
                <a:lnTo>
                  <a:pt x="979" y="4156"/>
                </a:lnTo>
                <a:lnTo>
                  <a:pt x="882" y="4164"/>
                </a:lnTo>
                <a:lnTo>
                  <a:pt x="842" y="4172"/>
                </a:lnTo>
                <a:lnTo>
                  <a:pt x="818" y="4204"/>
                </a:lnTo>
                <a:lnTo>
                  <a:pt x="809" y="4236"/>
                </a:lnTo>
                <a:lnTo>
                  <a:pt x="809" y="4275"/>
                </a:lnTo>
                <a:lnTo>
                  <a:pt x="769" y="4291"/>
                </a:lnTo>
                <a:lnTo>
                  <a:pt x="761" y="4323"/>
                </a:lnTo>
                <a:lnTo>
                  <a:pt x="712" y="4307"/>
                </a:lnTo>
                <a:lnTo>
                  <a:pt x="680" y="4275"/>
                </a:lnTo>
                <a:lnTo>
                  <a:pt x="648" y="4267"/>
                </a:lnTo>
                <a:lnTo>
                  <a:pt x="623" y="4228"/>
                </a:lnTo>
                <a:lnTo>
                  <a:pt x="551" y="4244"/>
                </a:lnTo>
                <a:lnTo>
                  <a:pt x="470" y="4236"/>
                </a:lnTo>
                <a:lnTo>
                  <a:pt x="453" y="4267"/>
                </a:lnTo>
                <a:lnTo>
                  <a:pt x="421" y="4291"/>
                </a:lnTo>
                <a:lnTo>
                  <a:pt x="389" y="4283"/>
                </a:lnTo>
                <a:lnTo>
                  <a:pt x="348" y="4291"/>
                </a:lnTo>
                <a:lnTo>
                  <a:pt x="364" y="4323"/>
                </a:lnTo>
                <a:lnTo>
                  <a:pt x="308" y="4355"/>
                </a:lnTo>
                <a:lnTo>
                  <a:pt x="308" y="4323"/>
                </a:lnTo>
                <a:lnTo>
                  <a:pt x="284" y="4291"/>
                </a:lnTo>
                <a:lnTo>
                  <a:pt x="235" y="4275"/>
                </a:lnTo>
                <a:lnTo>
                  <a:pt x="195" y="4283"/>
                </a:lnTo>
                <a:lnTo>
                  <a:pt x="186" y="4252"/>
                </a:lnTo>
                <a:lnTo>
                  <a:pt x="235" y="4220"/>
                </a:lnTo>
                <a:lnTo>
                  <a:pt x="267" y="4236"/>
                </a:lnTo>
                <a:lnTo>
                  <a:pt x="300" y="4228"/>
                </a:lnTo>
                <a:lnTo>
                  <a:pt x="340" y="4212"/>
                </a:lnTo>
                <a:lnTo>
                  <a:pt x="364" y="4172"/>
                </a:lnTo>
                <a:lnTo>
                  <a:pt x="397" y="4164"/>
                </a:lnTo>
                <a:lnTo>
                  <a:pt x="413" y="4133"/>
                </a:lnTo>
                <a:lnTo>
                  <a:pt x="486" y="4101"/>
                </a:lnTo>
                <a:lnTo>
                  <a:pt x="542" y="4053"/>
                </a:lnTo>
                <a:lnTo>
                  <a:pt x="559" y="4021"/>
                </a:lnTo>
                <a:lnTo>
                  <a:pt x="559" y="3990"/>
                </a:lnTo>
                <a:lnTo>
                  <a:pt x="591" y="3966"/>
                </a:lnTo>
                <a:lnTo>
                  <a:pt x="631" y="3966"/>
                </a:lnTo>
                <a:close/>
                <a:moveTo>
                  <a:pt x="308" y="2142"/>
                </a:moveTo>
                <a:lnTo>
                  <a:pt x="275" y="2150"/>
                </a:lnTo>
                <a:lnTo>
                  <a:pt x="219" y="2142"/>
                </a:lnTo>
                <a:lnTo>
                  <a:pt x="203" y="2198"/>
                </a:lnTo>
                <a:lnTo>
                  <a:pt x="170" y="2206"/>
                </a:lnTo>
                <a:lnTo>
                  <a:pt x="146" y="2238"/>
                </a:lnTo>
                <a:lnTo>
                  <a:pt x="114" y="2230"/>
                </a:lnTo>
                <a:lnTo>
                  <a:pt x="81" y="2253"/>
                </a:lnTo>
                <a:lnTo>
                  <a:pt x="122" y="2277"/>
                </a:lnTo>
                <a:lnTo>
                  <a:pt x="81" y="2301"/>
                </a:lnTo>
                <a:lnTo>
                  <a:pt x="41" y="2301"/>
                </a:lnTo>
                <a:lnTo>
                  <a:pt x="0" y="2325"/>
                </a:lnTo>
                <a:lnTo>
                  <a:pt x="8" y="2357"/>
                </a:lnTo>
                <a:lnTo>
                  <a:pt x="33" y="2396"/>
                </a:lnTo>
                <a:lnTo>
                  <a:pt x="41" y="2444"/>
                </a:lnTo>
                <a:lnTo>
                  <a:pt x="73" y="2444"/>
                </a:lnTo>
                <a:lnTo>
                  <a:pt x="114" y="2491"/>
                </a:lnTo>
                <a:lnTo>
                  <a:pt x="154" y="2483"/>
                </a:lnTo>
                <a:lnTo>
                  <a:pt x="203" y="2452"/>
                </a:lnTo>
                <a:lnTo>
                  <a:pt x="219" y="2412"/>
                </a:lnTo>
                <a:lnTo>
                  <a:pt x="267" y="2404"/>
                </a:lnTo>
                <a:lnTo>
                  <a:pt x="292" y="2452"/>
                </a:lnTo>
                <a:lnTo>
                  <a:pt x="284" y="2483"/>
                </a:lnTo>
                <a:lnTo>
                  <a:pt x="324" y="2523"/>
                </a:lnTo>
                <a:lnTo>
                  <a:pt x="332" y="2563"/>
                </a:lnTo>
                <a:lnTo>
                  <a:pt x="381" y="2579"/>
                </a:lnTo>
                <a:lnTo>
                  <a:pt x="413" y="2571"/>
                </a:lnTo>
                <a:lnTo>
                  <a:pt x="445" y="2610"/>
                </a:lnTo>
                <a:lnTo>
                  <a:pt x="502" y="2595"/>
                </a:lnTo>
                <a:lnTo>
                  <a:pt x="518" y="2563"/>
                </a:lnTo>
                <a:lnTo>
                  <a:pt x="534" y="2531"/>
                </a:lnTo>
                <a:lnTo>
                  <a:pt x="567" y="2539"/>
                </a:lnTo>
                <a:lnTo>
                  <a:pt x="599" y="2547"/>
                </a:lnTo>
                <a:lnTo>
                  <a:pt x="615" y="2515"/>
                </a:lnTo>
                <a:lnTo>
                  <a:pt x="599" y="2483"/>
                </a:lnTo>
                <a:lnTo>
                  <a:pt x="607" y="2452"/>
                </a:lnTo>
                <a:lnTo>
                  <a:pt x="607" y="2396"/>
                </a:lnTo>
                <a:lnTo>
                  <a:pt x="640" y="2412"/>
                </a:lnTo>
                <a:lnTo>
                  <a:pt x="623" y="2468"/>
                </a:lnTo>
                <a:lnTo>
                  <a:pt x="623" y="2499"/>
                </a:lnTo>
                <a:lnTo>
                  <a:pt x="656" y="2483"/>
                </a:lnTo>
                <a:lnTo>
                  <a:pt x="656" y="2452"/>
                </a:lnTo>
                <a:lnTo>
                  <a:pt x="656" y="2412"/>
                </a:lnTo>
                <a:lnTo>
                  <a:pt x="623" y="2364"/>
                </a:lnTo>
                <a:lnTo>
                  <a:pt x="583" y="2357"/>
                </a:lnTo>
                <a:lnTo>
                  <a:pt x="551" y="2388"/>
                </a:lnTo>
                <a:lnTo>
                  <a:pt x="567" y="2357"/>
                </a:lnTo>
                <a:lnTo>
                  <a:pt x="599" y="2349"/>
                </a:lnTo>
                <a:lnTo>
                  <a:pt x="615" y="2293"/>
                </a:lnTo>
                <a:lnTo>
                  <a:pt x="583" y="2253"/>
                </a:lnTo>
                <a:lnTo>
                  <a:pt x="575" y="2214"/>
                </a:lnTo>
                <a:lnTo>
                  <a:pt x="567" y="2166"/>
                </a:lnTo>
                <a:lnTo>
                  <a:pt x="551" y="2126"/>
                </a:lnTo>
                <a:lnTo>
                  <a:pt x="518" y="2095"/>
                </a:lnTo>
                <a:lnTo>
                  <a:pt x="478" y="2103"/>
                </a:lnTo>
                <a:lnTo>
                  <a:pt x="348" y="2103"/>
                </a:lnTo>
                <a:lnTo>
                  <a:pt x="308" y="2142"/>
                </a:lnTo>
                <a:close/>
                <a:moveTo>
                  <a:pt x="1902" y="246"/>
                </a:moveTo>
                <a:lnTo>
                  <a:pt x="1894" y="278"/>
                </a:lnTo>
                <a:lnTo>
                  <a:pt x="1894" y="238"/>
                </a:lnTo>
                <a:lnTo>
                  <a:pt x="1902" y="246"/>
                </a:lnTo>
                <a:close/>
                <a:moveTo>
                  <a:pt x="2161" y="95"/>
                </a:moveTo>
                <a:lnTo>
                  <a:pt x="2193" y="88"/>
                </a:lnTo>
                <a:lnTo>
                  <a:pt x="2193" y="119"/>
                </a:lnTo>
                <a:lnTo>
                  <a:pt x="2161" y="111"/>
                </a:lnTo>
                <a:lnTo>
                  <a:pt x="2161" y="95"/>
                </a:lnTo>
                <a:close/>
                <a:moveTo>
                  <a:pt x="2064" y="278"/>
                </a:moveTo>
                <a:lnTo>
                  <a:pt x="2055" y="318"/>
                </a:lnTo>
                <a:lnTo>
                  <a:pt x="2039" y="365"/>
                </a:lnTo>
                <a:lnTo>
                  <a:pt x="2047" y="405"/>
                </a:lnTo>
                <a:lnTo>
                  <a:pt x="2064" y="357"/>
                </a:lnTo>
                <a:lnTo>
                  <a:pt x="2096" y="325"/>
                </a:lnTo>
                <a:lnTo>
                  <a:pt x="2096" y="286"/>
                </a:lnTo>
                <a:lnTo>
                  <a:pt x="2104" y="254"/>
                </a:lnTo>
                <a:lnTo>
                  <a:pt x="2096" y="222"/>
                </a:lnTo>
                <a:lnTo>
                  <a:pt x="2128" y="199"/>
                </a:lnTo>
                <a:lnTo>
                  <a:pt x="2169" y="199"/>
                </a:lnTo>
                <a:lnTo>
                  <a:pt x="2185" y="167"/>
                </a:lnTo>
                <a:lnTo>
                  <a:pt x="2136" y="175"/>
                </a:lnTo>
                <a:lnTo>
                  <a:pt x="2128" y="143"/>
                </a:lnTo>
                <a:lnTo>
                  <a:pt x="2161" y="135"/>
                </a:lnTo>
                <a:lnTo>
                  <a:pt x="2128" y="119"/>
                </a:lnTo>
                <a:lnTo>
                  <a:pt x="2144" y="88"/>
                </a:lnTo>
                <a:lnTo>
                  <a:pt x="2177" y="72"/>
                </a:lnTo>
                <a:lnTo>
                  <a:pt x="2177" y="40"/>
                </a:lnTo>
                <a:lnTo>
                  <a:pt x="2209" y="40"/>
                </a:lnTo>
                <a:lnTo>
                  <a:pt x="2209" y="0"/>
                </a:lnTo>
                <a:lnTo>
                  <a:pt x="2177" y="8"/>
                </a:lnTo>
                <a:lnTo>
                  <a:pt x="2153" y="40"/>
                </a:lnTo>
                <a:lnTo>
                  <a:pt x="2136" y="72"/>
                </a:lnTo>
                <a:lnTo>
                  <a:pt x="2104" y="72"/>
                </a:lnTo>
                <a:lnTo>
                  <a:pt x="2112" y="103"/>
                </a:lnTo>
                <a:lnTo>
                  <a:pt x="2096" y="135"/>
                </a:lnTo>
                <a:lnTo>
                  <a:pt x="2064" y="143"/>
                </a:lnTo>
                <a:lnTo>
                  <a:pt x="2088" y="103"/>
                </a:lnTo>
                <a:lnTo>
                  <a:pt x="2064" y="72"/>
                </a:lnTo>
                <a:lnTo>
                  <a:pt x="2023" y="95"/>
                </a:lnTo>
                <a:lnTo>
                  <a:pt x="2007" y="127"/>
                </a:lnTo>
                <a:lnTo>
                  <a:pt x="2039" y="159"/>
                </a:lnTo>
                <a:lnTo>
                  <a:pt x="2064" y="191"/>
                </a:lnTo>
                <a:lnTo>
                  <a:pt x="2031" y="206"/>
                </a:lnTo>
                <a:lnTo>
                  <a:pt x="1999" y="191"/>
                </a:lnTo>
                <a:lnTo>
                  <a:pt x="1999" y="230"/>
                </a:lnTo>
                <a:lnTo>
                  <a:pt x="2015" y="262"/>
                </a:lnTo>
                <a:lnTo>
                  <a:pt x="2055" y="262"/>
                </a:lnTo>
                <a:lnTo>
                  <a:pt x="2064" y="278"/>
                </a:lnTo>
                <a:close/>
                <a:moveTo>
                  <a:pt x="1934" y="524"/>
                </a:moveTo>
                <a:lnTo>
                  <a:pt x="1958" y="492"/>
                </a:lnTo>
                <a:lnTo>
                  <a:pt x="1975" y="532"/>
                </a:lnTo>
                <a:lnTo>
                  <a:pt x="1942" y="532"/>
                </a:lnTo>
                <a:lnTo>
                  <a:pt x="1934" y="524"/>
                </a:lnTo>
                <a:close/>
                <a:moveTo>
                  <a:pt x="1627" y="643"/>
                </a:moveTo>
                <a:lnTo>
                  <a:pt x="1627" y="611"/>
                </a:lnTo>
                <a:lnTo>
                  <a:pt x="1594" y="619"/>
                </a:lnTo>
                <a:lnTo>
                  <a:pt x="1627" y="643"/>
                </a:lnTo>
                <a:close/>
                <a:moveTo>
                  <a:pt x="1521" y="690"/>
                </a:moveTo>
                <a:lnTo>
                  <a:pt x="1530" y="659"/>
                </a:lnTo>
                <a:lnTo>
                  <a:pt x="1546" y="627"/>
                </a:lnTo>
                <a:lnTo>
                  <a:pt x="1578" y="643"/>
                </a:lnTo>
                <a:lnTo>
                  <a:pt x="1602" y="675"/>
                </a:lnTo>
                <a:lnTo>
                  <a:pt x="1586" y="706"/>
                </a:lnTo>
                <a:lnTo>
                  <a:pt x="1594" y="738"/>
                </a:lnTo>
                <a:lnTo>
                  <a:pt x="1562" y="730"/>
                </a:lnTo>
                <a:lnTo>
                  <a:pt x="1546" y="690"/>
                </a:lnTo>
                <a:lnTo>
                  <a:pt x="1521" y="690"/>
                </a:lnTo>
                <a:close/>
                <a:moveTo>
                  <a:pt x="1554" y="754"/>
                </a:moveTo>
                <a:lnTo>
                  <a:pt x="1546" y="722"/>
                </a:lnTo>
                <a:lnTo>
                  <a:pt x="1513" y="722"/>
                </a:lnTo>
                <a:lnTo>
                  <a:pt x="1521" y="754"/>
                </a:lnTo>
                <a:lnTo>
                  <a:pt x="1554" y="754"/>
                </a:lnTo>
                <a:close/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48" name="Freeform 140">
            <a:extLst>
              <a:ext uri="{FF2B5EF4-FFF2-40B4-BE49-F238E27FC236}">
                <a16:creationId xmlns:a16="http://schemas.microsoft.com/office/drawing/2014/main" id="{A5556B96-8A29-00F4-50CB-1EC2075E281A}"/>
              </a:ext>
            </a:extLst>
          </p:cNvPr>
          <p:cNvSpPr>
            <a:spLocks noChangeArrowheads="1"/>
          </p:cNvSpPr>
          <p:nvPr>
            <p:custDataLst>
              <p:tags r:id="rId139"/>
            </p:custDataLst>
          </p:nvPr>
        </p:nvSpPr>
        <p:spPr bwMode="auto">
          <a:xfrm>
            <a:off x="5933573" y="2269454"/>
            <a:ext cx="12678" cy="9057"/>
          </a:xfrm>
          <a:custGeom>
            <a:avLst/>
            <a:gdLst>
              <a:gd name="T0" fmla="*/ 0 w 33"/>
              <a:gd name="T1" fmla="*/ 8 h 24"/>
              <a:gd name="T2" fmla="*/ 32 w 33"/>
              <a:gd name="T3" fmla="*/ 0 h 24"/>
              <a:gd name="T4" fmla="*/ 0 w 33"/>
              <a:gd name="T5" fmla="*/ 23 h 24"/>
              <a:gd name="T6" fmla="*/ 0 w 33"/>
              <a:gd name="T7" fmla="*/ 8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3" h="24">
                <a:moveTo>
                  <a:pt x="0" y="8"/>
                </a:moveTo>
                <a:lnTo>
                  <a:pt x="32" y="0"/>
                </a:lnTo>
                <a:lnTo>
                  <a:pt x="0" y="23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49" name="Freeform 141">
            <a:extLst>
              <a:ext uri="{FF2B5EF4-FFF2-40B4-BE49-F238E27FC236}">
                <a16:creationId xmlns:a16="http://schemas.microsoft.com/office/drawing/2014/main" id="{7AE2689D-1057-4F3E-A04D-63A03FFB7E41}"/>
              </a:ext>
            </a:extLst>
          </p:cNvPr>
          <p:cNvSpPr>
            <a:spLocks noChangeArrowheads="1"/>
          </p:cNvSpPr>
          <p:nvPr>
            <p:custDataLst>
              <p:tags r:id="rId140"/>
            </p:custDataLst>
          </p:nvPr>
        </p:nvSpPr>
        <p:spPr bwMode="auto">
          <a:xfrm>
            <a:off x="5917272" y="2282134"/>
            <a:ext cx="16302" cy="16300"/>
          </a:xfrm>
          <a:custGeom>
            <a:avLst/>
            <a:gdLst>
              <a:gd name="T0" fmla="*/ 0 w 41"/>
              <a:gd name="T1" fmla="*/ 0 h 41"/>
              <a:gd name="T2" fmla="*/ 8 w 41"/>
              <a:gd name="T3" fmla="*/ 40 h 41"/>
              <a:gd name="T4" fmla="*/ 40 w 41"/>
              <a:gd name="T5" fmla="*/ 8 h 41"/>
              <a:gd name="T6" fmla="*/ 8 w 41"/>
              <a:gd name="T7" fmla="*/ 16 h 41"/>
              <a:gd name="T8" fmla="*/ 0 w 41"/>
              <a:gd name="T9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" h="41">
                <a:moveTo>
                  <a:pt x="0" y="0"/>
                </a:moveTo>
                <a:lnTo>
                  <a:pt x="8" y="40"/>
                </a:lnTo>
                <a:lnTo>
                  <a:pt x="40" y="8"/>
                </a:lnTo>
                <a:lnTo>
                  <a:pt x="8" y="16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50" name="Freeform 142">
            <a:extLst>
              <a:ext uri="{FF2B5EF4-FFF2-40B4-BE49-F238E27FC236}">
                <a16:creationId xmlns:a16="http://schemas.microsoft.com/office/drawing/2014/main" id="{11E34C53-A422-0503-B502-1B5C29DACD94}"/>
              </a:ext>
            </a:extLst>
          </p:cNvPr>
          <p:cNvSpPr>
            <a:spLocks noChangeArrowheads="1"/>
          </p:cNvSpPr>
          <p:nvPr>
            <p:custDataLst>
              <p:tags r:id="rId141"/>
            </p:custDataLst>
          </p:nvPr>
        </p:nvSpPr>
        <p:spPr bwMode="auto">
          <a:xfrm>
            <a:off x="5906404" y="2318358"/>
            <a:ext cx="1812" cy="1811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51" name="Freeform 143">
            <a:extLst>
              <a:ext uri="{FF2B5EF4-FFF2-40B4-BE49-F238E27FC236}">
                <a16:creationId xmlns:a16="http://schemas.microsoft.com/office/drawing/2014/main" id="{C209AB68-633F-7E7C-1777-2952EA0316AC}"/>
              </a:ext>
            </a:extLst>
          </p:cNvPr>
          <p:cNvSpPr>
            <a:spLocks noChangeArrowheads="1"/>
          </p:cNvSpPr>
          <p:nvPr>
            <p:custDataLst>
              <p:tags r:id="rId142"/>
            </p:custDataLst>
          </p:nvPr>
        </p:nvSpPr>
        <p:spPr bwMode="auto">
          <a:xfrm>
            <a:off x="5881047" y="2318358"/>
            <a:ext cx="12679" cy="3622"/>
          </a:xfrm>
          <a:custGeom>
            <a:avLst/>
            <a:gdLst>
              <a:gd name="T0" fmla="*/ 0 w 33"/>
              <a:gd name="T1" fmla="*/ 7 h 8"/>
              <a:gd name="T2" fmla="*/ 32 w 33"/>
              <a:gd name="T3" fmla="*/ 0 h 8"/>
              <a:gd name="T4" fmla="*/ 0 w 33"/>
              <a:gd name="T5" fmla="*/ 0 h 8"/>
              <a:gd name="T6" fmla="*/ 0 w 33"/>
              <a:gd name="T7" fmla="*/ 7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3" h="8">
                <a:moveTo>
                  <a:pt x="0" y="7"/>
                </a:moveTo>
                <a:lnTo>
                  <a:pt x="32" y="0"/>
                </a:lnTo>
                <a:lnTo>
                  <a:pt x="0" y="0"/>
                </a:lnTo>
                <a:lnTo>
                  <a:pt x="0" y="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52" name="Freeform 144">
            <a:extLst>
              <a:ext uri="{FF2B5EF4-FFF2-40B4-BE49-F238E27FC236}">
                <a16:creationId xmlns:a16="http://schemas.microsoft.com/office/drawing/2014/main" id="{FDEF3911-5D55-C313-6244-71D9F0469255}"/>
              </a:ext>
            </a:extLst>
          </p:cNvPr>
          <p:cNvSpPr>
            <a:spLocks noChangeArrowheads="1"/>
          </p:cNvSpPr>
          <p:nvPr>
            <p:custDataLst>
              <p:tags r:id="rId143"/>
            </p:custDataLst>
          </p:nvPr>
        </p:nvSpPr>
        <p:spPr bwMode="auto">
          <a:xfrm>
            <a:off x="5881047" y="2262210"/>
            <a:ext cx="12679" cy="23546"/>
          </a:xfrm>
          <a:custGeom>
            <a:avLst/>
            <a:gdLst>
              <a:gd name="T0" fmla="*/ 0 w 33"/>
              <a:gd name="T1" fmla="*/ 55 h 56"/>
              <a:gd name="T2" fmla="*/ 32 w 33"/>
              <a:gd name="T3" fmla="*/ 31 h 56"/>
              <a:gd name="T4" fmla="*/ 32 w 33"/>
              <a:gd name="T5" fmla="*/ 0 h 56"/>
              <a:gd name="T6" fmla="*/ 0 w 33"/>
              <a:gd name="T7" fmla="*/ 31 h 56"/>
              <a:gd name="T8" fmla="*/ 0 w 33"/>
              <a:gd name="T9" fmla="*/ 55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56">
                <a:moveTo>
                  <a:pt x="0" y="55"/>
                </a:moveTo>
                <a:lnTo>
                  <a:pt x="32" y="31"/>
                </a:lnTo>
                <a:lnTo>
                  <a:pt x="32" y="0"/>
                </a:lnTo>
                <a:lnTo>
                  <a:pt x="0" y="31"/>
                </a:lnTo>
                <a:lnTo>
                  <a:pt x="0" y="55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53" name="Freeform 145">
            <a:extLst>
              <a:ext uri="{FF2B5EF4-FFF2-40B4-BE49-F238E27FC236}">
                <a16:creationId xmlns:a16="http://schemas.microsoft.com/office/drawing/2014/main" id="{7E62A228-3D9A-DE1B-84BA-52AE9D3973C9}"/>
              </a:ext>
            </a:extLst>
          </p:cNvPr>
          <p:cNvSpPr>
            <a:spLocks noChangeArrowheads="1"/>
          </p:cNvSpPr>
          <p:nvPr>
            <p:custDataLst>
              <p:tags r:id="rId144"/>
            </p:custDataLst>
          </p:nvPr>
        </p:nvSpPr>
        <p:spPr bwMode="auto">
          <a:xfrm>
            <a:off x="5873802" y="2334658"/>
            <a:ext cx="14490" cy="12679"/>
          </a:xfrm>
          <a:custGeom>
            <a:avLst/>
            <a:gdLst>
              <a:gd name="T0" fmla="*/ 9 w 34"/>
              <a:gd name="T1" fmla="*/ 0 h 33"/>
              <a:gd name="T2" fmla="*/ 0 w 34"/>
              <a:gd name="T3" fmla="*/ 32 h 33"/>
              <a:gd name="T4" fmla="*/ 33 w 34"/>
              <a:gd name="T5" fmla="*/ 32 h 33"/>
              <a:gd name="T6" fmla="*/ 33 w 34"/>
              <a:gd name="T7" fmla="*/ 0 h 33"/>
              <a:gd name="T8" fmla="*/ 9 w 34"/>
              <a:gd name="T9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" h="33">
                <a:moveTo>
                  <a:pt x="9" y="0"/>
                </a:moveTo>
                <a:lnTo>
                  <a:pt x="0" y="32"/>
                </a:lnTo>
                <a:lnTo>
                  <a:pt x="33" y="32"/>
                </a:lnTo>
                <a:lnTo>
                  <a:pt x="33" y="0"/>
                </a:lnTo>
                <a:lnTo>
                  <a:pt x="9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54" name="Freeform 146">
            <a:extLst>
              <a:ext uri="{FF2B5EF4-FFF2-40B4-BE49-F238E27FC236}">
                <a16:creationId xmlns:a16="http://schemas.microsoft.com/office/drawing/2014/main" id="{8FAB3BCE-2F34-0275-C0A0-23AAEA2F5711}"/>
              </a:ext>
            </a:extLst>
          </p:cNvPr>
          <p:cNvSpPr>
            <a:spLocks noChangeArrowheads="1"/>
          </p:cNvSpPr>
          <p:nvPr>
            <p:custDataLst>
              <p:tags r:id="rId145"/>
            </p:custDataLst>
          </p:nvPr>
        </p:nvSpPr>
        <p:spPr bwMode="auto">
          <a:xfrm>
            <a:off x="5857502" y="2354582"/>
            <a:ext cx="23545" cy="19923"/>
          </a:xfrm>
          <a:custGeom>
            <a:avLst/>
            <a:gdLst>
              <a:gd name="T0" fmla="*/ 0 w 58"/>
              <a:gd name="T1" fmla="*/ 8 h 48"/>
              <a:gd name="T2" fmla="*/ 8 w 58"/>
              <a:gd name="T3" fmla="*/ 47 h 48"/>
              <a:gd name="T4" fmla="*/ 40 w 58"/>
              <a:gd name="T5" fmla="*/ 40 h 48"/>
              <a:gd name="T6" fmla="*/ 57 w 58"/>
              <a:gd name="T7" fmla="*/ 0 h 48"/>
              <a:gd name="T8" fmla="*/ 16 w 58"/>
              <a:gd name="T9" fmla="*/ 8 h 48"/>
              <a:gd name="T10" fmla="*/ 0 w 58"/>
              <a:gd name="T11" fmla="*/ 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" h="48">
                <a:moveTo>
                  <a:pt x="0" y="8"/>
                </a:moveTo>
                <a:lnTo>
                  <a:pt x="8" y="47"/>
                </a:lnTo>
                <a:lnTo>
                  <a:pt x="40" y="40"/>
                </a:lnTo>
                <a:lnTo>
                  <a:pt x="57" y="0"/>
                </a:lnTo>
                <a:lnTo>
                  <a:pt x="16" y="8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55" name="Freeform 147">
            <a:extLst>
              <a:ext uri="{FF2B5EF4-FFF2-40B4-BE49-F238E27FC236}">
                <a16:creationId xmlns:a16="http://schemas.microsoft.com/office/drawing/2014/main" id="{14763A9B-20D8-B42D-825A-4A3D2AC2278F}"/>
              </a:ext>
            </a:extLst>
          </p:cNvPr>
          <p:cNvSpPr>
            <a:spLocks noChangeArrowheads="1"/>
          </p:cNvSpPr>
          <p:nvPr>
            <p:custDataLst>
              <p:tags r:id="rId146"/>
            </p:custDataLst>
          </p:nvPr>
        </p:nvSpPr>
        <p:spPr bwMode="auto">
          <a:xfrm>
            <a:off x="5527860" y="2849044"/>
            <a:ext cx="34413" cy="48903"/>
          </a:xfrm>
          <a:custGeom>
            <a:avLst/>
            <a:gdLst>
              <a:gd name="T0" fmla="*/ 0 w 82"/>
              <a:gd name="T1" fmla="*/ 103 h 120"/>
              <a:gd name="T2" fmla="*/ 32 w 82"/>
              <a:gd name="T3" fmla="*/ 119 h 120"/>
              <a:gd name="T4" fmla="*/ 65 w 82"/>
              <a:gd name="T5" fmla="*/ 111 h 120"/>
              <a:gd name="T6" fmla="*/ 65 w 82"/>
              <a:gd name="T7" fmla="*/ 71 h 120"/>
              <a:gd name="T8" fmla="*/ 81 w 82"/>
              <a:gd name="T9" fmla="*/ 24 h 120"/>
              <a:gd name="T10" fmla="*/ 49 w 82"/>
              <a:gd name="T11" fmla="*/ 0 h 120"/>
              <a:gd name="T12" fmla="*/ 16 w 82"/>
              <a:gd name="T13" fmla="*/ 16 h 120"/>
              <a:gd name="T14" fmla="*/ 0 w 82"/>
              <a:gd name="T15" fmla="*/ 47 h 120"/>
              <a:gd name="T16" fmla="*/ 0 w 82"/>
              <a:gd name="T17" fmla="*/ 103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2" h="120">
                <a:moveTo>
                  <a:pt x="0" y="103"/>
                </a:moveTo>
                <a:lnTo>
                  <a:pt x="32" y="119"/>
                </a:lnTo>
                <a:lnTo>
                  <a:pt x="65" y="111"/>
                </a:lnTo>
                <a:lnTo>
                  <a:pt x="65" y="71"/>
                </a:lnTo>
                <a:lnTo>
                  <a:pt x="81" y="24"/>
                </a:lnTo>
                <a:lnTo>
                  <a:pt x="49" y="0"/>
                </a:lnTo>
                <a:lnTo>
                  <a:pt x="16" y="16"/>
                </a:lnTo>
                <a:lnTo>
                  <a:pt x="0" y="47"/>
                </a:lnTo>
                <a:lnTo>
                  <a:pt x="0" y="103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56" name="Freeform 148">
            <a:extLst>
              <a:ext uri="{FF2B5EF4-FFF2-40B4-BE49-F238E27FC236}">
                <a16:creationId xmlns:a16="http://schemas.microsoft.com/office/drawing/2014/main" id="{068E4175-8FA9-1B11-A7CF-5CC31A94545D}"/>
              </a:ext>
            </a:extLst>
          </p:cNvPr>
          <p:cNvSpPr>
            <a:spLocks noChangeArrowheads="1"/>
          </p:cNvSpPr>
          <p:nvPr>
            <p:custDataLst>
              <p:tags r:id="rId147"/>
            </p:custDataLst>
          </p:nvPr>
        </p:nvSpPr>
        <p:spPr bwMode="auto">
          <a:xfrm>
            <a:off x="5488014" y="2836366"/>
            <a:ext cx="12678" cy="12678"/>
          </a:xfrm>
          <a:custGeom>
            <a:avLst/>
            <a:gdLst>
              <a:gd name="T0" fmla="*/ 24 w 33"/>
              <a:gd name="T1" fmla="*/ 0 h 33"/>
              <a:gd name="T2" fmla="*/ 0 w 33"/>
              <a:gd name="T3" fmla="*/ 32 h 33"/>
              <a:gd name="T4" fmla="*/ 32 w 33"/>
              <a:gd name="T5" fmla="*/ 24 h 33"/>
              <a:gd name="T6" fmla="*/ 24 w 33"/>
              <a:gd name="T7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3" h="33">
                <a:moveTo>
                  <a:pt x="24" y="0"/>
                </a:moveTo>
                <a:lnTo>
                  <a:pt x="0" y="32"/>
                </a:lnTo>
                <a:lnTo>
                  <a:pt x="32" y="24"/>
                </a:lnTo>
                <a:lnTo>
                  <a:pt x="24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57" name="Freeform 149">
            <a:extLst>
              <a:ext uri="{FF2B5EF4-FFF2-40B4-BE49-F238E27FC236}">
                <a16:creationId xmlns:a16="http://schemas.microsoft.com/office/drawing/2014/main" id="{3C956CB3-A685-CF60-7E09-BD8F8D454B60}"/>
              </a:ext>
            </a:extLst>
          </p:cNvPr>
          <p:cNvSpPr>
            <a:spLocks noChangeArrowheads="1"/>
          </p:cNvSpPr>
          <p:nvPr>
            <p:custDataLst>
              <p:tags r:id="rId148"/>
            </p:custDataLst>
          </p:nvPr>
        </p:nvSpPr>
        <p:spPr bwMode="auto">
          <a:xfrm>
            <a:off x="5482579" y="2597285"/>
            <a:ext cx="27169" cy="19923"/>
          </a:xfrm>
          <a:custGeom>
            <a:avLst/>
            <a:gdLst>
              <a:gd name="T0" fmla="*/ 32 w 65"/>
              <a:gd name="T1" fmla="*/ 47 h 48"/>
              <a:gd name="T2" fmla="*/ 64 w 65"/>
              <a:gd name="T3" fmla="*/ 32 h 48"/>
              <a:gd name="T4" fmla="*/ 32 w 65"/>
              <a:gd name="T5" fmla="*/ 0 h 48"/>
              <a:gd name="T6" fmla="*/ 0 w 65"/>
              <a:gd name="T7" fmla="*/ 8 h 48"/>
              <a:gd name="T8" fmla="*/ 8 w 65"/>
              <a:gd name="T9" fmla="*/ 40 h 48"/>
              <a:gd name="T10" fmla="*/ 32 w 65"/>
              <a:gd name="T11" fmla="*/ 47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5" h="48">
                <a:moveTo>
                  <a:pt x="32" y="47"/>
                </a:moveTo>
                <a:lnTo>
                  <a:pt x="64" y="32"/>
                </a:lnTo>
                <a:lnTo>
                  <a:pt x="32" y="0"/>
                </a:lnTo>
                <a:lnTo>
                  <a:pt x="0" y="8"/>
                </a:lnTo>
                <a:lnTo>
                  <a:pt x="8" y="40"/>
                </a:lnTo>
                <a:lnTo>
                  <a:pt x="32" y="4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58" name="Freeform 150">
            <a:extLst>
              <a:ext uri="{FF2B5EF4-FFF2-40B4-BE49-F238E27FC236}">
                <a16:creationId xmlns:a16="http://schemas.microsoft.com/office/drawing/2014/main" id="{993791FF-D74C-9EFD-CA29-964B07CD5C95}"/>
              </a:ext>
            </a:extLst>
          </p:cNvPr>
          <p:cNvSpPr>
            <a:spLocks noChangeArrowheads="1"/>
          </p:cNvSpPr>
          <p:nvPr>
            <p:custDataLst>
              <p:tags r:id="rId149"/>
            </p:custDataLst>
          </p:nvPr>
        </p:nvSpPr>
        <p:spPr bwMode="auto">
          <a:xfrm>
            <a:off x="5471712" y="2591851"/>
            <a:ext cx="18112" cy="3622"/>
          </a:xfrm>
          <a:custGeom>
            <a:avLst/>
            <a:gdLst>
              <a:gd name="T0" fmla="*/ 0 w 42"/>
              <a:gd name="T1" fmla="*/ 8 h 9"/>
              <a:gd name="T2" fmla="*/ 41 w 42"/>
              <a:gd name="T3" fmla="*/ 0 h 9"/>
              <a:gd name="T4" fmla="*/ 0 w 42"/>
              <a:gd name="T5" fmla="*/ 8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2" h="9">
                <a:moveTo>
                  <a:pt x="0" y="8"/>
                </a:moveTo>
                <a:lnTo>
                  <a:pt x="41" y="0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59" name="Freeform 151">
            <a:extLst>
              <a:ext uri="{FF2B5EF4-FFF2-40B4-BE49-F238E27FC236}">
                <a16:creationId xmlns:a16="http://schemas.microsoft.com/office/drawing/2014/main" id="{E44D6E67-0759-336A-4A49-47893976C645}"/>
              </a:ext>
            </a:extLst>
          </p:cNvPr>
          <p:cNvSpPr>
            <a:spLocks noChangeArrowheads="1"/>
          </p:cNvSpPr>
          <p:nvPr>
            <p:custDataLst>
              <p:tags r:id="rId150"/>
            </p:custDataLst>
          </p:nvPr>
        </p:nvSpPr>
        <p:spPr bwMode="auto">
          <a:xfrm>
            <a:off x="5459034" y="2722259"/>
            <a:ext cx="19923" cy="16302"/>
          </a:xfrm>
          <a:custGeom>
            <a:avLst/>
            <a:gdLst>
              <a:gd name="T0" fmla="*/ 16 w 50"/>
              <a:gd name="T1" fmla="*/ 40 h 41"/>
              <a:gd name="T2" fmla="*/ 49 w 50"/>
              <a:gd name="T3" fmla="*/ 24 h 41"/>
              <a:gd name="T4" fmla="*/ 0 w 50"/>
              <a:gd name="T5" fmla="*/ 0 h 41"/>
              <a:gd name="T6" fmla="*/ 16 w 50"/>
              <a:gd name="T7" fmla="*/ 4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0" h="41">
                <a:moveTo>
                  <a:pt x="16" y="40"/>
                </a:moveTo>
                <a:lnTo>
                  <a:pt x="49" y="24"/>
                </a:lnTo>
                <a:lnTo>
                  <a:pt x="0" y="0"/>
                </a:lnTo>
                <a:lnTo>
                  <a:pt x="16" y="4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60" name="Freeform 152">
            <a:extLst>
              <a:ext uri="{FF2B5EF4-FFF2-40B4-BE49-F238E27FC236}">
                <a16:creationId xmlns:a16="http://schemas.microsoft.com/office/drawing/2014/main" id="{9B5DF3DF-22EB-9C54-5679-A321CB27AAEF}"/>
              </a:ext>
            </a:extLst>
          </p:cNvPr>
          <p:cNvSpPr>
            <a:spLocks noChangeArrowheads="1"/>
          </p:cNvSpPr>
          <p:nvPr>
            <p:custDataLst>
              <p:tags r:id="rId151"/>
            </p:custDataLst>
          </p:nvPr>
        </p:nvSpPr>
        <p:spPr bwMode="auto">
          <a:xfrm>
            <a:off x="5459034" y="2763917"/>
            <a:ext cx="12678" cy="12678"/>
          </a:xfrm>
          <a:custGeom>
            <a:avLst/>
            <a:gdLst>
              <a:gd name="T0" fmla="*/ 8 w 33"/>
              <a:gd name="T1" fmla="*/ 32 h 33"/>
              <a:gd name="T2" fmla="*/ 32 w 33"/>
              <a:gd name="T3" fmla="*/ 0 h 33"/>
              <a:gd name="T4" fmla="*/ 0 w 33"/>
              <a:gd name="T5" fmla="*/ 32 h 33"/>
              <a:gd name="T6" fmla="*/ 8 w 33"/>
              <a:gd name="T7" fmla="*/ 3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3" h="33">
                <a:moveTo>
                  <a:pt x="8" y="32"/>
                </a:moveTo>
                <a:lnTo>
                  <a:pt x="32" y="0"/>
                </a:lnTo>
                <a:lnTo>
                  <a:pt x="0" y="32"/>
                </a:lnTo>
                <a:lnTo>
                  <a:pt x="8" y="3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61" name="Freeform 153">
            <a:extLst>
              <a:ext uri="{FF2B5EF4-FFF2-40B4-BE49-F238E27FC236}">
                <a16:creationId xmlns:a16="http://schemas.microsoft.com/office/drawing/2014/main" id="{9897E878-40AF-F0FC-EB09-5099816C9A98}"/>
              </a:ext>
            </a:extLst>
          </p:cNvPr>
          <p:cNvSpPr>
            <a:spLocks noChangeArrowheads="1"/>
          </p:cNvSpPr>
          <p:nvPr>
            <p:custDataLst>
              <p:tags r:id="rId152"/>
            </p:custDataLst>
          </p:nvPr>
        </p:nvSpPr>
        <p:spPr bwMode="auto">
          <a:xfrm>
            <a:off x="5448167" y="2356393"/>
            <a:ext cx="115918" cy="114107"/>
          </a:xfrm>
          <a:custGeom>
            <a:avLst/>
            <a:gdLst>
              <a:gd name="T0" fmla="*/ 40 w 284"/>
              <a:gd name="T1" fmla="*/ 198 h 278"/>
              <a:gd name="T2" fmla="*/ 32 w 284"/>
              <a:gd name="T3" fmla="*/ 230 h 278"/>
              <a:gd name="T4" fmla="*/ 0 w 284"/>
              <a:gd name="T5" fmla="*/ 222 h 278"/>
              <a:gd name="T6" fmla="*/ 32 w 284"/>
              <a:gd name="T7" fmla="*/ 277 h 278"/>
              <a:gd name="T8" fmla="*/ 65 w 284"/>
              <a:gd name="T9" fmla="*/ 262 h 278"/>
              <a:gd name="T10" fmla="*/ 105 w 284"/>
              <a:gd name="T11" fmla="*/ 246 h 278"/>
              <a:gd name="T12" fmla="*/ 105 w 284"/>
              <a:gd name="T13" fmla="*/ 214 h 278"/>
              <a:gd name="T14" fmla="*/ 137 w 284"/>
              <a:gd name="T15" fmla="*/ 222 h 278"/>
              <a:gd name="T16" fmla="*/ 170 w 284"/>
              <a:gd name="T17" fmla="*/ 206 h 278"/>
              <a:gd name="T18" fmla="*/ 154 w 284"/>
              <a:gd name="T19" fmla="*/ 174 h 278"/>
              <a:gd name="T20" fmla="*/ 194 w 284"/>
              <a:gd name="T21" fmla="*/ 166 h 278"/>
              <a:gd name="T22" fmla="*/ 186 w 284"/>
              <a:gd name="T23" fmla="*/ 135 h 278"/>
              <a:gd name="T24" fmla="*/ 218 w 284"/>
              <a:gd name="T25" fmla="*/ 119 h 278"/>
              <a:gd name="T26" fmla="*/ 251 w 284"/>
              <a:gd name="T27" fmla="*/ 111 h 278"/>
              <a:gd name="T28" fmla="*/ 259 w 284"/>
              <a:gd name="T29" fmla="*/ 79 h 278"/>
              <a:gd name="T30" fmla="*/ 226 w 284"/>
              <a:gd name="T31" fmla="*/ 103 h 278"/>
              <a:gd name="T32" fmla="*/ 251 w 284"/>
              <a:gd name="T33" fmla="*/ 71 h 278"/>
              <a:gd name="T34" fmla="*/ 283 w 284"/>
              <a:gd name="T35" fmla="*/ 39 h 278"/>
              <a:gd name="T36" fmla="*/ 267 w 284"/>
              <a:gd name="T37" fmla="*/ 0 h 278"/>
              <a:gd name="T38" fmla="*/ 234 w 284"/>
              <a:gd name="T39" fmla="*/ 8 h 278"/>
              <a:gd name="T40" fmla="*/ 202 w 284"/>
              <a:gd name="T41" fmla="*/ 32 h 278"/>
              <a:gd name="T42" fmla="*/ 154 w 284"/>
              <a:gd name="T43" fmla="*/ 47 h 278"/>
              <a:gd name="T44" fmla="*/ 121 w 284"/>
              <a:gd name="T45" fmla="*/ 71 h 278"/>
              <a:gd name="T46" fmla="*/ 89 w 284"/>
              <a:gd name="T47" fmla="*/ 95 h 278"/>
              <a:gd name="T48" fmla="*/ 56 w 284"/>
              <a:gd name="T49" fmla="*/ 79 h 278"/>
              <a:gd name="T50" fmla="*/ 32 w 284"/>
              <a:gd name="T51" fmla="*/ 111 h 278"/>
              <a:gd name="T52" fmla="*/ 48 w 284"/>
              <a:gd name="T53" fmla="*/ 143 h 278"/>
              <a:gd name="T54" fmla="*/ 48 w 284"/>
              <a:gd name="T55" fmla="*/ 182 h 278"/>
              <a:gd name="T56" fmla="*/ 40 w 284"/>
              <a:gd name="T57" fmla="*/ 198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84" h="278">
                <a:moveTo>
                  <a:pt x="40" y="198"/>
                </a:moveTo>
                <a:lnTo>
                  <a:pt x="32" y="230"/>
                </a:lnTo>
                <a:lnTo>
                  <a:pt x="0" y="222"/>
                </a:lnTo>
                <a:lnTo>
                  <a:pt x="32" y="277"/>
                </a:lnTo>
                <a:lnTo>
                  <a:pt x="65" y="262"/>
                </a:lnTo>
                <a:lnTo>
                  <a:pt x="105" y="246"/>
                </a:lnTo>
                <a:lnTo>
                  <a:pt x="105" y="214"/>
                </a:lnTo>
                <a:lnTo>
                  <a:pt x="137" y="222"/>
                </a:lnTo>
                <a:lnTo>
                  <a:pt x="170" y="206"/>
                </a:lnTo>
                <a:lnTo>
                  <a:pt x="154" y="174"/>
                </a:lnTo>
                <a:lnTo>
                  <a:pt x="194" y="166"/>
                </a:lnTo>
                <a:lnTo>
                  <a:pt x="186" y="135"/>
                </a:lnTo>
                <a:lnTo>
                  <a:pt x="218" y="119"/>
                </a:lnTo>
                <a:lnTo>
                  <a:pt x="251" y="111"/>
                </a:lnTo>
                <a:lnTo>
                  <a:pt x="259" y="79"/>
                </a:lnTo>
                <a:lnTo>
                  <a:pt x="226" y="103"/>
                </a:lnTo>
                <a:lnTo>
                  <a:pt x="251" y="71"/>
                </a:lnTo>
                <a:lnTo>
                  <a:pt x="283" y="39"/>
                </a:lnTo>
                <a:lnTo>
                  <a:pt x="267" y="0"/>
                </a:lnTo>
                <a:lnTo>
                  <a:pt x="234" y="8"/>
                </a:lnTo>
                <a:lnTo>
                  <a:pt x="202" y="32"/>
                </a:lnTo>
                <a:lnTo>
                  <a:pt x="154" y="47"/>
                </a:lnTo>
                <a:lnTo>
                  <a:pt x="121" y="71"/>
                </a:lnTo>
                <a:lnTo>
                  <a:pt x="89" y="95"/>
                </a:lnTo>
                <a:lnTo>
                  <a:pt x="56" y="79"/>
                </a:lnTo>
                <a:lnTo>
                  <a:pt x="32" y="111"/>
                </a:lnTo>
                <a:lnTo>
                  <a:pt x="48" y="143"/>
                </a:lnTo>
                <a:lnTo>
                  <a:pt x="48" y="182"/>
                </a:lnTo>
                <a:lnTo>
                  <a:pt x="40" y="19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62" name="Freeform 154">
            <a:extLst>
              <a:ext uri="{FF2B5EF4-FFF2-40B4-BE49-F238E27FC236}">
                <a16:creationId xmlns:a16="http://schemas.microsoft.com/office/drawing/2014/main" id="{48A783DC-8914-9C0A-0D03-1EA891982A46}"/>
              </a:ext>
            </a:extLst>
          </p:cNvPr>
          <p:cNvSpPr>
            <a:spLocks noChangeArrowheads="1"/>
          </p:cNvSpPr>
          <p:nvPr>
            <p:custDataLst>
              <p:tags r:id="rId153"/>
            </p:custDataLst>
          </p:nvPr>
        </p:nvSpPr>
        <p:spPr bwMode="auto">
          <a:xfrm>
            <a:off x="5442733" y="2660677"/>
            <a:ext cx="23546" cy="19924"/>
          </a:xfrm>
          <a:custGeom>
            <a:avLst/>
            <a:gdLst>
              <a:gd name="T0" fmla="*/ 8 w 57"/>
              <a:gd name="T1" fmla="*/ 15 h 48"/>
              <a:gd name="T2" fmla="*/ 0 w 57"/>
              <a:gd name="T3" fmla="*/ 47 h 48"/>
              <a:gd name="T4" fmla="*/ 32 w 57"/>
              <a:gd name="T5" fmla="*/ 31 h 48"/>
              <a:gd name="T6" fmla="*/ 56 w 57"/>
              <a:gd name="T7" fmla="*/ 0 h 48"/>
              <a:gd name="T8" fmla="*/ 24 w 57"/>
              <a:gd name="T9" fmla="*/ 0 h 48"/>
              <a:gd name="T10" fmla="*/ 8 w 57"/>
              <a:gd name="T11" fmla="*/ 15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" h="48">
                <a:moveTo>
                  <a:pt x="8" y="15"/>
                </a:moveTo>
                <a:lnTo>
                  <a:pt x="0" y="47"/>
                </a:lnTo>
                <a:lnTo>
                  <a:pt x="32" y="31"/>
                </a:lnTo>
                <a:lnTo>
                  <a:pt x="56" y="0"/>
                </a:lnTo>
                <a:lnTo>
                  <a:pt x="24" y="0"/>
                </a:lnTo>
                <a:lnTo>
                  <a:pt x="8" y="15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63" name="Freeform 155">
            <a:extLst>
              <a:ext uri="{FF2B5EF4-FFF2-40B4-BE49-F238E27FC236}">
                <a16:creationId xmlns:a16="http://schemas.microsoft.com/office/drawing/2014/main" id="{6D64B052-8622-8D85-DB3F-9D3D85623476}"/>
              </a:ext>
            </a:extLst>
          </p:cNvPr>
          <p:cNvSpPr>
            <a:spLocks noChangeArrowheads="1"/>
          </p:cNvSpPr>
          <p:nvPr>
            <p:custDataLst>
              <p:tags r:id="rId154"/>
            </p:custDataLst>
          </p:nvPr>
        </p:nvSpPr>
        <p:spPr bwMode="auto">
          <a:xfrm>
            <a:off x="5411943" y="2499480"/>
            <a:ext cx="19923" cy="28979"/>
          </a:xfrm>
          <a:custGeom>
            <a:avLst/>
            <a:gdLst>
              <a:gd name="T0" fmla="*/ 8 w 49"/>
              <a:gd name="T1" fmla="*/ 55 h 72"/>
              <a:gd name="T2" fmla="*/ 40 w 49"/>
              <a:gd name="T3" fmla="*/ 71 h 72"/>
              <a:gd name="T4" fmla="*/ 48 w 49"/>
              <a:gd name="T5" fmla="*/ 40 h 72"/>
              <a:gd name="T6" fmla="*/ 32 w 49"/>
              <a:gd name="T7" fmla="*/ 8 h 72"/>
              <a:gd name="T8" fmla="*/ 0 w 49"/>
              <a:gd name="T9" fmla="*/ 0 h 72"/>
              <a:gd name="T10" fmla="*/ 8 w 49"/>
              <a:gd name="T11" fmla="*/ 55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9" h="72">
                <a:moveTo>
                  <a:pt x="8" y="55"/>
                </a:moveTo>
                <a:lnTo>
                  <a:pt x="40" y="71"/>
                </a:lnTo>
                <a:lnTo>
                  <a:pt x="48" y="40"/>
                </a:lnTo>
                <a:lnTo>
                  <a:pt x="32" y="8"/>
                </a:lnTo>
                <a:lnTo>
                  <a:pt x="0" y="0"/>
                </a:lnTo>
                <a:lnTo>
                  <a:pt x="8" y="55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64" name="Freeform 156">
            <a:extLst>
              <a:ext uri="{FF2B5EF4-FFF2-40B4-BE49-F238E27FC236}">
                <a16:creationId xmlns:a16="http://schemas.microsoft.com/office/drawing/2014/main" id="{8A2B9B48-80E4-43B2-A2F7-034EAE0487BC}"/>
              </a:ext>
            </a:extLst>
          </p:cNvPr>
          <p:cNvSpPr>
            <a:spLocks noChangeArrowheads="1"/>
          </p:cNvSpPr>
          <p:nvPr>
            <p:custDataLst>
              <p:tags r:id="rId155"/>
            </p:custDataLst>
          </p:nvPr>
        </p:nvSpPr>
        <p:spPr bwMode="auto">
          <a:xfrm>
            <a:off x="5404698" y="2465066"/>
            <a:ext cx="36224" cy="32602"/>
          </a:xfrm>
          <a:custGeom>
            <a:avLst/>
            <a:gdLst>
              <a:gd name="T0" fmla="*/ 64 w 90"/>
              <a:gd name="T1" fmla="*/ 0 h 80"/>
              <a:gd name="T2" fmla="*/ 48 w 90"/>
              <a:gd name="T3" fmla="*/ 31 h 80"/>
              <a:gd name="T4" fmla="*/ 16 w 90"/>
              <a:gd name="T5" fmla="*/ 8 h 80"/>
              <a:gd name="T6" fmla="*/ 0 w 90"/>
              <a:gd name="T7" fmla="*/ 47 h 80"/>
              <a:gd name="T8" fmla="*/ 40 w 90"/>
              <a:gd name="T9" fmla="*/ 79 h 80"/>
              <a:gd name="T10" fmla="*/ 89 w 90"/>
              <a:gd name="T11" fmla="*/ 79 h 80"/>
              <a:gd name="T12" fmla="*/ 72 w 90"/>
              <a:gd name="T13" fmla="*/ 39 h 80"/>
              <a:gd name="T14" fmla="*/ 89 w 90"/>
              <a:gd name="T15" fmla="*/ 8 h 80"/>
              <a:gd name="T16" fmla="*/ 64 w 90"/>
              <a:gd name="T1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0" h="80">
                <a:moveTo>
                  <a:pt x="64" y="0"/>
                </a:moveTo>
                <a:lnTo>
                  <a:pt x="48" y="31"/>
                </a:lnTo>
                <a:lnTo>
                  <a:pt x="16" y="8"/>
                </a:lnTo>
                <a:lnTo>
                  <a:pt x="0" y="47"/>
                </a:lnTo>
                <a:lnTo>
                  <a:pt x="40" y="79"/>
                </a:lnTo>
                <a:lnTo>
                  <a:pt x="89" y="79"/>
                </a:lnTo>
                <a:lnTo>
                  <a:pt x="72" y="39"/>
                </a:lnTo>
                <a:lnTo>
                  <a:pt x="89" y="8"/>
                </a:lnTo>
                <a:lnTo>
                  <a:pt x="64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65" name="Freeform 157">
            <a:extLst>
              <a:ext uri="{FF2B5EF4-FFF2-40B4-BE49-F238E27FC236}">
                <a16:creationId xmlns:a16="http://schemas.microsoft.com/office/drawing/2014/main" id="{BB59BA6C-4773-D929-EBDD-E5D37C2288EC}"/>
              </a:ext>
            </a:extLst>
          </p:cNvPr>
          <p:cNvSpPr>
            <a:spLocks noChangeArrowheads="1"/>
          </p:cNvSpPr>
          <p:nvPr>
            <p:custDataLst>
              <p:tags r:id="rId156"/>
            </p:custDataLst>
          </p:nvPr>
        </p:nvSpPr>
        <p:spPr bwMode="auto">
          <a:xfrm>
            <a:off x="5395641" y="2526647"/>
            <a:ext cx="23546" cy="45281"/>
          </a:xfrm>
          <a:custGeom>
            <a:avLst/>
            <a:gdLst>
              <a:gd name="T0" fmla="*/ 17 w 58"/>
              <a:gd name="T1" fmla="*/ 16 h 112"/>
              <a:gd name="T2" fmla="*/ 0 w 58"/>
              <a:gd name="T3" fmla="*/ 64 h 112"/>
              <a:gd name="T4" fmla="*/ 0 w 58"/>
              <a:gd name="T5" fmla="*/ 111 h 112"/>
              <a:gd name="T6" fmla="*/ 33 w 58"/>
              <a:gd name="T7" fmla="*/ 103 h 112"/>
              <a:gd name="T8" fmla="*/ 33 w 58"/>
              <a:gd name="T9" fmla="*/ 64 h 112"/>
              <a:gd name="T10" fmla="*/ 57 w 58"/>
              <a:gd name="T11" fmla="*/ 32 h 112"/>
              <a:gd name="T12" fmla="*/ 25 w 58"/>
              <a:gd name="T13" fmla="*/ 0 h 112"/>
              <a:gd name="T14" fmla="*/ 17 w 58"/>
              <a:gd name="T15" fmla="*/ 16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112">
                <a:moveTo>
                  <a:pt x="17" y="16"/>
                </a:moveTo>
                <a:lnTo>
                  <a:pt x="0" y="64"/>
                </a:lnTo>
                <a:lnTo>
                  <a:pt x="0" y="111"/>
                </a:lnTo>
                <a:lnTo>
                  <a:pt x="33" y="103"/>
                </a:lnTo>
                <a:lnTo>
                  <a:pt x="33" y="64"/>
                </a:lnTo>
                <a:lnTo>
                  <a:pt x="57" y="32"/>
                </a:lnTo>
                <a:lnTo>
                  <a:pt x="25" y="0"/>
                </a:lnTo>
                <a:lnTo>
                  <a:pt x="17" y="1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66" name="Freeform 158">
            <a:extLst>
              <a:ext uri="{FF2B5EF4-FFF2-40B4-BE49-F238E27FC236}">
                <a16:creationId xmlns:a16="http://schemas.microsoft.com/office/drawing/2014/main" id="{4117FA35-A801-DA9F-7D54-994DE9148826}"/>
              </a:ext>
            </a:extLst>
          </p:cNvPr>
          <p:cNvSpPr>
            <a:spLocks noChangeArrowheads="1"/>
          </p:cNvSpPr>
          <p:nvPr>
            <p:custDataLst>
              <p:tags r:id="rId157"/>
            </p:custDataLst>
          </p:nvPr>
        </p:nvSpPr>
        <p:spPr bwMode="auto">
          <a:xfrm>
            <a:off x="5395641" y="2676979"/>
            <a:ext cx="34414" cy="19923"/>
          </a:xfrm>
          <a:custGeom>
            <a:avLst/>
            <a:gdLst>
              <a:gd name="T0" fmla="*/ 33 w 82"/>
              <a:gd name="T1" fmla="*/ 8 h 49"/>
              <a:gd name="T2" fmla="*/ 0 w 82"/>
              <a:gd name="T3" fmla="*/ 48 h 49"/>
              <a:gd name="T4" fmla="*/ 49 w 82"/>
              <a:gd name="T5" fmla="*/ 32 h 49"/>
              <a:gd name="T6" fmla="*/ 81 w 82"/>
              <a:gd name="T7" fmla="*/ 8 h 49"/>
              <a:gd name="T8" fmla="*/ 49 w 82"/>
              <a:gd name="T9" fmla="*/ 0 h 49"/>
              <a:gd name="T10" fmla="*/ 33 w 82"/>
              <a:gd name="T11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2" h="49">
                <a:moveTo>
                  <a:pt x="33" y="8"/>
                </a:moveTo>
                <a:lnTo>
                  <a:pt x="0" y="48"/>
                </a:lnTo>
                <a:lnTo>
                  <a:pt x="49" y="32"/>
                </a:lnTo>
                <a:lnTo>
                  <a:pt x="81" y="8"/>
                </a:lnTo>
                <a:lnTo>
                  <a:pt x="49" y="0"/>
                </a:lnTo>
                <a:lnTo>
                  <a:pt x="33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67" name="Freeform 159">
            <a:extLst>
              <a:ext uri="{FF2B5EF4-FFF2-40B4-BE49-F238E27FC236}">
                <a16:creationId xmlns:a16="http://schemas.microsoft.com/office/drawing/2014/main" id="{6F31B371-1140-9D14-58FC-CC7CE94D36DE}"/>
              </a:ext>
            </a:extLst>
          </p:cNvPr>
          <p:cNvSpPr>
            <a:spLocks noChangeArrowheads="1"/>
          </p:cNvSpPr>
          <p:nvPr>
            <p:custDataLst>
              <p:tags r:id="rId158"/>
            </p:custDataLst>
          </p:nvPr>
        </p:nvSpPr>
        <p:spPr bwMode="auto">
          <a:xfrm>
            <a:off x="5375718" y="2571928"/>
            <a:ext cx="12678" cy="27168"/>
          </a:xfrm>
          <a:custGeom>
            <a:avLst/>
            <a:gdLst>
              <a:gd name="T0" fmla="*/ 8 w 33"/>
              <a:gd name="T1" fmla="*/ 32 h 65"/>
              <a:gd name="T2" fmla="*/ 0 w 33"/>
              <a:gd name="T3" fmla="*/ 64 h 65"/>
              <a:gd name="T4" fmla="*/ 32 w 33"/>
              <a:gd name="T5" fmla="*/ 48 h 65"/>
              <a:gd name="T6" fmla="*/ 32 w 33"/>
              <a:gd name="T7" fmla="*/ 0 h 65"/>
              <a:gd name="T8" fmla="*/ 8 w 33"/>
              <a:gd name="T9" fmla="*/ 32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65">
                <a:moveTo>
                  <a:pt x="8" y="32"/>
                </a:moveTo>
                <a:lnTo>
                  <a:pt x="0" y="64"/>
                </a:lnTo>
                <a:lnTo>
                  <a:pt x="32" y="48"/>
                </a:lnTo>
                <a:lnTo>
                  <a:pt x="32" y="0"/>
                </a:lnTo>
                <a:lnTo>
                  <a:pt x="8" y="3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68" name="Freeform 160">
            <a:extLst>
              <a:ext uri="{FF2B5EF4-FFF2-40B4-BE49-F238E27FC236}">
                <a16:creationId xmlns:a16="http://schemas.microsoft.com/office/drawing/2014/main" id="{59414D99-DF56-13C7-B0DA-0BDB2B752D90}"/>
              </a:ext>
            </a:extLst>
          </p:cNvPr>
          <p:cNvSpPr>
            <a:spLocks noChangeArrowheads="1"/>
          </p:cNvSpPr>
          <p:nvPr>
            <p:custDataLst>
              <p:tags r:id="rId159"/>
            </p:custDataLst>
          </p:nvPr>
        </p:nvSpPr>
        <p:spPr bwMode="auto">
          <a:xfrm>
            <a:off x="5361229" y="2604530"/>
            <a:ext cx="1811" cy="16300"/>
          </a:xfrm>
          <a:custGeom>
            <a:avLst/>
            <a:gdLst>
              <a:gd name="T0" fmla="*/ 0 w 1"/>
              <a:gd name="T1" fmla="*/ 0 h 40"/>
              <a:gd name="T2" fmla="*/ 0 w 1"/>
              <a:gd name="T3" fmla="*/ 39 h 40"/>
              <a:gd name="T4" fmla="*/ 0 w 1"/>
              <a:gd name="T5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40">
                <a:moveTo>
                  <a:pt x="0" y="0"/>
                </a:moveTo>
                <a:lnTo>
                  <a:pt x="0" y="39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69" name="Freeform 161">
            <a:extLst>
              <a:ext uri="{FF2B5EF4-FFF2-40B4-BE49-F238E27FC236}">
                <a16:creationId xmlns:a16="http://schemas.microsoft.com/office/drawing/2014/main" id="{CE23DE83-6291-2591-26CD-32750E00C824}"/>
              </a:ext>
            </a:extLst>
          </p:cNvPr>
          <p:cNvSpPr>
            <a:spLocks noChangeArrowheads="1"/>
          </p:cNvSpPr>
          <p:nvPr>
            <p:custDataLst>
              <p:tags r:id="rId160"/>
            </p:custDataLst>
          </p:nvPr>
        </p:nvSpPr>
        <p:spPr bwMode="auto">
          <a:xfrm>
            <a:off x="5288780" y="2363638"/>
            <a:ext cx="891119" cy="1467086"/>
          </a:xfrm>
          <a:custGeom>
            <a:avLst/>
            <a:gdLst>
              <a:gd name="T0" fmla="*/ 745 w 2170"/>
              <a:gd name="T1" fmla="*/ 3149 h 3571"/>
              <a:gd name="T2" fmla="*/ 1052 w 2170"/>
              <a:gd name="T3" fmla="*/ 2959 h 3571"/>
              <a:gd name="T4" fmla="*/ 672 w 2170"/>
              <a:gd name="T5" fmla="*/ 3038 h 3571"/>
              <a:gd name="T6" fmla="*/ 534 w 2170"/>
              <a:gd name="T7" fmla="*/ 2911 h 3571"/>
              <a:gd name="T8" fmla="*/ 356 w 2170"/>
              <a:gd name="T9" fmla="*/ 2840 h 3571"/>
              <a:gd name="T10" fmla="*/ 445 w 2170"/>
              <a:gd name="T11" fmla="*/ 2705 h 3571"/>
              <a:gd name="T12" fmla="*/ 664 w 2170"/>
              <a:gd name="T13" fmla="*/ 2435 h 3571"/>
              <a:gd name="T14" fmla="*/ 526 w 2170"/>
              <a:gd name="T15" fmla="*/ 2372 h 3571"/>
              <a:gd name="T16" fmla="*/ 599 w 2170"/>
              <a:gd name="T17" fmla="*/ 2181 h 3571"/>
              <a:gd name="T18" fmla="*/ 793 w 2170"/>
              <a:gd name="T19" fmla="*/ 2253 h 3571"/>
              <a:gd name="T20" fmla="*/ 1004 w 2170"/>
              <a:gd name="T21" fmla="*/ 2111 h 3571"/>
              <a:gd name="T22" fmla="*/ 988 w 2170"/>
              <a:gd name="T23" fmla="*/ 1968 h 3571"/>
              <a:gd name="T24" fmla="*/ 988 w 2170"/>
              <a:gd name="T25" fmla="*/ 1674 h 3571"/>
              <a:gd name="T26" fmla="*/ 874 w 2170"/>
              <a:gd name="T27" fmla="*/ 1651 h 3571"/>
              <a:gd name="T28" fmla="*/ 664 w 2170"/>
              <a:gd name="T29" fmla="*/ 1571 h 3571"/>
              <a:gd name="T30" fmla="*/ 648 w 2170"/>
              <a:gd name="T31" fmla="*/ 1429 h 3571"/>
              <a:gd name="T32" fmla="*/ 632 w 2170"/>
              <a:gd name="T33" fmla="*/ 1127 h 3571"/>
              <a:gd name="T34" fmla="*/ 486 w 2170"/>
              <a:gd name="T35" fmla="*/ 1333 h 3571"/>
              <a:gd name="T36" fmla="*/ 567 w 2170"/>
              <a:gd name="T37" fmla="*/ 1048 h 3571"/>
              <a:gd name="T38" fmla="*/ 445 w 2170"/>
              <a:gd name="T39" fmla="*/ 1143 h 3571"/>
              <a:gd name="T40" fmla="*/ 340 w 2170"/>
              <a:gd name="T41" fmla="*/ 1119 h 3571"/>
              <a:gd name="T42" fmla="*/ 583 w 2170"/>
              <a:gd name="T43" fmla="*/ 937 h 3571"/>
              <a:gd name="T44" fmla="*/ 462 w 2170"/>
              <a:gd name="T45" fmla="*/ 865 h 3571"/>
              <a:gd name="T46" fmla="*/ 551 w 2170"/>
              <a:gd name="T47" fmla="*/ 714 h 3571"/>
              <a:gd name="T48" fmla="*/ 648 w 2170"/>
              <a:gd name="T49" fmla="*/ 564 h 3571"/>
              <a:gd name="T50" fmla="*/ 502 w 2170"/>
              <a:gd name="T51" fmla="*/ 524 h 3571"/>
              <a:gd name="T52" fmla="*/ 470 w 2170"/>
              <a:gd name="T53" fmla="*/ 357 h 3571"/>
              <a:gd name="T54" fmla="*/ 575 w 2170"/>
              <a:gd name="T55" fmla="*/ 413 h 3571"/>
              <a:gd name="T56" fmla="*/ 680 w 2170"/>
              <a:gd name="T57" fmla="*/ 516 h 3571"/>
              <a:gd name="T58" fmla="*/ 680 w 2170"/>
              <a:gd name="T59" fmla="*/ 365 h 3571"/>
              <a:gd name="T60" fmla="*/ 753 w 2170"/>
              <a:gd name="T61" fmla="*/ 286 h 3571"/>
              <a:gd name="T62" fmla="*/ 899 w 2170"/>
              <a:gd name="T63" fmla="*/ 135 h 3571"/>
              <a:gd name="T64" fmla="*/ 1036 w 2170"/>
              <a:gd name="T65" fmla="*/ 24 h 3571"/>
              <a:gd name="T66" fmla="*/ 1303 w 2170"/>
              <a:gd name="T67" fmla="*/ 48 h 3571"/>
              <a:gd name="T68" fmla="*/ 1174 w 2170"/>
              <a:gd name="T69" fmla="*/ 278 h 3571"/>
              <a:gd name="T70" fmla="*/ 1125 w 2170"/>
              <a:gd name="T71" fmla="*/ 397 h 3571"/>
              <a:gd name="T72" fmla="*/ 1068 w 2170"/>
              <a:gd name="T73" fmla="*/ 445 h 3571"/>
              <a:gd name="T74" fmla="*/ 1319 w 2170"/>
              <a:gd name="T75" fmla="*/ 468 h 3571"/>
              <a:gd name="T76" fmla="*/ 1594 w 2170"/>
              <a:gd name="T77" fmla="*/ 580 h 3571"/>
              <a:gd name="T78" fmla="*/ 1408 w 2170"/>
              <a:gd name="T79" fmla="*/ 865 h 3571"/>
              <a:gd name="T80" fmla="*/ 1149 w 2170"/>
              <a:gd name="T81" fmla="*/ 1008 h 3571"/>
              <a:gd name="T82" fmla="*/ 1174 w 2170"/>
              <a:gd name="T83" fmla="*/ 1103 h 3571"/>
              <a:gd name="T84" fmla="*/ 1255 w 2170"/>
              <a:gd name="T85" fmla="*/ 1151 h 3571"/>
              <a:gd name="T86" fmla="*/ 1497 w 2170"/>
              <a:gd name="T87" fmla="*/ 1627 h 3571"/>
              <a:gd name="T88" fmla="*/ 1716 w 2170"/>
              <a:gd name="T89" fmla="*/ 1992 h 3571"/>
              <a:gd name="T90" fmla="*/ 1805 w 2170"/>
              <a:gd name="T91" fmla="*/ 2300 h 3571"/>
              <a:gd name="T92" fmla="*/ 1821 w 2170"/>
              <a:gd name="T93" fmla="*/ 2372 h 3571"/>
              <a:gd name="T94" fmla="*/ 1821 w 2170"/>
              <a:gd name="T95" fmla="*/ 2618 h 3571"/>
              <a:gd name="T96" fmla="*/ 2128 w 2170"/>
              <a:gd name="T97" fmla="*/ 2879 h 3571"/>
              <a:gd name="T98" fmla="*/ 1894 w 2170"/>
              <a:gd name="T99" fmla="*/ 3094 h 3571"/>
              <a:gd name="T100" fmla="*/ 1894 w 2170"/>
              <a:gd name="T101" fmla="*/ 3252 h 3571"/>
              <a:gd name="T102" fmla="*/ 1894 w 2170"/>
              <a:gd name="T103" fmla="*/ 3395 h 3571"/>
              <a:gd name="T104" fmla="*/ 1578 w 2170"/>
              <a:gd name="T105" fmla="*/ 3435 h 3571"/>
              <a:gd name="T106" fmla="*/ 1255 w 2170"/>
              <a:gd name="T107" fmla="*/ 3435 h 3571"/>
              <a:gd name="T108" fmla="*/ 1068 w 2170"/>
              <a:gd name="T109" fmla="*/ 3435 h 3571"/>
              <a:gd name="T110" fmla="*/ 793 w 2170"/>
              <a:gd name="T111" fmla="*/ 3371 h 3571"/>
              <a:gd name="T112" fmla="*/ 526 w 2170"/>
              <a:gd name="T113" fmla="*/ 3522 h 3571"/>
              <a:gd name="T114" fmla="*/ 203 w 2170"/>
              <a:gd name="T115" fmla="*/ 3498 h 3571"/>
              <a:gd name="T116" fmla="*/ 0 w 2170"/>
              <a:gd name="T117" fmla="*/ 3467 h 3571"/>
              <a:gd name="T118" fmla="*/ 300 w 2170"/>
              <a:gd name="T119" fmla="*/ 3316 h 3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170" h="3571">
                <a:moveTo>
                  <a:pt x="445" y="3181"/>
                </a:moveTo>
                <a:lnTo>
                  <a:pt x="486" y="3149"/>
                </a:lnTo>
                <a:lnTo>
                  <a:pt x="502" y="3118"/>
                </a:lnTo>
                <a:lnTo>
                  <a:pt x="534" y="3102"/>
                </a:lnTo>
                <a:cubicBezTo>
                  <a:pt x="534" y="3102"/>
                  <a:pt x="615" y="3125"/>
                  <a:pt x="632" y="3125"/>
                </a:cubicBezTo>
                <a:lnTo>
                  <a:pt x="672" y="3133"/>
                </a:lnTo>
                <a:lnTo>
                  <a:pt x="712" y="3141"/>
                </a:lnTo>
                <a:lnTo>
                  <a:pt x="745" y="3149"/>
                </a:lnTo>
                <a:lnTo>
                  <a:pt x="785" y="3157"/>
                </a:lnTo>
                <a:lnTo>
                  <a:pt x="818" y="3141"/>
                </a:lnTo>
                <a:lnTo>
                  <a:pt x="842" y="3110"/>
                </a:lnTo>
                <a:lnTo>
                  <a:pt x="890" y="3086"/>
                </a:lnTo>
                <a:lnTo>
                  <a:pt x="923" y="3038"/>
                </a:lnTo>
                <a:lnTo>
                  <a:pt x="955" y="3014"/>
                </a:lnTo>
                <a:lnTo>
                  <a:pt x="1004" y="2975"/>
                </a:lnTo>
                <a:lnTo>
                  <a:pt x="1052" y="2959"/>
                </a:lnTo>
                <a:lnTo>
                  <a:pt x="996" y="2975"/>
                </a:lnTo>
                <a:lnTo>
                  <a:pt x="963" y="2991"/>
                </a:lnTo>
                <a:lnTo>
                  <a:pt x="931" y="3022"/>
                </a:lnTo>
                <a:lnTo>
                  <a:pt x="866" y="3030"/>
                </a:lnTo>
                <a:lnTo>
                  <a:pt x="834" y="3030"/>
                </a:lnTo>
                <a:lnTo>
                  <a:pt x="785" y="3070"/>
                </a:lnTo>
                <a:lnTo>
                  <a:pt x="721" y="3070"/>
                </a:lnTo>
                <a:lnTo>
                  <a:pt x="672" y="3038"/>
                </a:lnTo>
                <a:lnTo>
                  <a:pt x="640" y="2991"/>
                </a:lnTo>
                <a:lnTo>
                  <a:pt x="632" y="2951"/>
                </a:lnTo>
                <a:lnTo>
                  <a:pt x="591" y="2975"/>
                </a:lnTo>
                <a:lnTo>
                  <a:pt x="551" y="2975"/>
                </a:lnTo>
                <a:lnTo>
                  <a:pt x="502" y="2967"/>
                </a:lnTo>
                <a:lnTo>
                  <a:pt x="526" y="2927"/>
                </a:lnTo>
                <a:lnTo>
                  <a:pt x="583" y="2927"/>
                </a:lnTo>
                <a:lnTo>
                  <a:pt x="534" y="2911"/>
                </a:lnTo>
                <a:lnTo>
                  <a:pt x="502" y="2872"/>
                </a:lnTo>
                <a:lnTo>
                  <a:pt x="445" y="2880"/>
                </a:lnTo>
                <a:lnTo>
                  <a:pt x="405" y="2872"/>
                </a:lnTo>
                <a:lnTo>
                  <a:pt x="373" y="2887"/>
                </a:lnTo>
                <a:lnTo>
                  <a:pt x="332" y="2903"/>
                </a:lnTo>
                <a:lnTo>
                  <a:pt x="300" y="2903"/>
                </a:lnTo>
                <a:lnTo>
                  <a:pt x="316" y="2864"/>
                </a:lnTo>
                <a:lnTo>
                  <a:pt x="356" y="2840"/>
                </a:lnTo>
                <a:lnTo>
                  <a:pt x="300" y="2856"/>
                </a:lnTo>
                <a:lnTo>
                  <a:pt x="276" y="2824"/>
                </a:lnTo>
                <a:lnTo>
                  <a:pt x="316" y="2792"/>
                </a:lnTo>
                <a:lnTo>
                  <a:pt x="276" y="2768"/>
                </a:lnTo>
                <a:lnTo>
                  <a:pt x="308" y="2745"/>
                </a:lnTo>
                <a:lnTo>
                  <a:pt x="348" y="2721"/>
                </a:lnTo>
                <a:lnTo>
                  <a:pt x="413" y="2729"/>
                </a:lnTo>
                <a:lnTo>
                  <a:pt x="445" y="2705"/>
                </a:lnTo>
                <a:lnTo>
                  <a:pt x="510" y="2681"/>
                </a:lnTo>
                <a:lnTo>
                  <a:pt x="559" y="2673"/>
                </a:lnTo>
                <a:lnTo>
                  <a:pt x="607" y="2649"/>
                </a:lnTo>
                <a:lnTo>
                  <a:pt x="632" y="2594"/>
                </a:lnTo>
                <a:lnTo>
                  <a:pt x="632" y="2546"/>
                </a:lnTo>
                <a:lnTo>
                  <a:pt x="648" y="2515"/>
                </a:lnTo>
                <a:lnTo>
                  <a:pt x="656" y="2483"/>
                </a:lnTo>
                <a:lnTo>
                  <a:pt x="664" y="2435"/>
                </a:lnTo>
                <a:lnTo>
                  <a:pt x="664" y="2396"/>
                </a:lnTo>
                <a:lnTo>
                  <a:pt x="632" y="2388"/>
                </a:lnTo>
                <a:lnTo>
                  <a:pt x="575" y="2411"/>
                </a:lnTo>
                <a:lnTo>
                  <a:pt x="543" y="2427"/>
                </a:lnTo>
                <a:lnTo>
                  <a:pt x="494" y="2419"/>
                </a:lnTo>
                <a:lnTo>
                  <a:pt x="445" y="2403"/>
                </a:lnTo>
                <a:lnTo>
                  <a:pt x="494" y="2388"/>
                </a:lnTo>
                <a:lnTo>
                  <a:pt x="526" y="2372"/>
                </a:lnTo>
                <a:lnTo>
                  <a:pt x="575" y="2364"/>
                </a:lnTo>
                <a:lnTo>
                  <a:pt x="607" y="2332"/>
                </a:lnTo>
                <a:lnTo>
                  <a:pt x="615" y="2300"/>
                </a:lnTo>
                <a:lnTo>
                  <a:pt x="656" y="2284"/>
                </a:lnTo>
                <a:lnTo>
                  <a:pt x="599" y="2284"/>
                </a:lnTo>
                <a:lnTo>
                  <a:pt x="583" y="2237"/>
                </a:lnTo>
                <a:lnTo>
                  <a:pt x="559" y="2205"/>
                </a:lnTo>
                <a:lnTo>
                  <a:pt x="599" y="2181"/>
                </a:lnTo>
                <a:lnTo>
                  <a:pt x="632" y="2157"/>
                </a:lnTo>
                <a:lnTo>
                  <a:pt x="664" y="2173"/>
                </a:lnTo>
                <a:lnTo>
                  <a:pt x="664" y="2205"/>
                </a:lnTo>
                <a:lnTo>
                  <a:pt x="704" y="2237"/>
                </a:lnTo>
                <a:lnTo>
                  <a:pt x="688" y="2269"/>
                </a:lnTo>
                <a:lnTo>
                  <a:pt x="721" y="2261"/>
                </a:lnTo>
                <a:lnTo>
                  <a:pt x="753" y="2253"/>
                </a:lnTo>
                <a:lnTo>
                  <a:pt x="793" y="2253"/>
                </a:lnTo>
                <a:lnTo>
                  <a:pt x="834" y="2269"/>
                </a:lnTo>
                <a:lnTo>
                  <a:pt x="866" y="2261"/>
                </a:lnTo>
                <a:lnTo>
                  <a:pt x="899" y="2261"/>
                </a:lnTo>
                <a:lnTo>
                  <a:pt x="947" y="2277"/>
                </a:lnTo>
                <a:lnTo>
                  <a:pt x="963" y="2237"/>
                </a:lnTo>
                <a:lnTo>
                  <a:pt x="996" y="2213"/>
                </a:lnTo>
                <a:lnTo>
                  <a:pt x="1004" y="2150"/>
                </a:lnTo>
                <a:lnTo>
                  <a:pt x="1004" y="2111"/>
                </a:lnTo>
                <a:lnTo>
                  <a:pt x="996" y="2079"/>
                </a:lnTo>
                <a:lnTo>
                  <a:pt x="1020" y="2039"/>
                </a:lnTo>
                <a:lnTo>
                  <a:pt x="1060" y="2032"/>
                </a:lnTo>
                <a:lnTo>
                  <a:pt x="1068" y="2000"/>
                </a:lnTo>
                <a:lnTo>
                  <a:pt x="1093" y="1968"/>
                </a:lnTo>
                <a:lnTo>
                  <a:pt x="1101" y="1936"/>
                </a:lnTo>
                <a:lnTo>
                  <a:pt x="1036" y="1952"/>
                </a:lnTo>
                <a:lnTo>
                  <a:pt x="988" y="1968"/>
                </a:lnTo>
                <a:lnTo>
                  <a:pt x="979" y="1920"/>
                </a:lnTo>
                <a:lnTo>
                  <a:pt x="971" y="1889"/>
                </a:lnTo>
                <a:lnTo>
                  <a:pt x="955" y="1857"/>
                </a:lnTo>
                <a:lnTo>
                  <a:pt x="955" y="1825"/>
                </a:lnTo>
                <a:lnTo>
                  <a:pt x="923" y="1794"/>
                </a:lnTo>
                <a:lnTo>
                  <a:pt x="923" y="1762"/>
                </a:lnTo>
                <a:lnTo>
                  <a:pt x="955" y="1698"/>
                </a:lnTo>
                <a:lnTo>
                  <a:pt x="988" y="1674"/>
                </a:lnTo>
                <a:lnTo>
                  <a:pt x="1012" y="1643"/>
                </a:lnTo>
                <a:lnTo>
                  <a:pt x="1020" y="1611"/>
                </a:lnTo>
                <a:lnTo>
                  <a:pt x="1052" y="1603"/>
                </a:lnTo>
                <a:lnTo>
                  <a:pt x="1093" y="1595"/>
                </a:lnTo>
                <a:cubicBezTo>
                  <a:pt x="1093" y="1595"/>
                  <a:pt x="1004" y="1579"/>
                  <a:pt x="971" y="1579"/>
                </a:cubicBezTo>
                <a:lnTo>
                  <a:pt x="939" y="1619"/>
                </a:lnTo>
                <a:lnTo>
                  <a:pt x="907" y="1627"/>
                </a:lnTo>
                <a:lnTo>
                  <a:pt x="874" y="1651"/>
                </a:lnTo>
                <a:lnTo>
                  <a:pt x="826" y="1627"/>
                </a:lnTo>
                <a:lnTo>
                  <a:pt x="793" y="1611"/>
                </a:lnTo>
                <a:lnTo>
                  <a:pt x="761" y="1579"/>
                </a:lnTo>
                <a:lnTo>
                  <a:pt x="769" y="1611"/>
                </a:lnTo>
                <a:lnTo>
                  <a:pt x="753" y="1651"/>
                </a:lnTo>
                <a:lnTo>
                  <a:pt x="721" y="1635"/>
                </a:lnTo>
                <a:lnTo>
                  <a:pt x="688" y="1603"/>
                </a:lnTo>
                <a:lnTo>
                  <a:pt x="664" y="1571"/>
                </a:lnTo>
                <a:lnTo>
                  <a:pt x="632" y="1555"/>
                </a:lnTo>
                <a:lnTo>
                  <a:pt x="615" y="1595"/>
                </a:lnTo>
                <a:lnTo>
                  <a:pt x="607" y="1635"/>
                </a:lnTo>
                <a:lnTo>
                  <a:pt x="583" y="1587"/>
                </a:lnTo>
                <a:lnTo>
                  <a:pt x="567" y="1532"/>
                </a:lnTo>
                <a:lnTo>
                  <a:pt x="591" y="1500"/>
                </a:lnTo>
                <a:lnTo>
                  <a:pt x="607" y="1468"/>
                </a:lnTo>
                <a:lnTo>
                  <a:pt x="648" y="1429"/>
                </a:lnTo>
                <a:lnTo>
                  <a:pt x="696" y="1389"/>
                </a:lnTo>
                <a:lnTo>
                  <a:pt x="704" y="1357"/>
                </a:lnTo>
                <a:lnTo>
                  <a:pt x="745" y="1325"/>
                </a:lnTo>
                <a:lnTo>
                  <a:pt x="761" y="1286"/>
                </a:lnTo>
                <a:lnTo>
                  <a:pt x="753" y="1254"/>
                </a:lnTo>
                <a:lnTo>
                  <a:pt x="712" y="1214"/>
                </a:lnTo>
                <a:lnTo>
                  <a:pt x="688" y="1175"/>
                </a:lnTo>
                <a:lnTo>
                  <a:pt x="632" y="1127"/>
                </a:lnTo>
                <a:lnTo>
                  <a:pt x="607" y="1079"/>
                </a:lnTo>
                <a:lnTo>
                  <a:pt x="599" y="1159"/>
                </a:lnTo>
                <a:lnTo>
                  <a:pt x="583" y="1190"/>
                </a:lnTo>
                <a:lnTo>
                  <a:pt x="551" y="1222"/>
                </a:lnTo>
                <a:lnTo>
                  <a:pt x="551" y="1254"/>
                </a:lnTo>
                <a:lnTo>
                  <a:pt x="534" y="1302"/>
                </a:lnTo>
                <a:lnTo>
                  <a:pt x="518" y="1333"/>
                </a:lnTo>
                <a:lnTo>
                  <a:pt x="486" y="1333"/>
                </a:lnTo>
                <a:lnTo>
                  <a:pt x="454" y="1325"/>
                </a:lnTo>
                <a:lnTo>
                  <a:pt x="478" y="1294"/>
                </a:lnTo>
                <a:lnTo>
                  <a:pt x="486" y="1238"/>
                </a:lnTo>
                <a:lnTo>
                  <a:pt x="518" y="1190"/>
                </a:lnTo>
                <a:lnTo>
                  <a:pt x="559" y="1151"/>
                </a:lnTo>
                <a:lnTo>
                  <a:pt x="534" y="1119"/>
                </a:lnTo>
                <a:lnTo>
                  <a:pt x="543" y="1079"/>
                </a:lnTo>
                <a:lnTo>
                  <a:pt x="567" y="1048"/>
                </a:lnTo>
                <a:lnTo>
                  <a:pt x="583" y="1016"/>
                </a:lnTo>
                <a:lnTo>
                  <a:pt x="591" y="976"/>
                </a:lnTo>
                <a:lnTo>
                  <a:pt x="559" y="992"/>
                </a:lnTo>
                <a:lnTo>
                  <a:pt x="534" y="1024"/>
                </a:lnTo>
                <a:lnTo>
                  <a:pt x="510" y="1056"/>
                </a:lnTo>
                <a:lnTo>
                  <a:pt x="478" y="1079"/>
                </a:lnTo>
                <a:lnTo>
                  <a:pt x="454" y="1111"/>
                </a:lnTo>
                <a:lnTo>
                  <a:pt x="445" y="1143"/>
                </a:lnTo>
                <a:lnTo>
                  <a:pt x="421" y="1175"/>
                </a:lnTo>
                <a:lnTo>
                  <a:pt x="373" y="1198"/>
                </a:lnTo>
                <a:lnTo>
                  <a:pt x="340" y="1206"/>
                </a:lnTo>
                <a:lnTo>
                  <a:pt x="373" y="1159"/>
                </a:lnTo>
                <a:lnTo>
                  <a:pt x="381" y="1111"/>
                </a:lnTo>
                <a:lnTo>
                  <a:pt x="348" y="1135"/>
                </a:lnTo>
                <a:lnTo>
                  <a:pt x="316" y="1151"/>
                </a:lnTo>
                <a:lnTo>
                  <a:pt x="340" y="1119"/>
                </a:lnTo>
                <a:lnTo>
                  <a:pt x="348" y="1071"/>
                </a:lnTo>
                <a:lnTo>
                  <a:pt x="381" y="1056"/>
                </a:lnTo>
                <a:lnTo>
                  <a:pt x="421" y="1048"/>
                </a:lnTo>
                <a:lnTo>
                  <a:pt x="470" y="1048"/>
                </a:lnTo>
                <a:lnTo>
                  <a:pt x="494" y="1016"/>
                </a:lnTo>
                <a:lnTo>
                  <a:pt x="526" y="992"/>
                </a:lnTo>
                <a:lnTo>
                  <a:pt x="559" y="968"/>
                </a:lnTo>
                <a:lnTo>
                  <a:pt x="583" y="937"/>
                </a:lnTo>
                <a:lnTo>
                  <a:pt x="615" y="897"/>
                </a:lnTo>
                <a:lnTo>
                  <a:pt x="607" y="865"/>
                </a:lnTo>
                <a:lnTo>
                  <a:pt x="575" y="881"/>
                </a:lnTo>
                <a:lnTo>
                  <a:pt x="543" y="905"/>
                </a:lnTo>
                <a:lnTo>
                  <a:pt x="502" y="897"/>
                </a:lnTo>
                <a:lnTo>
                  <a:pt x="470" y="905"/>
                </a:lnTo>
                <a:lnTo>
                  <a:pt x="437" y="897"/>
                </a:lnTo>
                <a:lnTo>
                  <a:pt x="462" y="865"/>
                </a:lnTo>
                <a:lnTo>
                  <a:pt x="486" y="833"/>
                </a:lnTo>
                <a:lnTo>
                  <a:pt x="470" y="802"/>
                </a:lnTo>
                <a:lnTo>
                  <a:pt x="462" y="770"/>
                </a:lnTo>
                <a:lnTo>
                  <a:pt x="502" y="746"/>
                </a:lnTo>
                <a:lnTo>
                  <a:pt x="534" y="738"/>
                </a:lnTo>
                <a:lnTo>
                  <a:pt x="486" y="738"/>
                </a:lnTo>
                <a:lnTo>
                  <a:pt x="518" y="714"/>
                </a:lnTo>
                <a:lnTo>
                  <a:pt x="551" y="714"/>
                </a:lnTo>
                <a:lnTo>
                  <a:pt x="583" y="699"/>
                </a:lnTo>
                <a:lnTo>
                  <a:pt x="615" y="683"/>
                </a:lnTo>
                <a:lnTo>
                  <a:pt x="591" y="651"/>
                </a:lnTo>
                <a:lnTo>
                  <a:pt x="599" y="619"/>
                </a:lnTo>
                <a:lnTo>
                  <a:pt x="640" y="619"/>
                </a:lnTo>
                <a:lnTo>
                  <a:pt x="648" y="587"/>
                </a:lnTo>
                <a:lnTo>
                  <a:pt x="680" y="587"/>
                </a:lnTo>
                <a:lnTo>
                  <a:pt x="648" y="564"/>
                </a:lnTo>
                <a:lnTo>
                  <a:pt x="615" y="587"/>
                </a:lnTo>
                <a:lnTo>
                  <a:pt x="559" y="635"/>
                </a:lnTo>
                <a:lnTo>
                  <a:pt x="583" y="587"/>
                </a:lnTo>
                <a:lnTo>
                  <a:pt x="591" y="556"/>
                </a:lnTo>
                <a:lnTo>
                  <a:pt x="559" y="556"/>
                </a:lnTo>
                <a:lnTo>
                  <a:pt x="567" y="524"/>
                </a:lnTo>
                <a:lnTo>
                  <a:pt x="534" y="532"/>
                </a:lnTo>
                <a:lnTo>
                  <a:pt x="502" y="524"/>
                </a:lnTo>
                <a:lnTo>
                  <a:pt x="486" y="492"/>
                </a:lnTo>
                <a:lnTo>
                  <a:pt x="494" y="453"/>
                </a:lnTo>
                <a:lnTo>
                  <a:pt x="526" y="460"/>
                </a:lnTo>
                <a:lnTo>
                  <a:pt x="502" y="421"/>
                </a:lnTo>
                <a:lnTo>
                  <a:pt x="470" y="437"/>
                </a:lnTo>
                <a:lnTo>
                  <a:pt x="437" y="413"/>
                </a:lnTo>
                <a:lnTo>
                  <a:pt x="437" y="381"/>
                </a:lnTo>
                <a:lnTo>
                  <a:pt x="470" y="357"/>
                </a:lnTo>
                <a:lnTo>
                  <a:pt x="462" y="326"/>
                </a:lnTo>
                <a:lnTo>
                  <a:pt x="502" y="349"/>
                </a:lnTo>
                <a:lnTo>
                  <a:pt x="534" y="373"/>
                </a:lnTo>
                <a:lnTo>
                  <a:pt x="534" y="341"/>
                </a:lnTo>
                <a:lnTo>
                  <a:pt x="567" y="310"/>
                </a:lnTo>
                <a:lnTo>
                  <a:pt x="583" y="341"/>
                </a:lnTo>
                <a:lnTo>
                  <a:pt x="583" y="381"/>
                </a:lnTo>
                <a:lnTo>
                  <a:pt x="575" y="413"/>
                </a:lnTo>
                <a:lnTo>
                  <a:pt x="575" y="445"/>
                </a:lnTo>
                <a:lnTo>
                  <a:pt x="607" y="429"/>
                </a:lnTo>
                <a:lnTo>
                  <a:pt x="632" y="460"/>
                </a:lnTo>
                <a:lnTo>
                  <a:pt x="591" y="468"/>
                </a:lnTo>
                <a:lnTo>
                  <a:pt x="583" y="500"/>
                </a:lnTo>
                <a:lnTo>
                  <a:pt x="615" y="516"/>
                </a:lnTo>
                <a:lnTo>
                  <a:pt x="648" y="516"/>
                </a:lnTo>
                <a:lnTo>
                  <a:pt x="680" y="516"/>
                </a:lnTo>
                <a:lnTo>
                  <a:pt x="680" y="484"/>
                </a:lnTo>
                <a:lnTo>
                  <a:pt x="712" y="484"/>
                </a:lnTo>
                <a:lnTo>
                  <a:pt x="680" y="476"/>
                </a:lnTo>
                <a:lnTo>
                  <a:pt x="648" y="460"/>
                </a:lnTo>
                <a:lnTo>
                  <a:pt x="656" y="421"/>
                </a:lnTo>
                <a:lnTo>
                  <a:pt x="656" y="389"/>
                </a:lnTo>
                <a:lnTo>
                  <a:pt x="688" y="397"/>
                </a:lnTo>
                <a:lnTo>
                  <a:pt x="680" y="365"/>
                </a:lnTo>
                <a:lnTo>
                  <a:pt x="680" y="334"/>
                </a:lnTo>
                <a:lnTo>
                  <a:pt x="712" y="326"/>
                </a:lnTo>
                <a:lnTo>
                  <a:pt x="680" y="310"/>
                </a:lnTo>
                <a:lnTo>
                  <a:pt x="688" y="278"/>
                </a:lnTo>
                <a:lnTo>
                  <a:pt x="721" y="262"/>
                </a:lnTo>
                <a:lnTo>
                  <a:pt x="737" y="294"/>
                </a:lnTo>
                <a:lnTo>
                  <a:pt x="745" y="254"/>
                </a:lnTo>
                <a:lnTo>
                  <a:pt x="753" y="286"/>
                </a:lnTo>
                <a:lnTo>
                  <a:pt x="785" y="254"/>
                </a:lnTo>
                <a:lnTo>
                  <a:pt x="818" y="262"/>
                </a:lnTo>
                <a:lnTo>
                  <a:pt x="850" y="278"/>
                </a:lnTo>
                <a:lnTo>
                  <a:pt x="818" y="246"/>
                </a:lnTo>
                <a:lnTo>
                  <a:pt x="810" y="215"/>
                </a:lnTo>
                <a:lnTo>
                  <a:pt x="842" y="175"/>
                </a:lnTo>
                <a:lnTo>
                  <a:pt x="850" y="127"/>
                </a:lnTo>
                <a:lnTo>
                  <a:pt x="899" y="135"/>
                </a:lnTo>
                <a:lnTo>
                  <a:pt x="882" y="103"/>
                </a:lnTo>
                <a:lnTo>
                  <a:pt x="907" y="72"/>
                </a:lnTo>
                <a:lnTo>
                  <a:pt x="907" y="24"/>
                </a:lnTo>
                <a:lnTo>
                  <a:pt x="947" y="0"/>
                </a:lnTo>
                <a:lnTo>
                  <a:pt x="979" y="8"/>
                </a:lnTo>
                <a:lnTo>
                  <a:pt x="1020" y="40"/>
                </a:lnTo>
                <a:lnTo>
                  <a:pt x="988" y="64"/>
                </a:lnTo>
                <a:lnTo>
                  <a:pt x="1036" y="24"/>
                </a:lnTo>
                <a:lnTo>
                  <a:pt x="1068" y="40"/>
                </a:lnTo>
                <a:lnTo>
                  <a:pt x="1052" y="80"/>
                </a:lnTo>
                <a:lnTo>
                  <a:pt x="1085" y="56"/>
                </a:lnTo>
                <a:lnTo>
                  <a:pt x="1125" y="48"/>
                </a:lnTo>
                <a:lnTo>
                  <a:pt x="1174" y="64"/>
                </a:lnTo>
                <a:lnTo>
                  <a:pt x="1214" y="64"/>
                </a:lnTo>
                <a:lnTo>
                  <a:pt x="1255" y="40"/>
                </a:lnTo>
                <a:lnTo>
                  <a:pt x="1303" y="48"/>
                </a:lnTo>
                <a:lnTo>
                  <a:pt x="1352" y="48"/>
                </a:lnTo>
                <a:lnTo>
                  <a:pt x="1376" y="80"/>
                </a:lnTo>
                <a:lnTo>
                  <a:pt x="1360" y="111"/>
                </a:lnTo>
                <a:lnTo>
                  <a:pt x="1352" y="167"/>
                </a:lnTo>
                <a:lnTo>
                  <a:pt x="1295" y="199"/>
                </a:lnTo>
                <a:lnTo>
                  <a:pt x="1263" y="238"/>
                </a:lnTo>
                <a:lnTo>
                  <a:pt x="1214" y="254"/>
                </a:lnTo>
                <a:lnTo>
                  <a:pt x="1174" y="278"/>
                </a:lnTo>
                <a:lnTo>
                  <a:pt x="1133" y="310"/>
                </a:lnTo>
                <a:lnTo>
                  <a:pt x="1101" y="334"/>
                </a:lnTo>
                <a:lnTo>
                  <a:pt x="1060" y="341"/>
                </a:lnTo>
                <a:lnTo>
                  <a:pt x="1028" y="326"/>
                </a:lnTo>
                <a:lnTo>
                  <a:pt x="1068" y="357"/>
                </a:lnTo>
                <a:lnTo>
                  <a:pt x="1109" y="357"/>
                </a:lnTo>
                <a:lnTo>
                  <a:pt x="1157" y="357"/>
                </a:lnTo>
                <a:lnTo>
                  <a:pt x="1125" y="397"/>
                </a:lnTo>
                <a:lnTo>
                  <a:pt x="1093" y="389"/>
                </a:lnTo>
                <a:lnTo>
                  <a:pt x="1052" y="405"/>
                </a:lnTo>
                <a:lnTo>
                  <a:pt x="1020" y="421"/>
                </a:lnTo>
                <a:lnTo>
                  <a:pt x="971" y="445"/>
                </a:lnTo>
                <a:lnTo>
                  <a:pt x="1020" y="429"/>
                </a:lnTo>
                <a:lnTo>
                  <a:pt x="1060" y="421"/>
                </a:lnTo>
                <a:lnTo>
                  <a:pt x="1109" y="413"/>
                </a:lnTo>
                <a:lnTo>
                  <a:pt x="1068" y="445"/>
                </a:lnTo>
                <a:lnTo>
                  <a:pt x="1028" y="492"/>
                </a:lnTo>
                <a:lnTo>
                  <a:pt x="1068" y="460"/>
                </a:lnTo>
                <a:lnTo>
                  <a:pt x="1101" y="468"/>
                </a:lnTo>
                <a:lnTo>
                  <a:pt x="1133" y="460"/>
                </a:lnTo>
                <a:lnTo>
                  <a:pt x="1166" y="453"/>
                </a:lnTo>
                <a:lnTo>
                  <a:pt x="1206" y="437"/>
                </a:lnTo>
                <a:lnTo>
                  <a:pt x="1279" y="460"/>
                </a:lnTo>
                <a:lnTo>
                  <a:pt x="1319" y="468"/>
                </a:lnTo>
                <a:lnTo>
                  <a:pt x="1368" y="468"/>
                </a:lnTo>
                <a:lnTo>
                  <a:pt x="1408" y="484"/>
                </a:lnTo>
                <a:lnTo>
                  <a:pt x="1449" y="492"/>
                </a:lnTo>
                <a:lnTo>
                  <a:pt x="1481" y="484"/>
                </a:lnTo>
                <a:lnTo>
                  <a:pt x="1513" y="492"/>
                </a:lnTo>
                <a:lnTo>
                  <a:pt x="1546" y="492"/>
                </a:lnTo>
                <a:lnTo>
                  <a:pt x="1578" y="540"/>
                </a:lnTo>
                <a:lnTo>
                  <a:pt x="1594" y="580"/>
                </a:lnTo>
                <a:lnTo>
                  <a:pt x="1586" y="619"/>
                </a:lnTo>
                <a:lnTo>
                  <a:pt x="1530" y="667"/>
                </a:lnTo>
                <a:lnTo>
                  <a:pt x="1497" y="691"/>
                </a:lnTo>
                <a:lnTo>
                  <a:pt x="1505" y="738"/>
                </a:lnTo>
                <a:lnTo>
                  <a:pt x="1473" y="762"/>
                </a:lnTo>
                <a:lnTo>
                  <a:pt x="1457" y="794"/>
                </a:lnTo>
                <a:lnTo>
                  <a:pt x="1441" y="833"/>
                </a:lnTo>
                <a:lnTo>
                  <a:pt x="1408" y="865"/>
                </a:lnTo>
                <a:lnTo>
                  <a:pt x="1368" y="889"/>
                </a:lnTo>
                <a:lnTo>
                  <a:pt x="1360" y="937"/>
                </a:lnTo>
                <a:lnTo>
                  <a:pt x="1327" y="952"/>
                </a:lnTo>
                <a:lnTo>
                  <a:pt x="1295" y="976"/>
                </a:lnTo>
                <a:lnTo>
                  <a:pt x="1255" y="976"/>
                </a:lnTo>
                <a:lnTo>
                  <a:pt x="1222" y="968"/>
                </a:lnTo>
                <a:lnTo>
                  <a:pt x="1190" y="992"/>
                </a:lnTo>
                <a:lnTo>
                  <a:pt x="1149" y="1008"/>
                </a:lnTo>
                <a:lnTo>
                  <a:pt x="1190" y="1000"/>
                </a:lnTo>
                <a:lnTo>
                  <a:pt x="1238" y="984"/>
                </a:lnTo>
                <a:lnTo>
                  <a:pt x="1271" y="1000"/>
                </a:lnTo>
                <a:lnTo>
                  <a:pt x="1279" y="1032"/>
                </a:lnTo>
                <a:lnTo>
                  <a:pt x="1311" y="1071"/>
                </a:lnTo>
                <a:lnTo>
                  <a:pt x="1255" y="1095"/>
                </a:lnTo>
                <a:lnTo>
                  <a:pt x="1214" y="1087"/>
                </a:lnTo>
                <a:lnTo>
                  <a:pt x="1174" y="1103"/>
                </a:lnTo>
                <a:lnTo>
                  <a:pt x="1141" y="1143"/>
                </a:lnTo>
                <a:lnTo>
                  <a:pt x="1093" y="1135"/>
                </a:lnTo>
                <a:lnTo>
                  <a:pt x="1044" y="1127"/>
                </a:lnTo>
                <a:lnTo>
                  <a:pt x="1101" y="1159"/>
                </a:lnTo>
                <a:lnTo>
                  <a:pt x="1157" y="1183"/>
                </a:lnTo>
                <a:lnTo>
                  <a:pt x="1190" y="1175"/>
                </a:lnTo>
                <a:lnTo>
                  <a:pt x="1222" y="1167"/>
                </a:lnTo>
                <a:lnTo>
                  <a:pt x="1255" y="1151"/>
                </a:lnTo>
                <a:lnTo>
                  <a:pt x="1287" y="1159"/>
                </a:lnTo>
                <a:lnTo>
                  <a:pt x="1352" y="1214"/>
                </a:lnTo>
                <a:lnTo>
                  <a:pt x="1384" y="1254"/>
                </a:lnTo>
                <a:lnTo>
                  <a:pt x="1433" y="1302"/>
                </a:lnTo>
                <a:lnTo>
                  <a:pt x="1449" y="1349"/>
                </a:lnTo>
                <a:lnTo>
                  <a:pt x="1489" y="1397"/>
                </a:lnTo>
                <a:lnTo>
                  <a:pt x="1489" y="1563"/>
                </a:lnTo>
                <a:lnTo>
                  <a:pt x="1497" y="1627"/>
                </a:lnTo>
                <a:lnTo>
                  <a:pt x="1513" y="1690"/>
                </a:lnTo>
                <a:lnTo>
                  <a:pt x="1513" y="1722"/>
                </a:lnTo>
                <a:lnTo>
                  <a:pt x="1530" y="1786"/>
                </a:lnTo>
                <a:lnTo>
                  <a:pt x="1562" y="1825"/>
                </a:lnTo>
                <a:lnTo>
                  <a:pt x="1611" y="1849"/>
                </a:lnTo>
                <a:lnTo>
                  <a:pt x="1659" y="1881"/>
                </a:lnTo>
                <a:lnTo>
                  <a:pt x="1700" y="1920"/>
                </a:lnTo>
                <a:lnTo>
                  <a:pt x="1716" y="1992"/>
                </a:lnTo>
                <a:lnTo>
                  <a:pt x="1740" y="2024"/>
                </a:lnTo>
                <a:lnTo>
                  <a:pt x="1772" y="2063"/>
                </a:lnTo>
                <a:lnTo>
                  <a:pt x="1740" y="2087"/>
                </a:lnTo>
                <a:lnTo>
                  <a:pt x="1748" y="2149"/>
                </a:lnTo>
                <a:lnTo>
                  <a:pt x="1772" y="2205"/>
                </a:lnTo>
                <a:lnTo>
                  <a:pt x="1789" y="2237"/>
                </a:lnTo>
                <a:lnTo>
                  <a:pt x="1813" y="2269"/>
                </a:lnTo>
                <a:lnTo>
                  <a:pt x="1805" y="2300"/>
                </a:lnTo>
                <a:lnTo>
                  <a:pt x="1772" y="2276"/>
                </a:lnTo>
                <a:lnTo>
                  <a:pt x="1724" y="2245"/>
                </a:lnTo>
                <a:lnTo>
                  <a:pt x="1708" y="2213"/>
                </a:lnTo>
                <a:lnTo>
                  <a:pt x="1708" y="2253"/>
                </a:lnTo>
                <a:lnTo>
                  <a:pt x="1732" y="2284"/>
                </a:lnTo>
                <a:lnTo>
                  <a:pt x="1780" y="2308"/>
                </a:lnTo>
                <a:lnTo>
                  <a:pt x="1797" y="2340"/>
                </a:lnTo>
                <a:lnTo>
                  <a:pt x="1821" y="2372"/>
                </a:lnTo>
                <a:lnTo>
                  <a:pt x="1837" y="2435"/>
                </a:lnTo>
                <a:lnTo>
                  <a:pt x="1829" y="2499"/>
                </a:lnTo>
                <a:lnTo>
                  <a:pt x="1789" y="2538"/>
                </a:lnTo>
                <a:lnTo>
                  <a:pt x="1748" y="2554"/>
                </a:lnTo>
                <a:lnTo>
                  <a:pt x="1716" y="2578"/>
                </a:lnTo>
                <a:lnTo>
                  <a:pt x="1748" y="2586"/>
                </a:lnTo>
                <a:lnTo>
                  <a:pt x="1789" y="2634"/>
                </a:lnTo>
                <a:lnTo>
                  <a:pt x="1821" y="2618"/>
                </a:lnTo>
                <a:lnTo>
                  <a:pt x="1853" y="2578"/>
                </a:lnTo>
                <a:lnTo>
                  <a:pt x="1886" y="2562"/>
                </a:lnTo>
                <a:lnTo>
                  <a:pt x="1950" y="2578"/>
                </a:lnTo>
                <a:cubicBezTo>
                  <a:pt x="1950" y="2578"/>
                  <a:pt x="2039" y="2602"/>
                  <a:pt x="2072" y="2610"/>
                </a:cubicBezTo>
                <a:lnTo>
                  <a:pt x="2120" y="2649"/>
                </a:lnTo>
                <a:lnTo>
                  <a:pt x="2161" y="2713"/>
                </a:lnTo>
                <a:lnTo>
                  <a:pt x="2169" y="2808"/>
                </a:lnTo>
                <a:lnTo>
                  <a:pt x="2128" y="2879"/>
                </a:lnTo>
                <a:lnTo>
                  <a:pt x="2120" y="2927"/>
                </a:lnTo>
                <a:lnTo>
                  <a:pt x="2088" y="2975"/>
                </a:lnTo>
                <a:lnTo>
                  <a:pt x="2007" y="3054"/>
                </a:lnTo>
                <a:lnTo>
                  <a:pt x="1991" y="3086"/>
                </a:lnTo>
                <a:lnTo>
                  <a:pt x="1950" y="3078"/>
                </a:lnTo>
                <a:lnTo>
                  <a:pt x="1910" y="3078"/>
                </a:lnTo>
                <a:lnTo>
                  <a:pt x="1861" y="3102"/>
                </a:lnTo>
                <a:lnTo>
                  <a:pt x="1894" y="3094"/>
                </a:lnTo>
                <a:lnTo>
                  <a:pt x="1918" y="3133"/>
                </a:lnTo>
                <a:lnTo>
                  <a:pt x="1886" y="3181"/>
                </a:lnTo>
                <a:lnTo>
                  <a:pt x="1837" y="3173"/>
                </a:lnTo>
                <a:lnTo>
                  <a:pt x="1805" y="3173"/>
                </a:lnTo>
                <a:lnTo>
                  <a:pt x="1772" y="3189"/>
                </a:lnTo>
                <a:lnTo>
                  <a:pt x="1829" y="3197"/>
                </a:lnTo>
                <a:lnTo>
                  <a:pt x="1869" y="3221"/>
                </a:lnTo>
                <a:lnTo>
                  <a:pt x="1894" y="3252"/>
                </a:lnTo>
                <a:lnTo>
                  <a:pt x="1942" y="3260"/>
                </a:lnTo>
                <a:lnTo>
                  <a:pt x="1983" y="3260"/>
                </a:lnTo>
                <a:lnTo>
                  <a:pt x="2015" y="3260"/>
                </a:lnTo>
                <a:lnTo>
                  <a:pt x="2015" y="3308"/>
                </a:lnTo>
                <a:lnTo>
                  <a:pt x="1991" y="3340"/>
                </a:lnTo>
                <a:lnTo>
                  <a:pt x="1967" y="3371"/>
                </a:lnTo>
                <a:lnTo>
                  <a:pt x="1934" y="3379"/>
                </a:lnTo>
                <a:lnTo>
                  <a:pt x="1894" y="3395"/>
                </a:lnTo>
                <a:lnTo>
                  <a:pt x="1861" y="3435"/>
                </a:lnTo>
                <a:lnTo>
                  <a:pt x="1829" y="3435"/>
                </a:lnTo>
                <a:lnTo>
                  <a:pt x="1772" y="3443"/>
                </a:lnTo>
                <a:lnTo>
                  <a:pt x="1740" y="3459"/>
                </a:lnTo>
                <a:lnTo>
                  <a:pt x="1700" y="3482"/>
                </a:lnTo>
                <a:lnTo>
                  <a:pt x="1659" y="3482"/>
                </a:lnTo>
                <a:lnTo>
                  <a:pt x="1619" y="3474"/>
                </a:lnTo>
                <a:lnTo>
                  <a:pt x="1578" y="3435"/>
                </a:lnTo>
                <a:lnTo>
                  <a:pt x="1530" y="3443"/>
                </a:lnTo>
                <a:lnTo>
                  <a:pt x="1433" y="3435"/>
                </a:lnTo>
                <a:lnTo>
                  <a:pt x="1400" y="3451"/>
                </a:lnTo>
                <a:lnTo>
                  <a:pt x="1368" y="3451"/>
                </a:lnTo>
                <a:lnTo>
                  <a:pt x="1352" y="3419"/>
                </a:lnTo>
                <a:lnTo>
                  <a:pt x="1295" y="3427"/>
                </a:lnTo>
                <a:lnTo>
                  <a:pt x="1263" y="3403"/>
                </a:lnTo>
                <a:lnTo>
                  <a:pt x="1255" y="3435"/>
                </a:lnTo>
                <a:lnTo>
                  <a:pt x="1311" y="3459"/>
                </a:lnTo>
                <a:lnTo>
                  <a:pt x="1271" y="3490"/>
                </a:lnTo>
                <a:lnTo>
                  <a:pt x="1230" y="3482"/>
                </a:lnTo>
                <a:lnTo>
                  <a:pt x="1198" y="3443"/>
                </a:lnTo>
                <a:lnTo>
                  <a:pt x="1246" y="3411"/>
                </a:lnTo>
                <a:lnTo>
                  <a:pt x="1214" y="3419"/>
                </a:lnTo>
                <a:lnTo>
                  <a:pt x="1174" y="3427"/>
                </a:lnTo>
                <a:lnTo>
                  <a:pt x="1068" y="3435"/>
                </a:lnTo>
                <a:lnTo>
                  <a:pt x="1020" y="3459"/>
                </a:lnTo>
                <a:lnTo>
                  <a:pt x="988" y="3451"/>
                </a:lnTo>
                <a:lnTo>
                  <a:pt x="947" y="3419"/>
                </a:lnTo>
                <a:lnTo>
                  <a:pt x="931" y="3474"/>
                </a:lnTo>
                <a:lnTo>
                  <a:pt x="907" y="3443"/>
                </a:lnTo>
                <a:lnTo>
                  <a:pt x="866" y="3403"/>
                </a:lnTo>
                <a:lnTo>
                  <a:pt x="826" y="3371"/>
                </a:lnTo>
                <a:lnTo>
                  <a:pt x="793" y="3371"/>
                </a:lnTo>
                <a:lnTo>
                  <a:pt x="696" y="3379"/>
                </a:lnTo>
                <a:lnTo>
                  <a:pt x="656" y="3387"/>
                </a:lnTo>
                <a:lnTo>
                  <a:pt x="632" y="3419"/>
                </a:lnTo>
                <a:lnTo>
                  <a:pt x="623" y="3451"/>
                </a:lnTo>
                <a:lnTo>
                  <a:pt x="623" y="3490"/>
                </a:lnTo>
                <a:lnTo>
                  <a:pt x="583" y="3506"/>
                </a:lnTo>
                <a:lnTo>
                  <a:pt x="575" y="3538"/>
                </a:lnTo>
                <a:lnTo>
                  <a:pt x="526" y="3522"/>
                </a:lnTo>
                <a:lnTo>
                  <a:pt x="494" y="3490"/>
                </a:lnTo>
                <a:lnTo>
                  <a:pt x="462" y="3482"/>
                </a:lnTo>
                <a:lnTo>
                  <a:pt x="437" y="3443"/>
                </a:lnTo>
                <a:lnTo>
                  <a:pt x="365" y="3459"/>
                </a:lnTo>
                <a:lnTo>
                  <a:pt x="284" y="3451"/>
                </a:lnTo>
                <a:lnTo>
                  <a:pt x="267" y="3482"/>
                </a:lnTo>
                <a:lnTo>
                  <a:pt x="235" y="3506"/>
                </a:lnTo>
                <a:lnTo>
                  <a:pt x="203" y="3498"/>
                </a:lnTo>
                <a:lnTo>
                  <a:pt x="162" y="3506"/>
                </a:lnTo>
                <a:lnTo>
                  <a:pt x="178" y="3538"/>
                </a:lnTo>
                <a:lnTo>
                  <a:pt x="122" y="3570"/>
                </a:lnTo>
                <a:lnTo>
                  <a:pt x="122" y="3538"/>
                </a:lnTo>
                <a:lnTo>
                  <a:pt x="98" y="3506"/>
                </a:lnTo>
                <a:lnTo>
                  <a:pt x="49" y="3490"/>
                </a:lnTo>
                <a:lnTo>
                  <a:pt x="9" y="3498"/>
                </a:lnTo>
                <a:lnTo>
                  <a:pt x="0" y="3467"/>
                </a:lnTo>
                <a:lnTo>
                  <a:pt x="49" y="3435"/>
                </a:lnTo>
                <a:lnTo>
                  <a:pt x="81" y="3451"/>
                </a:lnTo>
                <a:lnTo>
                  <a:pt x="114" y="3443"/>
                </a:lnTo>
                <a:lnTo>
                  <a:pt x="154" y="3427"/>
                </a:lnTo>
                <a:lnTo>
                  <a:pt x="178" y="3387"/>
                </a:lnTo>
                <a:lnTo>
                  <a:pt x="211" y="3379"/>
                </a:lnTo>
                <a:lnTo>
                  <a:pt x="227" y="3348"/>
                </a:lnTo>
                <a:lnTo>
                  <a:pt x="300" y="3316"/>
                </a:lnTo>
                <a:lnTo>
                  <a:pt x="356" y="3268"/>
                </a:lnTo>
                <a:lnTo>
                  <a:pt x="373" y="3236"/>
                </a:lnTo>
                <a:lnTo>
                  <a:pt x="373" y="3205"/>
                </a:lnTo>
                <a:lnTo>
                  <a:pt x="405" y="3181"/>
                </a:lnTo>
                <a:lnTo>
                  <a:pt x="445" y="3181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70" name="Freeform 162">
            <a:extLst>
              <a:ext uri="{FF2B5EF4-FFF2-40B4-BE49-F238E27FC236}">
                <a16:creationId xmlns:a16="http://schemas.microsoft.com/office/drawing/2014/main" id="{4A099370-79BE-5DE8-7E6E-53216B49B9B3}"/>
              </a:ext>
            </a:extLst>
          </p:cNvPr>
          <p:cNvSpPr>
            <a:spLocks noChangeArrowheads="1"/>
          </p:cNvSpPr>
          <p:nvPr>
            <p:custDataLst>
              <p:tags r:id="rId161"/>
            </p:custDataLst>
          </p:nvPr>
        </p:nvSpPr>
        <p:spPr bwMode="auto">
          <a:xfrm>
            <a:off x="5212709" y="2901570"/>
            <a:ext cx="269871" cy="211912"/>
          </a:xfrm>
          <a:custGeom>
            <a:avLst/>
            <a:gdLst>
              <a:gd name="T0" fmla="*/ 308 w 657"/>
              <a:gd name="T1" fmla="*/ 47 h 516"/>
              <a:gd name="T2" fmla="*/ 275 w 657"/>
              <a:gd name="T3" fmla="*/ 55 h 516"/>
              <a:gd name="T4" fmla="*/ 219 w 657"/>
              <a:gd name="T5" fmla="*/ 47 h 516"/>
              <a:gd name="T6" fmla="*/ 203 w 657"/>
              <a:gd name="T7" fmla="*/ 103 h 516"/>
              <a:gd name="T8" fmla="*/ 170 w 657"/>
              <a:gd name="T9" fmla="*/ 111 h 516"/>
              <a:gd name="T10" fmla="*/ 146 w 657"/>
              <a:gd name="T11" fmla="*/ 143 h 516"/>
              <a:gd name="T12" fmla="*/ 114 w 657"/>
              <a:gd name="T13" fmla="*/ 135 h 516"/>
              <a:gd name="T14" fmla="*/ 81 w 657"/>
              <a:gd name="T15" fmla="*/ 158 h 516"/>
              <a:gd name="T16" fmla="*/ 122 w 657"/>
              <a:gd name="T17" fmla="*/ 182 h 516"/>
              <a:gd name="T18" fmla="*/ 81 w 657"/>
              <a:gd name="T19" fmla="*/ 206 h 516"/>
              <a:gd name="T20" fmla="*/ 41 w 657"/>
              <a:gd name="T21" fmla="*/ 206 h 516"/>
              <a:gd name="T22" fmla="*/ 0 w 657"/>
              <a:gd name="T23" fmla="*/ 230 h 516"/>
              <a:gd name="T24" fmla="*/ 8 w 657"/>
              <a:gd name="T25" fmla="*/ 262 h 516"/>
              <a:gd name="T26" fmla="*/ 33 w 657"/>
              <a:gd name="T27" fmla="*/ 301 h 516"/>
              <a:gd name="T28" fmla="*/ 41 w 657"/>
              <a:gd name="T29" fmla="*/ 349 h 516"/>
              <a:gd name="T30" fmla="*/ 73 w 657"/>
              <a:gd name="T31" fmla="*/ 349 h 516"/>
              <a:gd name="T32" fmla="*/ 114 w 657"/>
              <a:gd name="T33" fmla="*/ 396 h 516"/>
              <a:gd name="T34" fmla="*/ 154 w 657"/>
              <a:gd name="T35" fmla="*/ 388 h 516"/>
              <a:gd name="T36" fmla="*/ 203 w 657"/>
              <a:gd name="T37" fmla="*/ 357 h 516"/>
              <a:gd name="T38" fmla="*/ 219 w 657"/>
              <a:gd name="T39" fmla="*/ 317 h 516"/>
              <a:gd name="T40" fmla="*/ 267 w 657"/>
              <a:gd name="T41" fmla="*/ 309 h 516"/>
              <a:gd name="T42" fmla="*/ 292 w 657"/>
              <a:gd name="T43" fmla="*/ 357 h 516"/>
              <a:gd name="T44" fmla="*/ 284 w 657"/>
              <a:gd name="T45" fmla="*/ 388 h 516"/>
              <a:gd name="T46" fmla="*/ 324 w 657"/>
              <a:gd name="T47" fmla="*/ 428 h 516"/>
              <a:gd name="T48" fmla="*/ 332 w 657"/>
              <a:gd name="T49" fmla="*/ 468 h 516"/>
              <a:gd name="T50" fmla="*/ 381 w 657"/>
              <a:gd name="T51" fmla="*/ 484 h 516"/>
              <a:gd name="T52" fmla="*/ 413 w 657"/>
              <a:gd name="T53" fmla="*/ 476 h 516"/>
              <a:gd name="T54" fmla="*/ 445 w 657"/>
              <a:gd name="T55" fmla="*/ 515 h 516"/>
              <a:gd name="T56" fmla="*/ 502 w 657"/>
              <a:gd name="T57" fmla="*/ 500 h 516"/>
              <a:gd name="T58" fmla="*/ 518 w 657"/>
              <a:gd name="T59" fmla="*/ 468 h 516"/>
              <a:gd name="T60" fmla="*/ 534 w 657"/>
              <a:gd name="T61" fmla="*/ 436 h 516"/>
              <a:gd name="T62" fmla="*/ 567 w 657"/>
              <a:gd name="T63" fmla="*/ 444 h 516"/>
              <a:gd name="T64" fmla="*/ 599 w 657"/>
              <a:gd name="T65" fmla="*/ 452 h 516"/>
              <a:gd name="T66" fmla="*/ 615 w 657"/>
              <a:gd name="T67" fmla="*/ 420 h 516"/>
              <a:gd name="T68" fmla="*/ 599 w 657"/>
              <a:gd name="T69" fmla="*/ 388 h 516"/>
              <a:gd name="T70" fmla="*/ 607 w 657"/>
              <a:gd name="T71" fmla="*/ 357 h 516"/>
              <a:gd name="T72" fmla="*/ 607 w 657"/>
              <a:gd name="T73" fmla="*/ 301 h 516"/>
              <a:gd name="T74" fmla="*/ 640 w 657"/>
              <a:gd name="T75" fmla="*/ 317 h 516"/>
              <a:gd name="T76" fmla="*/ 623 w 657"/>
              <a:gd name="T77" fmla="*/ 373 h 516"/>
              <a:gd name="T78" fmla="*/ 623 w 657"/>
              <a:gd name="T79" fmla="*/ 404 h 516"/>
              <a:gd name="T80" fmla="*/ 656 w 657"/>
              <a:gd name="T81" fmla="*/ 388 h 516"/>
              <a:gd name="T82" fmla="*/ 656 w 657"/>
              <a:gd name="T83" fmla="*/ 357 h 516"/>
              <a:gd name="T84" fmla="*/ 656 w 657"/>
              <a:gd name="T85" fmla="*/ 317 h 516"/>
              <a:gd name="T86" fmla="*/ 623 w 657"/>
              <a:gd name="T87" fmla="*/ 269 h 516"/>
              <a:gd name="T88" fmla="*/ 583 w 657"/>
              <a:gd name="T89" fmla="*/ 262 h 516"/>
              <a:gd name="T90" fmla="*/ 551 w 657"/>
              <a:gd name="T91" fmla="*/ 293 h 516"/>
              <a:gd name="T92" fmla="*/ 567 w 657"/>
              <a:gd name="T93" fmla="*/ 262 h 516"/>
              <a:gd name="T94" fmla="*/ 599 w 657"/>
              <a:gd name="T95" fmla="*/ 254 h 516"/>
              <a:gd name="T96" fmla="*/ 615 w 657"/>
              <a:gd name="T97" fmla="*/ 198 h 516"/>
              <a:gd name="T98" fmla="*/ 583 w 657"/>
              <a:gd name="T99" fmla="*/ 158 h 516"/>
              <a:gd name="T100" fmla="*/ 575 w 657"/>
              <a:gd name="T101" fmla="*/ 119 h 516"/>
              <a:gd name="T102" fmla="*/ 567 w 657"/>
              <a:gd name="T103" fmla="*/ 71 h 516"/>
              <a:gd name="T104" fmla="*/ 551 w 657"/>
              <a:gd name="T105" fmla="*/ 31 h 516"/>
              <a:gd name="T106" fmla="*/ 518 w 657"/>
              <a:gd name="T107" fmla="*/ 0 h 516"/>
              <a:gd name="T108" fmla="*/ 478 w 657"/>
              <a:gd name="T109" fmla="*/ 8 h 516"/>
              <a:gd name="T110" fmla="*/ 348 w 657"/>
              <a:gd name="T111" fmla="*/ 8 h 516"/>
              <a:gd name="T112" fmla="*/ 308 w 657"/>
              <a:gd name="T113" fmla="*/ 47 h 5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57" h="516">
                <a:moveTo>
                  <a:pt x="308" y="47"/>
                </a:moveTo>
                <a:lnTo>
                  <a:pt x="275" y="55"/>
                </a:lnTo>
                <a:lnTo>
                  <a:pt x="219" y="47"/>
                </a:lnTo>
                <a:lnTo>
                  <a:pt x="203" y="103"/>
                </a:lnTo>
                <a:lnTo>
                  <a:pt x="170" y="111"/>
                </a:lnTo>
                <a:lnTo>
                  <a:pt x="146" y="143"/>
                </a:lnTo>
                <a:lnTo>
                  <a:pt x="114" y="135"/>
                </a:lnTo>
                <a:lnTo>
                  <a:pt x="81" y="158"/>
                </a:lnTo>
                <a:lnTo>
                  <a:pt x="122" y="182"/>
                </a:lnTo>
                <a:lnTo>
                  <a:pt x="81" y="206"/>
                </a:lnTo>
                <a:lnTo>
                  <a:pt x="41" y="206"/>
                </a:lnTo>
                <a:lnTo>
                  <a:pt x="0" y="230"/>
                </a:lnTo>
                <a:lnTo>
                  <a:pt x="8" y="262"/>
                </a:lnTo>
                <a:lnTo>
                  <a:pt x="33" y="301"/>
                </a:lnTo>
                <a:lnTo>
                  <a:pt x="41" y="349"/>
                </a:lnTo>
                <a:lnTo>
                  <a:pt x="73" y="349"/>
                </a:lnTo>
                <a:lnTo>
                  <a:pt x="114" y="396"/>
                </a:lnTo>
                <a:lnTo>
                  <a:pt x="154" y="388"/>
                </a:lnTo>
                <a:lnTo>
                  <a:pt x="203" y="357"/>
                </a:lnTo>
                <a:lnTo>
                  <a:pt x="219" y="317"/>
                </a:lnTo>
                <a:lnTo>
                  <a:pt x="267" y="309"/>
                </a:lnTo>
                <a:lnTo>
                  <a:pt x="292" y="357"/>
                </a:lnTo>
                <a:lnTo>
                  <a:pt x="284" y="388"/>
                </a:lnTo>
                <a:lnTo>
                  <a:pt x="324" y="428"/>
                </a:lnTo>
                <a:lnTo>
                  <a:pt x="332" y="468"/>
                </a:lnTo>
                <a:lnTo>
                  <a:pt x="381" y="484"/>
                </a:lnTo>
                <a:lnTo>
                  <a:pt x="413" y="476"/>
                </a:lnTo>
                <a:lnTo>
                  <a:pt x="445" y="515"/>
                </a:lnTo>
                <a:lnTo>
                  <a:pt x="502" y="500"/>
                </a:lnTo>
                <a:lnTo>
                  <a:pt x="518" y="468"/>
                </a:lnTo>
                <a:lnTo>
                  <a:pt x="534" y="436"/>
                </a:lnTo>
                <a:lnTo>
                  <a:pt x="567" y="444"/>
                </a:lnTo>
                <a:lnTo>
                  <a:pt x="599" y="452"/>
                </a:lnTo>
                <a:lnTo>
                  <a:pt x="615" y="420"/>
                </a:lnTo>
                <a:lnTo>
                  <a:pt x="599" y="388"/>
                </a:lnTo>
                <a:lnTo>
                  <a:pt x="607" y="357"/>
                </a:lnTo>
                <a:lnTo>
                  <a:pt x="607" y="301"/>
                </a:lnTo>
                <a:lnTo>
                  <a:pt x="640" y="317"/>
                </a:lnTo>
                <a:lnTo>
                  <a:pt x="623" y="373"/>
                </a:lnTo>
                <a:lnTo>
                  <a:pt x="623" y="404"/>
                </a:lnTo>
                <a:lnTo>
                  <a:pt x="656" y="388"/>
                </a:lnTo>
                <a:lnTo>
                  <a:pt x="656" y="357"/>
                </a:lnTo>
                <a:lnTo>
                  <a:pt x="656" y="317"/>
                </a:lnTo>
                <a:lnTo>
                  <a:pt x="623" y="269"/>
                </a:lnTo>
                <a:lnTo>
                  <a:pt x="583" y="262"/>
                </a:lnTo>
                <a:lnTo>
                  <a:pt x="551" y="293"/>
                </a:lnTo>
                <a:lnTo>
                  <a:pt x="567" y="262"/>
                </a:lnTo>
                <a:lnTo>
                  <a:pt x="599" y="254"/>
                </a:lnTo>
                <a:lnTo>
                  <a:pt x="615" y="198"/>
                </a:lnTo>
                <a:lnTo>
                  <a:pt x="583" y="158"/>
                </a:lnTo>
                <a:lnTo>
                  <a:pt x="575" y="119"/>
                </a:lnTo>
                <a:lnTo>
                  <a:pt x="567" y="71"/>
                </a:lnTo>
                <a:lnTo>
                  <a:pt x="551" y="31"/>
                </a:lnTo>
                <a:lnTo>
                  <a:pt x="518" y="0"/>
                </a:lnTo>
                <a:lnTo>
                  <a:pt x="478" y="8"/>
                </a:lnTo>
                <a:lnTo>
                  <a:pt x="348" y="8"/>
                </a:lnTo>
                <a:lnTo>
                  <a:pt x="308" y="4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71" name="Freeform 163">
            <a:extLst>
              <a:ext uri="{FF2B5EF4-FFF2-40B4-BE49-F238E27FC236}">
                <a16:creationId xmlns:a16="http://schemas.microsoft.com/office/drawing/2014/main" id="{4F548200-F276-3A62-9A1B-E461870BF9F4}"/>
              </a:ext>
            </a:extLst>
          </p:cNvPr>
          <p:cNvSpPr>
            <a:spLocks noChangeArrowheads="1"/>
          </p:cNvSpPr>
          <p:nvPr>
            <p:custDataLst>
              <p:tags r:id="rId162"/>
            </p:custDataLst>
          </p:nvPr>
        </p:nvSpPr>
        <p:spPr bwMode="auto">
          <a:xfrm>
            <a:off x="5989720" y="2139047"/>
            <a:ext cx="3622" cy="16302"/>
          </a:xfrm>
          <a:custGeom>
            <a:avLst/>
            <a:gdLst>
              <a:gd name="T0" fmla="*/ 8 w 9"/>
              <a:gd name="T1" fmla="*/ 8 h 41"/>
              <a:gd name="T2" fmla="*/ 0 w 9"/>
              <a:gd name="T3" fmla="*/ 40 h 41"/>
              <a:gd name="T4" fmla="*/ 0 w 9"/>
              <a:gd name="T5" fmla="*/ 0 h 41"/>
              <a:gd name="T6" fmla="*/ 8 w 9"/>
              <a:gd name="T7" fmla="*/ 8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" h="41">
                <a:moveTo>
                  <a:pt x="8" y="8"/>
                </a:moveTo>
                <a:lnTo>
                  <a:pt x="0" y="40"/>
                </a:lnTo>
                <a:lnTo>
                  <a:pt x="0" y="0"/>
                </a:lnTo>
                <a:lnTo>
                  <a:pt x="8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72" name="Freeform 164">
            <a:extLst>
              <a:ext uri="{FF2B5EF4-FFF2-40B4-BE49-F238E27FC236}">
                <a16:creationId xmlns:a16="http://schemas.microsoft.com/office/drawing/2014/main" id="{9A242FDC-117A-0B7B-5301-32C7D283C73D}"/>
              </a:ext>
            </a:extLst>
          </p:cNvPr>
          <p:cNvSpPr>
            <a:spLocks noChangeArrowheads="1"/>
          </p:cNvSpPr>
          <p:nvPr>
            <p:custDataLst>
              <p:tags r:id="rId163"/>
            </p:custDataLst>
          </p:nvPr>
        </p:nvSpPr>
        <p:spPr bwMode="auto">
          <a:xfrm>
            <a:off x="6100205" y="2077465"/>
            <a:ext cx="12678" cy="12679"/>
          </a:xfrm>
          <a:custGeom>
            <a:avLst/>
            <a:gdLst>
              <a:gd name="T0" fmla="*/ 0 w 33"/>
              <a:gd name="T1" fmla="*/ 7 h 32"/>
              <a:gd name="T2" fmla="*/ 32 w 33"/>
              <a:gd name="T3" fmla="*/ 0 h 32"/>
              <a:gd name="T4" fmla="*/ 32 w 33"/>
              <a:gd name="T5" fmla="*/ 31 h 32"/>
              <a:gd name="T6" fmla="*/ 0 w 33"/>
              <a:gd name="T7" fmla="*/ 23 h 32"/>
              <a:gd name="T8" fmla="*/ 0 w 33"/>
              <a:gd name="T9" fmla="*/ 7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32">
                <a:moveTo>
                  <a:pt x="0" y="7"/>
                </a:moveTo>
                <a:lnTo>
                  <a:pt x="32" y="0"/>
                </a:lnTo>
                <a:lnTo>
                  <a:pt x="32" y="31"/>
                </a:lnTo>
                <a:lnTo>
                  <a:pt x="0" y="23"/>
                </a:lnTo>
                <a:lnTo>
                  <a:pt x="0" y="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73" name="Freeform 165">
            <a:extLst>
              <a:ext uri="{FF2B5EF4-FFF2-40B4-BE49-F238E27FC236}">
                <a16:creationId xmlns:a16="http://schemas.microsoft.com/office/drawing/2014/main" id="{248E0334-8047-F5E7-D4F3-AEC4A1E70798}"/>
              </a:ext>
            </a:extLst>
          </p:cNvPr>
          <p:cNvSpPr>
            <a:spLocks noChangeArrowheads="1"/>
          </p:cNvSpPr>
          <p:nvPr>
            <p:custDataLst>
              <p:tags r:id="rId164"/>
            </p:custDataLst>
          </p:nvPr>
        </p:nvSpPr>
        <p:spPr bwMode="auto">
          <a:xfrm>
            <a:off x="6033189" y="2041241"/>
            <a:ext cx="86938" cy="166632"/>
          </a:xfrm>
          <a:custGeom>
            <a:avLst/>
            <a:gdLst>
              <a:gd name="T0" fmla="*/ 65 w 211"/>
              <a:gd name="T1" fmla="*/ 278 h 406"/>
              <a:gd name="T2" fmla="*/ 56 w 211"/>
              <a:gd name="T3" fmla="*/ 318 h 406"/>
              <a:gd name="T4" fmla="*/ 40 w 211"/>
              <a:gd name="T5" fmla="*/ 365 h 406"/>
              <a:gd name="T6" fmla="*/ 48 w 211"/>
              <a:gd name="T7" fmla="*/ 405 h 406"/>
              <a:gd name="T8" fmla="*/ 65 w 211"/>
              <a:gd name="T9" fmla="*/ 357 h 406"/>
              <a:gd name="T10" fmla="*/ 97 w 211"/>
              <a:gd name="T11" fmla="*/ 325 h 406"/>
              <a:gd name="T12" fmla="*/ 97 w 211"/>
              <a:gd name="T13" fmla="*/ 286 h 406"/>
              <a:gd name="T14" fmla="*/ 105 w 211"/>
              <a:gd name="T15" fmla="*/ 254 h 406"/>
              <a:gd name="T16" fmla="*/ 97 w 211"/>
              <a:gd name="T17" fmla="*/ 222 h 406"/>
              <a:gd name="T18" fmla="*/ 129 w 211"/>
              <a:gd name="T19" fmla="*/ 199 h 406"/>
              <a:gd name="T20" fmla="*/ 170 w 211"/>
              <a:gd name="T21" fmla="*/ 199 h 406"/>
              <a:gd name="T22" fmla="*/ 186 w 211"/>
              <a:gd name="T23" fmla="*/ 167 h 406"/>
              <a:gd name="T24" fmla="*/ 137 w 211"/>
              <a:gd name="T25" fmla="*/ 175 h 406"/>
              <a:gd name="T26" fmla="*/ 129 w 211"/>
              <a:gd name="T27" fmla="*/ 143 h 406"/>
              <a:gd name="T28" fmla="*/ 162 w 211"/>
              <a:gd name="T29" fmla="*/ 135 h 406"/>
              <a:gd name="T30" fmla="*/ 129 w 211"/>
              <a:gd name="T31" fmla="*/ 119 h 406"/>
              <a:gd name="T32" fmla="*/ 145 w 211"/>
              <a:gd name="T33" fmla="*/ 88 h 406"/>
              <a:gd name="T34" fmla="*/ 178 w 211"/>
              <a:gd name="T35" fmla="*/ 72 h 406"/>
              <a:gd name="T36" fmla="*/ 178 w 211"/>
              <a:gd name="T37" fmla="*/ 40 h 406"/>
              <a:gd name="T38" fmla="*/ 210 w 211"/>
              <a:gd name="T39" fmla="*/ 40 h 406"/>
              <a:gd name="T40" fmla="*/ 210 w 211"/>
              <a:gd name="T41" fmla="*/ 0 h 406"/>
              <a:gd name="T42" fmla="*/ 178 w 211"/>
              <a:gd name="T43" fmla="*/ 8 h 406"/>
              <a:gd name="T44" fmla="*/ 154 w 211"/>
              <a:gd name="T45" fmla="*/ 40 h 406"/>
              <a:gd name="T46" fmla="*/ 137 w 211"/>
              <a:gd name="T47" fmla="*/ 72 h 406"/>
              <a:gd name="T48" fmla="*/ 105 w 211"/>
              <a:gd name="T49" fmla="*/ 72 h 406"/>
              <a:gd name="T50" fmla="*/ 113 w 211"/>
              <a:gd name="T51" fmla="*/ 103 h 406"/>
              <a:gd name="T52" fmla="*/ 97 w 211"/>
              <a:gd name="T53" fmla="*/ 135 h 406"/>
              <a:gd name="T54" fmla="*/ 65 w 211"/>
              <a:gd name="T55" fmla="*/ 143 h 406"/>
              <a:gd name="T56" fmla="*/ 89 w 211"/>
              <a:gd name="T57" fmla="*/ 103 h 406"/>
              <a:gd name="T58" fmla="*/ 65 w 211"/>
              <a:gd name="T59" fmla="*/ 72 h 406"/>
              <a:gd name="T60" fmla="*/ 24 w 211"/>
              <a:gd name="T61" fmla="*/ 95 h 406"/>
              <a:gd name="T62" fmla="*/ 8 w 211"/>
              <a:gd name="T63" fmla="*/ 127 h 406"/>
              <a:gd name="T64" fmla="*/ 40 w 211"/>
              <a:gd name="T65" fmla="*/ 159 h 406"/>
              <a:gd name="T66" fmla="*/ 65 w 211"/>
              <a:gd name="T67" fmla="*/ 191 h 406"/>
              <a:gd name="T68" fmla="*/ 32 w 211"/>
              <a:gd name="T69" fmla="*/ 206 h 406"/>
              <a:gd name="T70" fmla="*/ 0 w 211"/>
              <a:gd name="T71" fmla="*/ 191 h 406"/>
              <a:gd name="T72" fmla="*/ 0 w 211"/>
              <a:gd name="T73" fmla="*/ 230 h 406"/>
              <a:gd name="T74" fmla="*/ 16 w 211"/>
              <a:gd name="T75" fmla="*/ 262 h 406"/>
              <a:gd name="T76" fmla="*/ 56 w 211"/>
              <a:gd name="T77" fmla="*/ 262 h 406"/>
              <a:gd name="T78" fmla="*/ 65 w 211"/>
              <a:gd name="T79" fmla="*/ 27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11" h="406">
                <a:moveTo>
                  <a:pt x="65" y="278"/>
                </a:moveTo>
                <a:lnTo>
                  <a:pt x="56" y="318"/>
                </a:lnTo>
                <a:lnTo>
                  <a:pt x="40" y="365"/>
                </a:lnTo>
                <a:lnTo>
                  <a:pt x="48" y="405"/>
                </a:lnTo>
                <a:lnTo>
                  <a:pt x="65" y="357"/>
                </a:lnTo>
                <a:lnTo>
                  <a:pt x="97" y="325"/>
                </a:lnTo>
                <a:lnTo>
                  <a:pt x="97" y="286"/>
                </a:lnTo>
                <a:lnTo>
                  <a:pt x="105" y="254"/>
                </a:lnTo>
                <a:lnTo>
                  <a:pt x="97" y="222"/>
                </a:lnTo>
                <a:lnTo>
                  <a:pt x="129" y="199"/>
                </a:lnTo>
                <a:lnTo>
                  <a:pt x="170" y="199"/>
                </a:lnTo>
                <a:lnTo>
                  <a:pt x="186" y="167"/>
                </a:lnTo>
                <a:lnTo>
                  <a:pt x="137" y="175"/>
                </a:lnTo>
                <a:lnTo>
                  <a:pt x="129" y="143"/>
                </a:lnTo>
                <a:lnTo>
                  <a:pt x="162" y="135"/>
                </a:lnTo>
                <a:lnTo>
                  <a:pt x="129" y="119"/>
                </a:lnTo>
                <a:lnTo>
                  <a:pt x="145" y="88"/>
                </a:lnTo>
                <a:lnTo>
                  <a:pt x="178" y="72"/>
                </a:lnTo>
                <a:lnTo>
                  <a:pt x="178" y="40"/>
                </a:lnTo>
                <a:lnTo>
                  <a:pt x="210" y="40"/>
                </a:lnTo>
                <a:lnTo>
                  <a:pt x="210" y="0"/>
                </a:lnTo>
                <a:lnTo>
                  <a:pt x="178" y="8"/>
                </a:lnTo>
                <a:lnTo>
                  <a:pt x="154" y="40"/>
                </a:lnTo>
                <a:lnTo>
                  <a:pt x="137" y="72"/>
                </a:lnTo>
                <a:lnTo>
                  <a:pt x="105" y="72"/>
                </a:lnTo>
                <a:lnTo>
                  <a:pt x="113" y="103"/>
                </a:lnTo>
                <a:lnTo>
                  <a:pt x="97" y="135"/>
                </a:lnTo>
                <a:lnTo>
                  <a:pt x="65" y="143"/>
                </a:lnTo>
                <a:lnTo>
                  <a:pt x="89" y="103"/>
                </a:lnTo>
                <a:lnTo>
                  <a:pt x="65" y="72"/>
                </a:lnTo>
                <a:lnTo>
                  <a:pt x="24" y="95"/>
                </a:lnTo>
                <a:lnTo>
                  <a:pt x="8" y="127"/>
                </a:lnTo>
                <a:lnTo>
                  <a:pt x="40" y="159"/>
                </a:lnTo>
                <a:lnTo>
                  <a:pt x="65" y="191"/>
                </a:lnTo>
                <a:lnTo>
                  <a:pt x="32" y="206"/>
                </a:lnTo>
                <a:lnTo>
                  <a:pt x="0" y="191"/>
                </a:lnTo>
                <a:lnTo>
                  <a:pt x="0" y="230"/>
                </a:lnTo>
                <a:lnTo>
                  <a:pt x="16" y="262"/>
                </a:lnTo>
                <a:lnTo>
                  <a:pt x="56" y="262"/>
                </a:lnTo>
                <a:lnTo>
                  <a:pt x="65" y="27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74" name="Freeform 166">
            <a:extLst>
              <a:ext uri="{FF2B5EF4-FFF2-40B4-BE49-F238E27FC236}">
                <a16:creationId xmlns:a16="http://schemas.microsoft.com/office/drawing/2014/main" id="{0A02E64F-905A-F9C8-364C-36C5AE4E5E60}"/>
              </a:ext>
            </a:extLst>
          </p:cNvPr>
          <p:cNvSpPr>
            <a:spLocks noChangeArrowheads="1"/>
          </p:cNvSpPr>
          <p:nvPr>
            <p:custDataLst>
              <p:tags r:id="rId165"/>
            </p:custDataLst>
          </p:nvPr>
        </p:nvSpPr>
        <p:spPr bwMode="auto">
          <a:xfrm>
            <a:off x="6006022" y="2242287"/>
            <a:ext cx="18112" cy="16300"/>
          </a:xfrm>
          <a:custGeom>
            <a:avLst/>
            <a:gdLst>
              <a:gd name="T0" fmla="*/ 0 w 42"/>
              <a:gd name="T1" fmla="*/ 32 h 41"/>
              <a:gd name="T2" fmla="*/ 24 w 42"/>
              <a:gd name="T3" fmla="*/ 0 h 41"/>
              <a:gd name="T4" fmla="*/ 41 w 42"/>
              <a:gd name="T5" fmla="*/ 40 h 41"/>
              <a:gd name="T6" fmla="*/ 8 w 42"/>
              <a:gd name="T7" fmla="*/ 40 h 41"/>
              <a:gd name="T8" fmla="*/ 0 w 42"/>
              <a:gd name="T9" fmla="*/ 3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" h="41">
                <a:moveTo>
                  <a:pt x="0" y="32"/>
                </a:moveTo>
                <a:lnTo>
                  <a:pt x="24" y="0"/>
                </a:lnTo>
                <a:lnTo>
                  <a:pt x="41" y="40"/>
                </a:lnTo>
                <a:lnTo>
                  <a:pt x="8" y="40"/>
                </a:lnTo>
                <a:lnTo>
                  <a:pt x="0" y="3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75" name="Freeform 167">
            <a:extLst>
              <a:ext uri="{FF2B5EF4-FFF2-40B4-BE49-F238E27FC236}">
                <a16:creationId xmlns:a16="http://schemas.microsoft.com/office/drawing/2014/main" id="{CA7428EB-DBD0-F310-3F96-D805B0B74238}"/>
              </a:ext>
            </a:extLst>
          </p:cNvPr>
          <p:cNvSpPr>
            <a:spLocks noChangeArrowheads="1"/>
          </p:cNvSpPr>
          <p:nvPr>
            <p:custDataLst>
              <p:tags r:id="rId166"/>
            </p:custDataLst>
          </p:nvPr>
        </p:nvSpPr>
        <p:spPr bwMode="auto">
          <a:xfrm>
            <a:off x="5866557" y="2291189"/>
            <a:ext cx="14490" cy="12679"/>
          </a:xfrm>
          <a:custGeom>
            <a:avLst/>
            <a:gdLst>
              <a:gd name="T0" fmla="*/ 33 w 34"/>
              <a:gd name="T1" fmla="*/ 32 h 33"/>
              <a:gd name="T2" fmla="*/ 33 w 34"/>
              <a:gd name="T3" fmla="*/ 0 h 33"/>
              <a:gd name="T4" fmla="*/ 0 w 34"/>
              <a:gd name="T5" fmla="*/ 8 h 33"/>
              <a:gd name="T6" fmla="*/ 33 w 34"/>
              <a:gd name="T7" fmla="*/ 3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4" h="33">
                <a:moveTo>
                  <a:pt x="33" y="32"/>
                </a:moveTo>
                <a:lnTo>
                  <a:pt x="33" y="0"/>
                </a:lnTo>
                <a:lnTo>
                  <a:pt x="0" y="8"/>
                </a:lnTo>
                <a:lnTo>
                  <a:pt x="33" y="3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76" name="Freeform 168">
            <a:extLst>
              <a:ext uri="{FF2B5EF4-FFF2-40B4-BE49-F238E27FC236}">
                <a16:creationId xmlns:a16="http://schemas.microsoft.com/office/drawing/2014/main" id="{59A09F84-5010-E748-DDF8-C374F4C38D92}"/>
              </a:ext>
            </a:extLst>
          </p:cNvPr>
          <p:cNvSpPr>
            <a:spLocks noChangeArrowheads="1"/>
          </p:cNvSpPr>
          <p:nvPr>
            <p:custDataLst>
              <p:tags r:id="rId167"/>
            </p:custDataLst>
          </p:nvPr>
        </p:nvSpPr>
        <p:spPr bwMode="auto">
          <a:xfrm>
            <a:off x="5837578" y="2298434"/>
            <a:ext cx="34414" cy="45281"/>
          </a:xfrm>
          <a:custGeom>
            <a:avLst/>
            <a:gdLst>
              <a:gd name="T0" fmla="*/ 0 w 82"/>
              <a:gd name="T1" fmla="*/ 63 h 112"/>
              <a:gd name="T2" fmla="*/ 9 w 82"/>
              <a:gd name="T3" fmla="*/ 32 h 112"/>
              <a:gd name="T4" fmla="*/ 25 w 82"/>
              <a:gd name="T5" fmla="*/ 0 h 112"/>
              <a:gd name="T6" fmla="*/ 57 w 82"/>
              <a:gd name="T7" fmla="*/ 16 h 112"/>
              <a:gd name="T8" fmla="*/ 81 w 82"/>
              <a:gd name="T9" fmla="*/ 48 h 112"/>
              <a:gd name="T10" fmla="*/ 65 w 82"/>
              <a:gd name="T11" fmla="*/ 79 h 112"/>
              <a:gd name="T12" fmla="*/ 73 w 82"/>
              <a:gd name="T13" fmla="*/ 111 h 112"/>
              <a:gd name="T14" fmla="*/ 41 w 82"/>
              <a:gd name="T15" fmla="*/ 103 h 112"/>
              <a:gd name="T16" fmla="*/ 25 w 82"/>
              <a:gd name="T17" fmla="*/ 63 h 112"/>
              <a:gd name="T18" fmla="*/ 0 w 82"/>
              <a:gd name="T19" fmla="*/ 63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2" h="112">
                <a:moveTo>
                  <a:pt x="0" y="63"/>
                </a:moveTo>
                <a:lnTo>
                  <a:pt x="9" y="32"/>
                </a:lnTo>
                <a:lnTo>
                  <a:pt x="25" y="0"/>
                </a:lnTo>
                <a:lnTo>
                  <a:pt x="57" y="16"/>
                </a:lnTo>
                <a:lnTo>
                  <a:pt x="81" y="48"/>
                </a:lnTo>
                <a:lnTo>
                  <a:pt x="65" y="79"/>
                </a:lnTo>
                <a:lnTo>
                  <a:pt x="73" y="111"/>
                </a:lnTo>
                <a:lnTo>
                  <a:pt x="41" y="103"/>
                </a:lnTo>
                <a:lnTo>
                  <a:pt x="25" y="63"/>
                </a:lnTo>
                <a:lnTo>
                  <a:pt x="0" y="63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77" name="Freeform 169">
            <a:extLst>
              <a:ext uri="{FF2B5EF4-FFF2-40B4-BE49-F238E27FC236}">
                <a16:creationId xmlns:a16="http://schemas.microsoft.com/office/drawing/2014/main" id="{7FEB3B9F-B069-B1AA-06C4-70A5E13DC48B}"/>
              </a:ext>
            </a:extLst>
          </p:cNvPr>
          <p:cNvSpPr>
            <a:spLocks noChangeArrowheads="1"/>
          </p:cNvSpPr>
          <p:nvPr>
            <p:custDataLst>
              <p:tags r:id="rId168"/>
            </p:custDataLst>
          </p:nvPr>
        </p:nvSpPr>
        <p:spPr bwMode="auto">
          <a:xfrm>
            <a:off x="5833956" y="2336470"/>
            <a:ext cx="18112" cy="12678"/>
          </a:xfrm>
          <a:custGeom>
            <a:avLst/>
            <a:gdLst>
              <a:gd name="T0" fmla="*/ 41 w 42"/>
              <a:gd name="T1" fmla="*/ 32 h 33"/>
              <a:gd name="T2" fmla="*/ 33 w 42"/>
              <a:gd name="T3" fmla="*/ 0 h 33"/>
              <a:gd name="T4" fmla="*/ 0 w 42"/>
              <a:gd name="T5" fmla="*/ 0 h 33"/>
              <a:gd name="T6" fmla="*/ 8 w 42"/>
              <a:gd name="T7" fmla="*/ 32 h 33"/>
              <a:gd name="T8" fmla="*/ 41 w 42"/>
              <a:gd name="T9" fmla="*/ 3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" h="33">
                <a:moveTo>
                  <a:pt x="41" y="32"/>
                </a:moveTo>
                <a:lnTo>
                  <a:pt x="33" y="0"/>
                </a:lnTo>
                <a:lnTo>
                  <a:pt x="0" y="0"/>
                </a:lnTo>
                <a:lnTo>
                  <a:pt x="8" y="32"/>
                </a:lnTo>
                <a:lnTo>
                  <a:pt x="41" y="3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78" name="Freeform 170">
            <a:extLst>
              <a:ext uri="{FF2B5EF4-FFF2-40B4-BE49-F238E27FC236}">
                <a16:creationId xmlns:a16="http://schemas.microsoft.com/office/drawing/2014/main" id="{E9A10E14-DB95-84E3-FB84-6E7F2565A5A3}"/>
              </a:ext>
            </a:extLst>
          </p:cNvPr>
          <p:cNvSpPr>
            <a:spLocks noChangeArrowheads="1"/>
          </p:cNvSpPr>
          <p:nvPr>
            <p:custDataLst>
              <p:tags r:id="rId169"/>
            </p:custDataLst>
          </p:nvPr>
        </p:nvSpPr>
        <p:spPr bwMode="auto">
          <a:xfrm>
            <a:off x="4542558" y="4808781"/>
            <a:ext cx="1793105" cy="1432673"/>
          </a:xfrm>
          <a:custGeom>
            <a:avLst/>
            <a:gdLst>
              <a:gd name="T0" fmla="*/ 3661 w 4365"/>
              <a:gd name="T1" fmla="*/ 2382 h 3486"/>
              <a:gd name="T2" fmla="*/ 4012 w 4365"/>
              <a:gd name="T3" fmla="*/ 2342 h 3486"/>
              <a:gd name="T4" fmla="*/ 4135 w 4365"/>
              <a:gd name="T5" fmla="*/ 2231 h 3486"/>
              <a:gd name="T6" fmla="*/ 4053 w 4365"/>
              <a:gd name="T7" fmla="*/ 1263 h 3486"/>
              <a:gd name="T8" fmla="*/ 3530 w 4365"/>
              <a:gd name="T9" fmla="*/ 1652 h 3486"/>
              <a:gd name="T10" fmla="*/ 2999 w 4365"/>
              <a:gd name="T11" fmla="*/ 1977 h 3486"/>
              <a:gd name="T12" fmla="*/ 2697 w 4365"/>
              <a:gd name="T13" fmla="*/ 2731 h 3486"/>
              <a:gd name="T14" fmla="*/ 2214 w 4365"/>
              <a:gd name="T15" fmla="*/ 3080 h 3486"/>
              <a:gd name="T16" fmla="*/ 1806 w 4365"/>
              <a:gd name="T17" fmla="*/ 3358 h 3486"/>
              <a:gd name="T18" fmla="*/ 1095 w 4365"/>
              <a:gd name="T19" fmla="*/ 3271 h 3486"/>
              <a:gd name="T20" fmla="*/ 564 w 4365"/>
              <a:gd name="T21" fmla="*/ 3485 h 3486"/>
              <a:gd name="T22" fmla="*/ 327 w 4365"/>
              <a:gd name="T23" fmla="*/ 3049 h 3486"/>
              <a:gd name="T24" fmla="*/ 16 w 4365"/>
              <a:gd name="T25" fmla="*/ 2747 h 3486"/>
              <a:gd name="T26" fmla="*/ 33 w 4365"/>
              <a:gd name="T27" fmla="*/ 2636 h 3486"/>
              <a:gd name="T28" fmla="*/ 123 w 4365"/>
              <a:gd name="T29" fmla="*/ 2548 h 3486"/>
              <a:gd name="T30" fmla="*/ 212 w 4365"/>
              <a:gd name="T31" fmla="*/ 2509 h 3486"/>
              <a:gd name="T32" fmla="*/ 237 w 4365"/>
              <a:gd name="T33" fmla="*/ 2437 h 3486"/>
              <a:gd name="T34" fmla="*/ 188 w 4365"/>
              <a:gd name="T35" fmla="*/ 2358 h 3486"/>
              <a:gd name="T36" fmla="*/ 180 w 4365"/>
              <a:gd name="T37" fmla="*/ 2287 h 3486"/>
              <a:gd name="T38" fmla="*/ 204 w 4365"/>
              <a:gd name="T39" fmla="*/ 2215 h 3486"/>
              <a:gd name="T40" fmla="*/ 286 w 4365"/>
              <a:gd name="T41" fmla="*/ 2160 h 3486"/>
              <a:gd name="T42" fmla="*/ 351 w 4365"/>
              <a:gd name="T43" fmla="*/ 2088 h 3486"/>
              <a:gd name="T44" fmla="*/ 294 w 4365"/>
              <a:gd name="T45" fmla="*/ 2040 h 3486"/>
              <a:gd name="T46" fmla="*/ 270 w 4365"/>
              <a:gd name="T47" fmla="*/ 1977 h 3486"/>
              <a:gd name="T48" fmla="*/ 261 w 4365"/>
              <a:gd name="T49" fmla="*/ 1906 h 3486"/>
              <a:gd name="T50" fmla="*/ 253 w 4365"/>
              <a:gd name="T51" fmla="*/ 1842 h 3486"/>
              <a:gd name="T52" fmla="*/ 261 w 4365"/>
              <a:gd name="T53" fmla="*/ 1794 h 3486"/>
              <a:gd name="T54" fmla="*/ 376 w 4365"/>
              <a:gd name="T55" fmla="*/ 1810 h 3486"/>
              <a:gd name="T56" fmla="*/ 417 w 4365"/>
              <a:gd name="T57" fmla="*/ 1771 h 3486"/>
              <a:gd name="T58" fmla="*/ 466 w 4365"/>
              <a:gd name="T59" fmla="*/ 1707 h 3486"/>
              <a:gd name="T60" fmla="*/ 449 w 4365"/>
              <a:gd name="T61" fmla="*/ 1612 h 3486"/>
              <a:gd name="T62" fmla="*/ 523 w 4365"/>
              <a:gd name="T63" fmla="*/ 1548 h 3486"/>
              <a:gd name="T64" fmla="*/ 539 w 4365"/>
              <a:gd name="T65" fmla="*/ 1477 h 3486"/>
              <a:gd name="T66" fmla="*/ 572 w 4365"/>
              <a:gd name="T67" fmla="*/ 1389 h 3486"/>
              <a:gd name="T68" fmla="*/ 580 w 4365"/>
              <a:gd name="T69" fmla="*/ 1302 h 3486"/>
              <a:gd name="T70" fmla="*/ 613 w 4365"/>
              <a:gd name="T71" fmla="*/ 1239 h 3486"/>
              <a:gd name="T72" fmla="*/ 711 w 4365"/>
              <a:gd name="T73" fmla="*/ 1183 h 3486"/>
              <a:gd name="T74" fmla="*/ 801 w 4365"/>
              <a:gd name="T75" fmla="*/ 1128 h 3486"/>
              <a:gd name="T76" fmla="*/ 858 w 4365"/>
              <a:gd name="T77" fmla="*/ 1032 h 3486"/>
              <a:gd name="T78" fmla="*/ 768 w 4365"/>
              <a:gd name="T79" fmla="*/ 977 h 3486"/>
              <a:gd name="T80" fmla="*/ 784 w 4365"/>
              <a:gd name="T81" fmla="*/ 889 h 3486"/>
              <a:gd name="T82" fmla="*/ 719 w 4365"/>
              <a:gd name="T83" fmla="*/ 842 h 3486"/>
              <a:gd name="T84" fmla="*/ 645 w 4365"/>
              <a:gd name="T85" fmla="*/ 834 h 3486"/>
              <a:gd name="T86" fmla="*/ 580 w 4365"/>
              <a:gd name="T87" fmla="*/ 850 h 3486"/>
              <a:gd name="T88" fmla="*/ 482 w 4365"/>
              <a:gd name="T89" fmla="*/ 850 h 3486"/>
              <a:gd name="T90" fmla="*/ 449 w 4365"/>
              <a:gd name="T91" fmla="*/ 826 h 3486"/>
              <a:gd name="T92" fmla="*/ 343 w 4365"/>
              <a:gd name="T93" fmla="*/ 810 h 3486"/>
              <a:gd name="T94" fmla="*/ 278 w 4365"/>
              <a:gd name="T95" fmla="*/ 810 h 3486"/>
              <a:gd name="T96" fmla="*/ 261 w 4365"/>
              <a:gd name="T97" fmla="*/ 746 h 3486"/>
              <a:gd name="T98" fmla="*/ 278 w 4365"/>
              <a:gd name="T99" fmla="*/ 675 h 3486"/>
              <a:gd name="T100" fmla="*/ 147 w 4365"/>
              <a:gd name="T101" fmla="*/ 675 h 3486"/>
              <a:gd name="T102" fmla="*/ 65 w 4365"/>
              <a:gd name="T103" fmla="*/ 699 h 3486"/>
              <a:gd name="T104" fmla="*/ 106 w 4365"/>
              <a:gd name="T105" fmla="*/ 516 h 3486"/>
              <a:gd name="T106" fmla="*/ 49 w 4365"/>
              <a:gd name="T107" fmla="*/ 278 h 3486"/>
              <a:gd name="T108" fmla="*/ 286 w 4365"/>
              <a:gd name="T109" fmla="*/ 135 h 3486"/>
              <a:gd name="T110" fmla="*/ 776 w 4365"/>
              <a:gd name="T111" fmla="*/ 143 h 3486"/>
              <a:gd name="T112" fmla="*/ 2018 w 4365"/>
              <a:gd name="T113" fmla="*/ 500 h 3486"/>
              <a:gd name="T114" fmla="*/ 2713 w 4365"/>
              <a:gd name="T115" fmla="*/ 762 h 3486"/>
              <a:gd name="T116" fmla="*/ 3236 w 4365"/>
              <a:gd name="T117" fmla="*/ 913 h 3486"/>
              <a:gd name="T118" fmla="*/ 3465 w 4365"/>
              <a:gd name="T119" fmla="*/ 1088 h 3486"/>
              <a:gd name="T120" fmla="*/ 3481 w 4365"/>
              <a:gd name="T121" fmla="*/ 1120 h 3486"/>
              <a:gd name="T122" fmla="*/ 3808 w 4365"/>
              <a:gd name="T123" fmla="*/ 1207 h 3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365" h="3486">
                <a:moveTo>
                  <a:pt x="3195" y="2612"/>
                </a:moveTo>
                <a:cubicBezTo>
                  <a:pt x="3162" y="2636"/>
                  <a:pt x="3228" y="2675"/>
                  <a:pt x="3244" y="2675"/>
                </a:cubicBezTo>
                <a:cubicBezTo>
                  <a:pt x="3260" y="2675"/>
                  <a:pt x="3358" y="2612"/>
                  <a:pt x="3358" y="2588"/>
                </a:cubicBezTo>
                <a:cubicBezTo>
                  <a:pt x="3350" y="2556"/>
                  <a:pt x="3309" y="2548"/>
                  <a:pt x="3285" y="2548"/>
                </a:cubicBezTo>
                <a:cubicBezTo>
                  <a:pt x="3252" y="2556"/>
                  <a:pt x="3220" y="2588"/>
                  <a:pt x="3195" y="2612"/>
                </a:cubicBezTo>
                <a:close/>
                <a:moveTo>
                  <a:pt x="3661" y="2382"/>
                </a:moveTo>
                <a:cubicBezTo>
                  <a:pt x="3693" y="2390"/>
                  <a:pt x="3726" y="2358"/>
                  <a:pt x="3759" y="2374"/>
                </a:cubicBezTo>
                <a:cubicBezTo>
                  <a:pt x="3775" y="2390"/>
                  <a:pt x="3767" y="2421"/>
                  <a:pt x="3775" y="2445"/>
                </a:cubicBezTo>
                <a:cubicBezTo>
                  <a:pt x="3726" y="2493"/>
                  <a:pt x="3857" y="2485"/>
                  <a:pt x="3865" y="2485"/>
                </a:cubicBezTo>
                <a:cubicBezTo>
                  <a:pt x="3865" y="2501"/>
                  <a:pt x="3881" y="2541"/>
                  <a:pt x="3906" y="2525"/>
                </a:cubicBezTo>
                <a:lnTo>
                  <a:pt x="4037" y="2374"/>
                </a:lnTo>
                <a:cubicBezTo>
                  <a:pt x="4037" y="2358"/>
                  <a:pt x="4028" y="2342"/>
                  <a:pt x="4012" y="2342"/>
                </a:cubicBezTo>
                <a:cubicBezTo>
                  <a:pt x="3979" y="2326"/>
                  <a:pt x="3939" y="2358"/>
                  <a:pt x="3914" y="2342"/>
                </a:cubicBezTo>
                <a:cubicBezTo>
                  <a:pt x="3890" y="2326"/>
                  <a:pt x="3939" y="2263"/>
                  <a:pt x="3906" y="2239"/>
                </a:cubicBezTo>
                <a:cubicBezTo>
                  <a:pt x="3841" y="2191"/>
                  <a:pt x="3816" y="2247"/>
                  <a:pt x="3767" y="2287"/>
                </a:cubicBezTo>
                <a:cubicBezTo>
                  <a:pt x="3734" y="2310"/>
                  <a:pt x="3685" y="2318"/>
                  <a:pt x="3653" y="2350"/>
                </a:cubicBezTo>
                <a:cubicBezTo>
                  <a:pt x="3644" y="2358"/>
                  <a:pt x="3653" y="2382"/>
                  <a:pt x="3661" y="2382"/>
                </a:cubicBezTo>
                <a:close/>
                <a:moveTo>
                  <a:pt x="4135" y="2231"/>
                </a:moveTo>
                <a:cubicBezTo>
                  <a:pt x="4135" y="2279"/>
                  <a:pt x="4216" y="2263"/>
                  <a:pt x="4257" y="2294"/>
                </a:cubicBezTo>
                <a:cubicBezTo>
                  <a:pt x="4274" y="2310"/>
                  <a:pt x="4257" y="2350"/>
                  <a:pt x="4282" y="2358"/>
                </a:cubicBezTo>
                <a:cubicBezTo>
                  <a:pt x="4339" y="2406"/>
                  <a:pt x="4364" y="2318"/>
                  <a:pt x="4314" y="2231"/>
                </a:cubicBezTo>
                <a:cubicBezTo>
                  <a:pt x="4298" y="2215"/>
                  <a:pt x="4274" y="2215"/>
                  <a:pt x="4249" y="2215"/>
                </a:cubicBezTo>
                <a:cubicBezTo>
                  <a:pt x="4208" y="2215"/>
                  <a:pt x="4127" y="2191"/>
                  <a:pt x="4135" y="2231"/>
                </a:cubicBezTo>
                <a:close/>
                <a:moveTo>
                  <a:pt x="4053" y="1263"/>
                </a:moveTo>
                <a:cubicBezTo>
                  <a:pt x="4028" y="1279"/>
                  <a:pt x="4020" y="1239"/>
                  <a:pt x="4004" y="1263"/>
                </a:cubicBezTo>
                <a:cubicBezTo>
                  <a:pt x="3979" y="1294"/>
                  <a:pt x="4045" y="1366"/>
                  <a:pt x="4020" y="1405"/>
                </a:cubicBezTo>
                <a:cubicBezTo>
                  <a:pt x="3988" y="1445"/>
                  <a:pt x="3922" y="1501"/>
                  <a:pt x="3832" y="1517"/>
                </a:cubicBezTo>
                <a:cubicBezTo>
                  <a:pt x="3791" y="1525"/>
                  <a:pt x="3759" y="1564"/>
                  <a:pt x="3726" y="1556"/>
                </a:cubicBezTo>
                <a:cubicBezTo>
                  <a:pt x="3702" y="1556"/>
                  <a:pt x="3644" y="1612"/>
                  <a:pt x="3636" y="1628"/>
                </a:cubicBezTo>
                <a:cubicBezTo>
                  <a:pt x="3620" y="1652"/>
                  <a:pt x="3571" y="1628"/>
                  <a:pt x="3530" y="1652"/>
                </a:cubicBezTo>
                <a:cubicBezTo>
                  <a:pt x="3473" y="1675"/>
                  <a:pt x="3505" y="1644"/>
                  <a:pt x="3301" y="1699"/>
                </a:cubicBezTo>
                <a:cubicBezTo>
                  <a:pt x="3260" y="1707"/>
                  <a:pt x="3228" y="1723"/>
                  <a:pt x="3195" y="1731"/>
                </a:cubicBezTo>
                <a:cubicBezTo>
                  <a:pt x="3162" y="1747"/>
                  <a:pt x="3130" y="1739"/>
                  <a:pt x="3130" y="1802"/>
                </a:cubicBezTo>
                <a:cubicBezTo>
                  <a:pt x="3138" y="1834"/>
                  <a:pt x="3179" y="1810"/>
                  <a:pt x="3170" y="1842"/>
                </a:cubicBezTo>
                <a:cubicBezTo>
                  <a:pt x="3170" y="1866"/>
                  <a:pt x="3113" y="1858"/>
                  <a:pt x="3056" y="1890"/>
                </a:cubicBezTo>
                <a:cubicBezTo>
                  <a:pt x="3032" y="1906"/>
                  <a:pt x="3015" y="1961"/>
                  <a:pt x="2999" y="1977"/>
                </a:cubicBezTo>
                <a:cubicBezTo>
                  <a:pt x="2917" y="2025"/>
                  <a:pt x="2860" y="2128"/>
                  <a:pt x="2860" y="2128"/>
                </a:cubicBezTo>
                <a:cubicBezTo>
                  <a:pt x="2819" y="2167"/>
                  <a:pt x="2770" y="2199"/>
                  <a:pt x="2746" y="2247"/>
                </a:cubicBezTo>
                <a:cubicBezTo>
                  <a:pt x="2688" y="2350"/>
                  <a:pt x="2672" y="2294"/>
                  <a:pt x="2705" y="2421"/>
                </a:cubicBezTo>
                <a:cubicBezTo>
                  <a:pt x="2713" y="2437"/>
                  <a:pt x="2713" y="2493"/>
                  <a:pt x="2737" y="2533"/>
                </a:cubicBezTo>
                <a:cubicBezTo>
                  <a:pt x="2778" y="2588"/>
                  <a:pt x="2868" y="2644"/>
                  <a:pt x="2844" y="2660"/>
                </a:cubicBezTo>
                <a:cubicBezTo>
                  <a:pt x="2827" y="2668"/>
                  <a:pt x="2729" y="2731"/>
                  <a:pt x="2697" y="2731"/>
                </a:cubicBezTo>
                <a:cubicBezTo>
                  <a:pt x="2648" y="2739"/>
                  <a:pt x="2623" y="2771"/>
                  <a:pt x="2558" y="2842"/>
                </a:cubicBezTo>
                <a:cubicBezTo>
                  <a:pt x="2525" y="2866"/>
                  <a:pt x="2517" y="2890"/>
                  <a:pt x="2492" y="2922"/>
                </a:cubicBezTo>
                <a:cubicBezTo>
                  <a:pt x="2451" y="2969"/>
                  <a:pt x="2468" y="2961"/>
                  <a:pt x="2435" y="3017"/>
                </a:cubicBezTo>
                <a:cubicBezTo>
                  <a:pt x="2427" y="3033"/>
                  <a:pt x="2435" y="3088"/>
                  <a:pt x="2435" y="3112"/>
                </a:cubicBezTo>
                <a:lnTo>
                  <a:pt x="2353" y="3120"/>
                </a:lnTo>
                <a:lnTo>
                  <a:pt x="2214" y="3080"/>
                </a:lnTo>
                <a:lnTo>
                  <a:pt x="2133" y="3152"/>
                </a:lnTo>
                <a:cubicBezTo>
                  <a:pt x="2100" y="3176"/>
                  <a:pt x="2051" y="3160"/>
                  <a:pt x="2018" y="3183"/>
                </a:cubicBezTo>
                <a:cubicBezTo>
                  <a:pt x="2018" y="3183"/>
                  <a:pt x="1994" y="3255"/>
                  <a:pt x="1986" y="3271"/>
                </a:cubicBezTo>
                <a:cubicBezTo>
                  <a:pt x="1986" y="3295"/>
                  <a:pt x="1928" y="3358"/>
                  <a:pt x="1928" y="3358"/>
                </a:cubicBezTo>
                <a:cubicBezTo>
                  <a:pt x="1920" y="3366"/>
                  <a:pt x="1879" y="3406"/>
                  <a:pt x="1863" y="3414"/>
                </a:cubicBezTo>
                <a:cubicBezTo>
                  <a:pt x="1839" y="3422"/>
                  <a:pt x="1822" y="3358"/>
                  <a:pt x="1806" y="3358"/>
                </a:cubicBezTo>
                <a:cubicBezTo>
                  <a:pt x="1773" y="3358"/>
                  <a:pt x="1773" y="3350"/>
                  <a:pt x="1740" y="3342"/>
                </a:cubicBezTo>
                <a:cubicBezTo>
                  <a:pt x="1700" y="3342"/>
                  <a:pt x="1691" y="3398"/>
                  <a:pt x="1651" y="3398"/>
                </a:cubicBezTo>
                <a:cubicBezTo>
                  <a:pt x="1585" y="3390"/>
                  <a:pt x="1471" y="3326"/>
                  <a:pt x="1471" y="3326"/>
                </a:cubicBezTo>
                <a:cubicBezTo>
                  <a:pt x="1446" y="3318"/>
                  <a:pt x="1446" y="3350"/>
                  <a:pt x="1422" y="3350"/>
                </a:cubicBezTo>
                <a:cubicBezTo>
                  <a:pt x="1373" y="3342"/>
                  <a:pt x="1307" y="3310"/>
                  <a:pt x="1242" y="3295"/>
                </a:cubicBezTo>
                <a:cubicBezTo>
                  <a:pt x="1193" y="3287"/>
                  <a:pt x="1095" y="3271"/>
                  <a:pt x="1095" y="3271"/>
                </a:cubicBezTo>
                <a:cubicBezTo>
                  <a:pt x="1070" y="3287"/>
                  <a:pt x="1046" y="3287"/>
                  <a:pt x="1021" y="3295"/>
                </a:cubicBezTo>
                <a:cubicBezTo>
                  <a:pt x="989" y="3310"/>
                  <a:pt x="956" y="3334"/>
                  <a:pt x="931" y="3342"/>
                </a:cubicBezTo>
                <a:cubicBezTo>
                  <a:pt x="907" y="3350"/>
                  <a:pt x="858" y="3310"/>
                  <a:pt x="784" y="3350"/>
                </a:cubicBezTo>
                <a:cubicBezTo>
                  <a:pt x="760" y="3358"/>
                  <a:pt x="727" y="3350"/>
                  <a:pt x="711" y="3366"/>
                </a:cubicBezTo>
                <a:cubicBezTo>
                  <a:pt x="686" y="3390"/>
                  <a:pt x="678" y="3422"/>
                  <a:pt x="637" y="3437"/>
                </a:cubicBezTo>
                <a:cubicBezTo>
                  <a:pt x="613" y="3445"/>
                  <a:pt x="580" y="3477"/>
                  <a:pt x="564" y="3485"/>
                </a:cubicBezTo>
                <a:cubicBezTo>
                  <a:pt x="523" y="3461"/>
                  <a:pt x="466" y="3461"/>
                  <a:pt x="449" y="3398"/>
                </a:cubicBezTo>
                <a:cubicBezTo>
                  <a:pt x="441" y="3374"/>
                  <a:pt x="417" y="3398"/>
                  <a:pt x="400" y="3374"/>
                </a:cubicBezTo>
                <a:cubicBezTo>
                  <a:pt x="368" y="3342"/>
                  <a:pt x="343" y="3271"/>
                  <a:pt x="343" y="3239"/>
                </a:cubicBezTo>
                <a:cubicBezTo>
                  <a:pt x="343" y="3239"/>
                  <a:pt x="368" y="3207"/>
                  <a:pt x="343" y="3176"/>
                </a:cubicBezTo>
                <a:cubicBezTo>
                  <a:pt x="327" y="3144"/>
                  <a:pt x="302" y="3136"/>
                  <a:pt x="311" y="3104"/>
                </a:cubicBezTo>
                <a:cubicBezTo>
                  <a:pt x="335" y="3104"/>
                  <a:pt x="327" y="3049"/>
                  <a:pt x="327" y="3049"/>
                </a:cubicBezTo>
                <a:cubicBezTo>
                  <a:pt x="327" y="3033"/>
                  <a:pt x="270" y="2937"/>
                  <a:pt x="253" y="2922"/>
                </a:cubicBezTo>
                <a:cubicBezTo>
                  <a:pt x="212" y="2898"/>
                  <a:pt x="163" y="2866"/>
                  <a:pt x="114" y="2858"/>
                </a:cubicBezTo>
                <a:lnTo>
                  <a:pt x="0" y="2842"/>
                </a:lnTo>
                <a:lnTo>
                  <a:pt x="0" y="2787"/>
                </a:lnTo>
                <a:lnTo>
                  <a:pt x="8" y="2763"/>
                </a:lnTo>
                <a:lnTo>
                  <a:pt x="16" y="2747"/>
                </a:lnTo>
                <a:lnTo>
                  <a:pt x="8" y="2731"/>
                </a:lnTo>
                <a:lnTo>
                  <a:pt x="8" y="2691"/>
                </a:lnTo>
                <a:lnTo>
                  <a:pt x="0" y="2675"/>
                </a:lnTo>
                <a:lnTo>
                  <a:pt x="0" y="2660"/>
                </a:lnTo>
                <a:lnTo>
                  <a:pt x="16" y="2652"/>
                </a:lnTo>
                <a:cubicBezTo>
                  <a:pt x="16" y="2644"/>
                  <a:pt x="33" y="2636"/>
                  <a:pt x="33" y="2636"/>
                </a:cubicBezTo>
                <a:cubicBezTo>
                  <a:pt x="33" y="2636"/>
                  <a:pt x="41" y="2612"/>
                  <a:pt x="41" y="2604"/>
                </a:cubicBezTo>
                <a:lnTo>
                  <a:pt x="49" y="2596"/>
                </a:lnTo>
                <a:lnTo>
                  <a:pt x="74" y="2588"/>
                </a:lnTo>
                <a:lnTo>
                  <a:pt x="90" y="2572"/>
                </a:lnTo>
                <a:lnTo>
                  <a:pt x="106" y="2564"/>
                </a:lnTo>
                <a:lnTo>
                  <a:pt x="123" y="2548"/>
                </a:lnTo>
                <a:lnTo>
                  <a:pt x="131" y="2517"/>
                </a:lnTo>
                <a:lnTo>
                  <a:pt x="139" y="2509"/>
                </a:lnTo>
                <a:lnTo>
                  <a:pt x="180" y="2509"/>
                </a:lnTo>
                <a:lnTo>
                  <a:pt x="180" y="2501"/>
                </a:lnTo>
                <a:lnTo>
                  <a:pt x="196" y="2493"/>
                </a:lnTo>
                <a:lnTo>
                  <a:pt x="212" y="2509"/>
                </a:lnTo>
                <a:lnTo>
                  <a:pt x="237" y="2509"/>
                </a:lnTo>
                <a:lnTo>
                  <a:pt x="237" y="2485"/>
                </a:lnTo>
                <a:lnTo>
                  <a:pt x="270" y="2453"/>
                </a:lnTo>
                <a:lnTo>
                  <a:pt x="270" y="2437"/>
                </a:lnTo>
                <a:cubicBezTo>
                  <a:pt x="262" y="2429"/>
                  <a:pt x="253" y="2437"/>
                  <a:pt x="253" y="2437"/>
                </a:cubicBezTo>
                <a:lnTo>
                  <a:pt x="237" y="2437"/>
                </a:lnTo>
                <a:lnTo>
                  <a:pt x="212" y="2437"/>
                </a:lnTo>
                <a:lnTo>
                  <a:pt x="212" y="2429"/>
                </a:lnTo>
                <a:lnTo>
                  <a:pt x="204" y="2413"/>
                </a:lnTo>
                <a:cubicBezTo>
                  <a:pt x="204" y="2413"/>
                  <a:pt x="196" y="2398"/>
                  <a:pt x="196" y="2390"/>
                </a:cubicBezTo>
                <a:lnTo>
                  <a:pt x="196" y="2366"/>
                </a:lnTo>
                <a:lnTo>
                  <a:pt x="188" y="2358"/>
                </a:lnTo>
                <a:cubicBezTo>
                  <a:pt x="188" y="2358"/>
                  <a:pt x="180" y="2350"/>
                  <a:pt x="180" y="2342"/>
                </a:cubicBezTo>
                <a:lnTo>
                  <a:pt x="172" y="2318"/>
                </a:lnTo>
                <a:lnTo>
                  <a:pt x="163" y="2310"/>
                </a:lnTo>
                <a:lnTo>
                  <a:pt x="172" y="2302"/>
                </a:lnTo>
                <a:lnTo>
                  <a:pt x="163" y="2287"/>
                </a:lnTo>
                <a:lnTo>
                  <a:pt x="180" y="2287"/>
                </a:lnTo>
                <a:lnTo>
                  <a:pt x="172" y="2279"/>
                </a:lnTo>
                <a:lnTo>
                  <a:pt x="180" y="2263"/>
                </a:lnTo>
                <a:lnTo>
                  <a:pt x="196" y="2255"/>
                </a:lnTo>
                <a:lnTo>
                  <a:pt x="212" y="2239"/>
                </a:lnTo>
                <a:lnTo>
                  <a:pt x="204" y="2231"/>
                </a:lnTo>
                <a:lnTo>
                  <a:pt x="204" y="2215"/>
                </a:lnTo>
                <a:lnTo>
                  <a:pt x="221" y="2183"/>
                </a:lnTo>
                <a:lnTo>
                  <a:pt x="229" y="2183"/>
                </a:lnTo>
                <a:lnTo>
                  <a:pt x="253" y="2175"/>
                </a:lnTo>
                <a:lnTo>
                  <a:pt x="261" y="2167"/>
                </a:lnTo>
                <a:lnTo>
                  <a:pt x="270" y="2167"/>
                </a:lnTo>
                <a:lnTo>
                  <a:pt x="286" y="2160"/>
                </a:lnTo>
                <a:lnTo>
                  <a:pt x="302" y="2152"/>
                </a:lnTo>
                <a:lnTo>
                  <a:pt x="311" y="2144"/>
                </a:lnTo>
                <a:lnTo>
                  <a:pt x="311" y="2128"/>
                </a:lnTo>
                <a:lnTo>
                  <a:pt x="319" y="2120"/>
                </a:lnTo>
                <a:lnTo>
                  <a:pt x="335" y="2104"/>
                </a:lnTo>
                <a:lnTo>
                  <a:pt x="351" y="2088"/>
                </a:lnTo>
                <a:lnTo>
                  <a:pt x="351" y="2072"/>
                </a:lnTo>
                <a:lnTo>
                  <a:pt x="343" y="2064"/>
                </a:lnTo>
                <a:cubicBezTo>
                  <a:pt x="343" y="2064"/>
                  <a:pt x="335" y="2048"/>
                  <a:pt x="335" y="2040"/>
                </a:cubicBezTo>
                <a:lnTo>
                  <a:pt x="327" y="2040"/>
                </a:lnTo>
                <a:lnTo>
                  <a:pt x="311" y="2048"/>
                </a:lnTo>
                <a:cubicBezTo>
                  <a:pt x="311" y="2048"/>
                  <a:pt x="302" y="2040"/>
                  <a:pt x="294" y="2040"/>
                </a:cubicBezTo>
                <a:lnTo>
                  <a:pt x="294" y="2033"/>
                </a:lnTo>
                <a:lnTo>
                  <a:pt x="302" y="2025"/>
                </a:lnTo>
                <a:lnTo>
                  <a:pt x="302" y="2009"/>
                </a:lnTo>
                <a:lnTo>
                  <a:pt x="286" y="2009"/>
                </a:lnTo>
                <a:lnTo>
                  <a:pt x="278" y="1993"/>
                </a:lnTo>
                <a:lnTo>
                  <a:pt x="270" y="1977"/>
                </a:lnTo>
                <a:lnTo>
                  <a:pt x="270" y="1961"/>
                </a:lnTo>
                <a:lnTo>
                  <a:pt x="278" y="1953"/>
                </a:lnTo>
                <a:lnTo>
                  <a:pt x="278" y="1945"/>
                </a:lnTo>
                <a:lnTo>
                  <a:pt x="270" y="1937"/>
                </a:lnTo>
                <a:lnTo>
                  <a:pt x="270" y="1921"/>
                </a:lnTo>
                <a:lnTo>
                  <a:pt x="261" y="1906"/>
                </a:lnTo>
                <a:lnTo>
                  <a:pt x="270" y="1898"/>
                </a:lnTo>
                <a:lnTo>
                  <a:pt x="278" y="1890"/>
                </a:lnTo>
                <a:lnTo>
                  <a:pt x="278" y="1874"/>
                </a:lnTo>
                <a:lnTo>
                  <a:pt x="261" y="1866"/>
                </a:lnTo>
                <a:lnTo>
                  <a:pt x="253" y="1850"/>
                </a:lnTo>
                <a:lnTo>
                  <a:pt x="253" y="1842"/>
                </a:lnTo>
                <a:lnTo>
                  <a:pt x="237" y="1826"/>
                </a:lnTo>
                <a:lnTo>
                  <a:pt x="237" y="1810"/>
                </a:lnTo>
                <a:lnTo>
                  <a:pt x="229" y="1794"/>
                </a:lnTo>
                <a:cubicBezTo>
                  <a:pt x="221" y="1786"/>
                  <a:pt x="221" y="1778"/>
                  <a:pt x="221" y="1778"/>
                </a:cubicBezTo>
                <a:lnTo>
                  <a:pt x="253" y="1778"/>
                </a:lnTo>
                <a:lnTo>
                  <a:pt x="261" y="1794"/>
                </a:lnTo>
                <a:lnTo>
                  <a:pt x="270" y="1786"/>
                </a:lnTo>
                <a:lnTo>
                  <a:pt x="270" y="1794"/>
                </a:lnTo>
                <a:lnTo>
                  <a:pt x="335" y="1794"/>
                </a:lnTo>
                <a:lnTo>
                  <a:pt x="343" y="1802"/>
                </a:lnTo>
                <a:cubicBezTo>
                  <a:pt x="351" y="1810"/>
                  <a:pt x="360" y="1802"/>
                  <a:pt x="360" y="1802"/>
                </a:cubicBezTo>
                <a:cubicBezTo>
                  <a:pt x="360" y="1810"/>
                  <a:pt x="376" y="1810"/>
                  <a:pt x="376" y="1810"/>
                </a:cubicBezTo>
                <a:cubicBezTo>
                  <a:pt x="376" y="1810"/>
                  <a:pt x="384" y="1802"/>
                  <a:pt x="392" y="1802"/>
                </a:cubicBezTo>
                <a:lnTo>
                  <a:pt x="400" y="1802"/>
                </a:lnTo>
                <a:lnTo>
                  <a:pt x="409" y="1794"/>
                </a:lnTo>
                <a:lnTo>
                  <a:pt x="409" y="1778"/>
                </a:lnTo>
                <a:lnTo>
                  <a:pt x="417" y="1778"/>
                </a:lnTo>
                <a:lnTo>
                  <a:pt x="417" y="1771"/>
                </a:lnTo>
                <a:lnTo>
                  <a:pt x="425" y="1755"/>
                </a:lnTo>
                <a:lnTo>
                  <a:pt x="425" y="1747"/>
                </a:lnTo>
                <a:lnTo>
                  <a:pt x="441" y="1747"/>
                </a:lnTo>
                <a:lnTo>
                  <a:pt x="449" y="1739"/>
                </a:lnTo>
                <a:lnTo>
                  <a:pt x="458" y="1723"/>
                </a:lnTo>
                <a:lnTo>
                  <a:pt x="466" y="1707"/>
                </a:lnTo>
                <a:lnTo>
                  <a:pt x="474" y="1691"/>
                </a:lnTo>
                <a:lnTo>
                  <a:pt x="482" y="1675"/>
                </a:lnTo>
                <a:lnTo>
                  <a:pt x="474" y="1651"/>
                </a:lnTo>
                <a:lnTo>
                  <a:pt x="466" y="1636"/>
                </a:lnTo>
                <a:lnTo>
                  <a:pt x="458" y="1620"/>
                </a:lnTo>
                <a:cubicBezTo>
                  <a:pt x="458" y="1620"/>
                  <a:pt x="458" y="1612"/>
                  <a:pt x="449" y="1612"/>
                </a:cubicBezTo>
                <a:lnTo>
                  <a:pt x="449" y="1588"/>
                </a:lnTo>
                <a:lnTo>
                  <a:pt x="458" y="1580"/>
                </a:lnTo>
                <a:lnTo>
                  <a:pt x="466" y="1580"/>
                </a:lnTo>
                <a:lnTo>
                  <a:pt x="482" y="1564"/>
                </a:lnTo>
                <a:lnTo>
                  <a:pt x="507" y="1564"/>
                </a:lnTo>
                <a:lnTo>
                  <a:pt x="523" y="1548"/>
                </a:lnTo>
                <a:lnTo>
                  <a:pt x="531" y="1548"/>
                </a:lnTo>
                <a:lnTo>
                  <a:pt x="539" y="1540"/>
                </a:lnTo>
                <a:lnTo>
                  <a:pt x="547" y="1524"/>
                </a:lnTo>
                <a:lnTo>
                  <a:pt x="539" y="1509"/>
                </a:lnTo>
                <a:lnTo>
                  <a:pt x="531" y="1501"/>
                </a:lnTo>
                <a:lnTo>
                  <a:pt x="539" y="1477"/>
                </a:lnTo>
                <a:lnTo>
                  <a:pt x="556" y="1469"/>
                </a:lnTo>
                <a:lnTo>
                  <a:pt x="556" y="1445"/>
                </a:lnTo>
                <a:lnTo>
                  <a:pt x="547" y="1437"/>
                </a:lnTo>
                <a:lnTo>
                  <a:pt x="556" y="1421"/>
                </a:lnTo>
                <a:lnTo>
                  <a:pt x="564" y="1413"/>
                </a:lnTo>
                <a:cubicBezTo>
                  <a:pt x="564" y="1413"/>
                  <a:pt x="572" y="1397"/>
                  <a:pt x="572" y="1389"/>
                </a:cubicBezTo>
                <a:cubicBezTo>
                  <a:pt x="580" y="1389"/>
                  <a:pt x="580" y="1366"/>
                  <a:pt x="580" y="1366"/>
                </a:cubicBezTo>
                <a:lnTo>
                  <a:pt x="572" y="1350"/>
                </a:lnTo>
                <a:lnTo>
                  <a:pt x="572" y="1342"/>
                </a:lnTo>
                <a:lnTo>
                  <a:pt x="588" y="1334"/>
                </a:lnTo>
                <a:cubicBezTo>
                  <a:pt x="596" y="1334"/>
                  <a:pt x="596" y="1310"/>
                  <a:pt x="596" y="1310"/>
                </a:cubicBezTo>
                <a:lnTo>
                  <a:pt x="580" y="1302"/>
                </a:lnTo>
                <a:lnTo>
                  <a:pt x="580" y="1263"/>
                </a:lnTo>
                <a:lnTo>
                  <a:pt x="572" y="1263"/>
                </a:lnTo>
                <a:lnTo>
                  <a:pt x="572" y="1247"/>
                </a:lnTo>
                <a:lnTo>
                  <a:pt x="580" y="1239"/>
                </a:lnTo>
                <a:lnTo>
                  <a:pt x="596" y="1247"/>
                </a:lnTo>
                <a:cubicBezTo>
                  <a:pt x="596" y="1247"/>
                  <a:pt x="605" y="1239"/>
                  <a:pt x="613" y="1239"/>
                </a:cubicBezTo>
                <a:cubicBezTo>
                  <a:pt x="613" y="1231"/>
                  <a:pt x="629" y="1231"/>
                  <a:pt x="629" y="1231"/>
                </a:cubicBezTo>
                <a:lnTo>
                  <a:pt x="637" y="1207"/>
                </a:lnTo>
                <a:lnTo>
                  <a:pt x="670" y="1191"/>
                </a:lnTo>
                <a:lnTo>
                  <a:pt x="670" y="1183"/>
                </a:lnTo>
                <a:lnTo>
                  <a:pt x="695" y="1175"/>
                </a:lnTo>
                <a:lnTo>
                  <a:pt x="711" y="1183"/>
                </a:lnTo>
                <a:lnTo>
                  <a:pt x="727" y="1167"/>
                </a:lnTo>
                <a:lnTo>
                  <a:pt x="735" y="1167"/>
                </a:lnTo>
                <a:lnTo>
                  <a:pt x="752" y="1159"/>
                </a:lnTo>
                <a:lnTo>
                  <a:pt x="768" y="1151"/>
                </a:lnTo>
                <a:lnTo>
                  <a:pt x="793" y="1128"/>
                </a:lnTo>
                <a:lnTo>
                  <a:pt x="801" y="1128"/>
                </a:lnTo>
                <a:lnTo>
                  <a:pt x="817" y="1120"/>
                </a:lnTo>
                <a:lnTo>
                  <a:pt x="825" y="1104"/>
                </a:lnTo>
                <a:lnTo>
                  <a:pt x="842" y="1096"/>
                </a:lnTo>
                <a:lnTo>
                  <a:pt x="858" y="1072"/>
                </a:lnTo>
                <a:lnTo>
                  <a:pt x="874" y="1056"/>
                </a:lnTo>
                <a:lnTo>
                  <a:pt x="858" y="1032"/>
                </a:lnTo>
                <a:cubicBezTo>
                  <a:pt x="858" y="1032"/>
                  <a:pt x="842" y="1016"/>
                  <a:pt x="834" y="1016"/>
                </a:cubicBezTo>
                <a:cubicBezTo>
                  <a:pt x="834" y="1008"/>
                  <a:pt x="817" y="1001"/>
                  <a:pt x="817" y="1001"/>
                </a:cubicBezTo>
                <a:lnTo>
                  <a:pt x="793" y="993"/>
                </a:lnTo>
                <a:lnTo>
                  <a:pt x="776" y="1001"/>
                </a:lnTo>
                <a:lnTo>
                  <a:pt x="768" y="993"/>
                </a:lnTo>
                <a:cubicBezTo>
                  <a:pt x="768" y="993"/>
                  <a:pt x="760" y="977"/>
                  <a:pt x="768" y="977"/>
                </a:cubicBezTo>
                <a:lnTo>
                  <a:pt x="768" y="953"/>
                </a:lnTo>
                <a:lnTo>
                  <a:pt x="776" y="945"/>
                </a:lnTo>
                <a:cubicBezTo>
                  <a:pt x="776" y="945"/>
                  <a:pt x="784" y="937"/>
                  <a:pt x="784" y="929"/>
                </a:cubicBezTo>
                <a:lnTo>
                  <a:pt x="793" y="913"/>
                </a:lnTo>
                <a:cubicBezTo>
                  <a:pt x="793" y="913"/>
                  <a:pt x="784" y="905"/>
                  <a:pt x="784" y="897"/>
                </a:cubicBezTo>
                <a:cubicBezTo>
                  <a:pt x="776" y="897"/>
                  <a:pt x="776" y="897"/>
                  <a:pt x="784" y="889"/>
                </a:cubicBezTo>
                <a:lnTo>
                  <a:pt x="784" y="881"/>
                </a:lnTo>
                <a:cubicBezTo>
                  <a:pt x="784" y="881"/>
                  <a:pt x="784" y="866"/>
                  <a:pt x="776" y="866"/>
                </a:cubicBezTo>
                <a:lnTo>
                  <a:pt x="760" y="874"/>
                </a:lnTo>
                <a:lnTo>
                  <a:pt x="735" y="866"/>
                </a:lnTo>
                <a:lnTo>
                  <a:pt x="727" y="858"/>
                </a:lnTo>
                <a:cubicBezTo>
                  <a:pt x="727" y="858"/>
                  <a:pt x="727" y="842"/>
                  <a:pt x="719" y="842"/>
                </a:cubicBezTo>
                <a:cubicBezTo>
                  <a:pt x="711" y="834"/>
                  <a:pt x="711" y="842"/>
                  <a:pt x="711" y="842"/>
                </a:cubicBezTo>
                <a:lnTo>
                  <a:pt x="703" y="858"/>
                </a:lnTo>
                <a:cubicBezTo>
                  <a:pt x="703" y="858"/>
                  <a:pt x="686" y="858"/>
                  <a:pt x="678" y="850"/>
                </a:cubicBezTo>
                <a:lnTo>
                  <a:pt x="670" y="850"/>
                </a:lnTo>
                <a:cubicBezTo>
                  <a:pt x="662" y="850"/>
                  <a:pt x="662" y="842"/>
                  <a:pt x="662" y="834"/>
                </a:cubicBezTo>
                <a:cubicBezTo>
                  <a:pt x="654" y="826"/>
                  <a:pt x="654" y="834"/>
                  <a:pt x="645" y="834"/>
                </a:cubicBezTo>
                <a:lnTo>
                  <a:pt x="629" y="834"/>
                </a:lnTo>
                <a:lnTo>
                  <a:pt x="613" y="818"/>
                </a:lnTo>
                <a:cubicBezTo>
                  <a:pt x="613" y="810"/>
                  <a:pt x="605" y="810"/>
                  <a:pt x="605" y="810"/>
                </a:cubicBezTo>
                <a:lnTo>
                  <a:pt x="588" y="818"/>
                </a:lnTo>
                <a:lnTo>
                  <a:pt x="588" y="826"/>
                </a:lnTo>
                <a:lnTo>
                  <a:pt x="580" y="850"/>
                </a:lnTo>
                <a:lnTo>
                  <a:pt x="556" y="866"/>
                </a:lnTo>
                <a:cubicBezTo>
                  <a:pt x="556" y="866"/>
                  <a:pt x="531" y="866"/>
                  <a:pt x="523" y="858"/>
                </a:cubicBezTo>
                <a:lnTo>
                  <a:pt x="515" y="858"/>
                </a:lnTo>
                <a:lnTo>
                  <a:pt x="507" y="858"/>
                </a:lnTo>
                <a:lnTo>
                  <a:pt x="490" y="866"/>
                </a:lnTo>
                <a:lnTo>
                  <a:pt x="482" y="850"/>
                </a:lnTo>
                <a:cubicBezTo>
                  <a:pt x="482" y="850"/>
                  <a:pt x="466" y="842"/>
                  <a:pt x="466" y="834"/>
                </a:cubicBezTo>
                <a:lnTo>
                  <a:pt x="466" y="842"/>
                </a:lnTo>
                <a:cubicBezTo>
                  <a:pt x="466" y="842"/>
                  <a:pt x="458" y="850"/>
                  <a:pt x="449" y="850"/>
                </a:cubicBezTo>
                <a:lnTo>
                  <a:pt x="441" y="858"/>
                </a:lnTo>
                <a:cubicBezTo>
                  <a:pt x="433" y="858"/>
                  <a:pt x="441" y="842"/>
                  <a:pt x="441" y="842"/>
                </a:cubicBezTo>
                <a:lnTo>
                  <a:pt x="449" y="826"/>
                </a:lnTo>
                <a:cubicBezTo>
                  <a:pt x="449" y="826"/>
                  <a:pt x="425" y="818"/>
                  <a:pt x="425" y="810"/>
                </a:cubicBezTo>
                <a:cubicBezTo>
                  <a:pt x="417" y="810"/>
                  <a:pt x="408" y="802"/>
                  <a:pt x="408" y="802"/>
                </a:cubicBezTo>
                <a:lnTo>
                  <a:pt x="392" y="802"/>
                </a:lnTo>
                <a:lnTo>
                  <a:pt x="376" y="802"/>
                </a:lnTo>
                <a:cubicBezTo>
                  <a:pt x="376" y="802"/>
                  <a:pt x="368" y="802"/>
                  <a:pt x="359" y="810"/>
                </a:cubicBezTo>
                <a:cubicBezTo>
                  <a:pt x="359" y="810"/>
                  <a:pt x="351" y="818"/>
                  <a:pt x="343" y="810"/>
                </a:cubicBezTo>
                <a:lnTo>
                  <a:pt x="351" y="794"/>
                </a:lnTo>
                <a:lnTo>
                  <a:pt x="351" y="778"/>
                </a:lnTo>
                <a:cubicBezTo>
                  <a:pt x="343" y="770"/>
                  <a:pt x="343" y="786"/>
                  <a:pt x="343" y="786"/>
                </a:cubicBezTo>
                <a:cubicBezTo>
                  <a:pt x="343" y="786"/>
                  <a:pt x="327" y="794"/>
                  <a:pt x="319" y="802"/>
                </a:cubicBezTo>
                <a:lnTo>
                  <a:pt x="310" y="802"/>
                </a:lnTo>
                <a:cubicBezTo>
                  <a:pt x="302" y="802"/>
                  <a:pt x="294" y="810"/>
                  <a:pt x="278" y="810"/>
                </a:cubicBezTo>
                <a:cubicBezTo>
                  <a:pt x="270" y="810"/>
                  <a:pt x="261" y="818"/>
                  <a:pt x="261" y="810"/>
                </a:cubicBezTo>
                <a:cubicBezTo>
                  <a:pt x="253" y="810"/>
                  <a:pt x="253" y="802"/>
                  <a:pt x="253" y="802"/>
                </a:cubicBezTo>
                <a:lnTo>
                  <a:pt x="253" y="786"/>
                </a:lnTo>
                <a:cubicBezTo>
                  <a:pt x="253" y="786"/>
                  <a:pt x="245" y="778"/>
                  <a:pt x="245" y="770"/>
                </a:cubicBezTo>
                <a:cubicBezTo>
                  <a:pt x="237" y="762"/>
                  <a:pt x="245" y="762"/>
                  <a:pt x="245" y="754"/>
                </a:cubicBezTo>
                <a:lnTo>
                  <a:pt x="261" y="746"/>
                </a:lnTo>
                <a:cubicBezTo>
                  <a:pt x="261" y="739"/>
                  <a:pt x="270" y="739"/>
                  <a:pt x="270" y="739"/>
                </a:cubicBezTo>
                <a:lnTo>
                  <a:pt x="294" y="731"/>
                </a:lnTo>
                <a:lnTo>
                  <a:pt x="294" y="699"/>
                </a:lnTo>
                <a:lnTo>
                  <a:pt x="286" y="699"/>
                </a:lnTo>
                <a:cubicBezTo>
                  <a:pt x="278" y="699"/>
                  <a:pt x="278" y="691"/>
                  <a:pt x="278" y="691"/>
                </a:cubicBezTo>
                <a:lnTo>
                  <a:pt x="278" y="675"/>
                </a:lnTo>
                <a:lnTo>
                  <a:pt x="270" y="659"/>
                </a:lnTo>
                <a:lnTo>
                  <a:pt x="237" y="667"/>
                </a:lnTo>
                <a:cubicBezTo>
                  <a:pt x="237" y="667"/>
                  <a:pt x="221" y="675"/>
                  <a:pt x="212" y="675"/>
                </a:cubicBezTo>
                <a:lnTo>
                  <a:pt x="196" y="675"/>
                </a:lnTo>
                <a:cubicBezTo>
                  <a:pt x="188" y="675"/>
                  <a:pt x="180" y="667"/>
                  <a:pt x="180" y="667"/>
                </a:cubicBezTo>
                <a:lnTo>
                  <a:pt x="147" y="675"/>
                </a:lnTo>
                <a:lnTo>
                  <a:pt x="139" y="675"/>
                </a:lnTo>
                <a:lnTo>
                  <a:pt x="122" y="675"/>
                </a:lnTo>
                <a:lnTo>
                  <a:pt x="106" y="683"/>
                </a:lnTo>
                <a:lnTo>
                  <a:pt x="98" y="691"/>
                </a:lnTo>
                <a:lnTo>
                  <a:pt x="90" y="699"/>
                </a:lnTo>
                <a:lnTo>
                  <a:pt x="65" y="699"/>
                </a:lnTo>
                <a:lnTo>
                  <a:pt x="57" y="707"/>
                </a:lnTo>
                <a:cubicBezTo>
                  <a:pt x="57" y="707"/>
                  <a:pt x="41" y="715"/>
                  <a:pt x="33" y="723"/>
                </a:cubicBezTo>
                <a:lnTo>
                  <a:pt x="24" y="683"/>
                </a:lnTo>
                <a:lnTo>
                  <a:pt x="49" y="612"/>
                </a:lnTo>
                <a:lnTo>
                  <a:pt x="90" y="580"/>
                </a:lnTo>
                <a:lnTo>
                  <a:pt x="106" y="516"/>
                </a:lnTo>
                <a:lnTo>
                  <a:pt x="82" y="493"/>
                </a:lnTo>
                <a:cubicBezTo>
                  <a:pt x="82" y="469"/>
                  <a:pt x="155" y="421"/>
                  <a:pt x="147" y="397"/>
                </a:cubicBezTo>
                <a:cubicBezTo>
                  <a:pt x="139" y="373"/>
                  <a:pt x="49" y="445"/>
                  <a:pt x="41" y="421"/>
                </a:cubicBezTo>
                <a:cubicBezTo>
                  <a:pt x="33" y="373"/>
                  <a:pt x="57" y="381"/>
                  <a:pt x="98" y="342"/>
                </a:cubicBezTo>
                <a:lnTo>
                  <a:pt x="49" y="326"/>
                </a:lnTo>
                <a:lnTo>
                  <a:pt x="49" y="278"/>
                </a:lnTo>
                <a:lnTo>
                  <a:pt x="16" y="262"/>
                </a:lnTo>
                <a:cubicBezTo>
                  <a:pt x="16" y="262"/>
                  <a:pt x="24" y="238"/>
                  <a:pt x="24" y="215"/>
                </a:cubicBezTo>
                <a:cubicBezTo>
                  <a:pt x="24" y="191"/>
                  <a:pt x="49" y="183"/>
                  <a:pt x="49" y="183"/>
                </a:cubicBezTo>
                <a:cubicBezTo>
                  <a:pt x="73" y="175"/>
                  <a:pt x="90" y="159"/>
                  <a:pt x="114" y="143"/>
                </a:cubicBezTo>
                <a:cubicBezTo>
                  <a:pt x="139" y="111"/>
                  <a:pt x="163" y="127"/>
                  <a:pt x="180" y="119"/>
                </a:cubicBezTo>
                <a:cubicBezTo>
                  <a:pt x="204" y="104"/>
                  <a:pt x="204" y="119"/>
                  <a:pt x="286" y="135"/>
                </a:cubicBezTo>
                <a:cubicBezTo>
                  <a:pt x="302" y="127"/>
                  <a:pt x="335" y="127"/>
                  <a:pt x="343" y="111"/>
                </a:cubicBezTo>
                <a:cubicBezTo>
                  <a:pt x="359" y="96"/>
                  <a:pt x="384" y="104"/>
                  <a:pt x="384" y="72"/>
                </a:cubicBezTo>
                <a:cubicBezTo>
                  <a:pt x="392" y="24"/>
                  <a:pt x="482" y="56"/>
                  <a:pt x="482" y="40"/>
                </a:cubicBezTo>
                <a:cubicBezTo>
                  <a:pt x="498" y="40"/>
                  <a:pt x="515" y="0"/>
                  <a:pt x="556" y="0"/>
                </a:cubicBezTo>
                <a:cubicBezTo>
                  <a:pt x="588" y="8"/>
                  <a:pt x="596" y="16"/>
                  <a:pt x="621" y="24"/>
                </a:cubicBezTo>
                <a:cubicBezTo>
                  <a:pt x="711" y="80"/>
                  <a:pt x="670" y="111"/>
                  <a:pt x="776" y="143"/>
                </a:cubicBezTo>
                <a:cubicBezTo>
                  <a:pt x="866" y="167"/>
                  <a:pt x="972" y="191"/>
                  <a:pt x="1062" y="207"/>
                </a:cubicBezTo>
                <a:cubicBezTo>
                  <a:pt x="1144" y="215"/>
                  <a:pt x="1226" y="246"/>
                  <a:pt x="1307" y="278"/>
                </a:cubicBezTo>
                <a:cubicBezTo>
                  <a:pt x="1307" y="278"/>
                  <a:pt x="1610" y="413"/>
                  <a:pt x="1618" y="421"/>
                </a:cubicBezTo>
                <a:cubicBezTo>
                  <a:pt x="1626" y="421"/>
                  <a:pt x="1798" y="389"/>
                  <a:pt x="1806" y="389"/>
                </a:cubicBezTo>
                <a:cubicBezTo>
                  <a:pt x="1814" y="389"/>
                  <a:pt x="1871" y="397"/>
                  <a:pt x="1912" y="421"/>
                </a:cubicBezTo>
                <a:cubicBezTo>
                  <a:pt x="1937" y="445"/>
                  <a:pt x="2018" y="500"/>
                  <a:pt x="2018" y="500"/>
                </a:cubicBezTo>
                <a:cubicBezTo>
                  <a:pt x="2035" y="508"/>
                  <a:pt x="2133" y="492"/>
                  <a:pt x="2133" y="492"/>
                </a:cubicBezTo>
                <a:cubicBezTo>
                  <a:pt x="2198" y="492"/>
                  <a:pt x="2255" y="564"/>
                  <a:pt x="2288" y="572"/>
                </a:cubicBezTo>
                <a:cubicBezTo>
                  <a:pt x="2329" y="580"/>
                  <a:pt x="2427" y="532"/>
                  <a:pt x="2468" y="572"/>
                </a:cubicBezTo>
                <a:cubicBezTo>
                  <a:pt x="2468" y="572"/>
                  <a:pt x="2549" y="580"/>
                  <a:pt x="2558" y="619"/>
                </a:cubicBezTo>
                <a:cubicBezTo>
                  <a:pt x="2574" y="659"/>
                  <a:pt x="2607" y="723"/>
                  <a:pt x="2607" y="723"/>
                </a:cubicBezTo>
                <a:lnTo>
                  <a:pt x="2713" y="762"/>
                </a:lnTo>
                <a:cubicBezTo>
                  <a:pt x="2713" y="762"/>
                  <a:pt x="2770" y="810"/>
                  <a:pt x="2778" y="826"/>
                </a:cubicBezTo>
                <a:cubicBezTo>
                  <a:pt x="2786" y="834"/>
                  <a:pt x="2909" y="873"/>
                  <a:pt x="2909" y="873"/>
                </a:cubicBezTo>
                <a:lnTo>
                  <a:pt x="2991" y="945"/>
                </a:lnTo>
                <a:lnTo>
                  <a:pt x="3113" y="945"/>
                </a:lnTo>
                <a:lnTo>
                  <a:pt x="3195" y="961"/>
                </a:lnTo>
                <a:lnTo>
                  <a:pt x="3236" y="913"/>
                </a:lnTo>
                <a:cubicBezTo>
                  <a:pt x="3236" y="913"/>
                  <a:pt x="3440" y="1008"/>
                  <a:pt x="3448" y="1008"/>
                </a:cubicBezTo>
                <a:cubicBezTo>
                  <a:pt x="3456" y="1008"/>
                  <a:pt x="3456" y="1032"/>
                  <a:pt x="3465" y="1056"/>
                </a:cubicBezTo>
                <a:lnTo>
                  <a:pt x="3465" y="1064"/>
                </a:lnTo>
                <a:cubicBezTo>
                  <a:pt x="3456" y="1064"/>
                  <a:pt x="3465" y="1064"/>
                  <a:pt x="3465" y="1064"/>
                </a:cubicBezTo>
                <a:lnTo>
                  <a:pt x="3465" y="1080"/>
                </a:lnTo>
                <a:lnTo>
                  <a:pt x="3465" y="1088"/>
                </a:lnTo>
                <a:lnTo>
                  <a:pt x="3456" y="1088"/>
                </a:lnTo>
                <a:lnTo>
                  <a:pt x="3465" y="1096"/>
                </a:lnTo>
                <a:lnTo>
                  <a:pt x="3465" y="1104"/>
                </a:lnTo>
                <a:lnTo>
                  <a:pt x="3465" y="1112"/>
                </a:lnTo>
                <a:lnTo>
                  <a:pt x="3473" y="1112"/>
                </a:lnTo>
                <a:lnTo>
                  <a:pt x="3481" y="1120"/>
                </a:lnTo>
                <a:lnTo>
                  <a:pt x="3497" y="1120"/>
                </a:lnTo>
                <a:cubicBezTo>
                  <a:pt x="3497" y="1120"/>
                  <a:pt x="3505" y="1120"/>
                  <a:pt x="3505" y="1112"/>
                </a:cubicBezTo>
                <a:lnTo>
                  <a:pt x="3612" y="1135"/>
                </a:lnTo>
                <a:cubicBezTo>
                  <a:pt x="3636" y="1143"/>
                  <a:pt x="3636" y="1159"/>
                  <a:pt x="3661" y="1175"/>
                </a:cubicBezTo>
                <a:lnTo>
                  <a:pt x="3726" y="1151"/>
                </a:lnTo>
                <a:lnTo>
                  <a:pt x="3808" y="1207"/>
                </a:lnTo>
                <a:lnTo>
                  <a:pt x="3881" y="1183"/>
                </a:lnTo>
                <a:lnTo>
                  <a:pt x="3955" y="1183"/>
                </a:lnTo>
                <a:cubicBezTo>
                  <a:pt x="3955" y="1167"/>
                  <a:pt x="4127" y="1183"/>
                  <a:pt x="4053" y="1263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79" name="Freeform 171">
            <a:extLst>
              <a:ext uri="{FF2B5EF4-FFF2-40B4-BE49-F238E27FC236}">
                <a16:creationId xmlns:a16="http://schemas.microsoft.com/office/drawing/2014/main" id="{C1DCEAF3-0F29-9AF9-5C7E-BF3F8E2F9DB5}"/>
              </a:ext>
            </a:extLst>
          </p:cNvPr>
          <p:cNvSpPr>
            <a:spLocks noChangeArrowheads="1"/>
          </p:cNvSpPr>
          <p:nvPr>
            <p:custDataLst>
              <p:tags r:id="rId170"/>
            </p:custDataLst>
          </p:nvPr>
        </p:nvSpPr>
        <p:spPr bwMode="auto">
          <a:xfrm>
            <a:off x="5841200" y="5855664"/>
            <a:ext cx="81505" cy="52526"/>
          </a:xfrm>
          <a:custGeom>
            <a:avLst/>
            <a:gdLst>
              <a:gd name="T0" fmla="*/ 33 w 197"/>
              <a:gd name="T1" fmla="*/ 64 h 128"/>
              <a:gd name="T2" fmla="*/ 82 w 197"/>
              <a:gd name="T3" fmla="*/ 127 h 128"/>
              <a:gd name="T4" fmla="*/ 196 w 197"/>
              <a:gd name="T5" fmla="*/ 40 h 128"/>
              <a:gd name="T6" fmla="*/ 123 w 197"/>
              <a:gd name="T7" fmla="*/ 0 h 128"/>
              <a:gd name="T8" fmla="*/ 33 w 197"/>
              <a:gd name="T9" fmla="*/ 64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7" h="128">
                <a:moveTo>
                  <a:pt x="33" y="64"/>
                </a:moveTo>
                <a:cubicBezTo>
                  <a:pt x="0" y="88"/>
                  <a:pt x="66" y="127"/>
                  <a:pt x="82" y="127"/>
                </a:cubicBezTo>
                <a:cubicBezTo>
                  <a:pt x="98" y="127"/>
                  <a:pt x="196" y="64"/>
                  <a:pt x="196" y="40"/>
                </a:cubicBezTo>
                <a:cubicBezTo>
                  <a:pt x="188" y="8"/>
                  <a:pt x="147" y="0"/>
                  <a:pt x="123" y="0"/>
                </a:cubicBezTo>
                <a:cubicBezTo>
                  <a:pt x="90" y="8"/>
                  <a:pt x="58" y="40"/>
                  <a:pt x="33" y="64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80" name="Freeform 172">
            <a:extLst>
              <a:ext uri="{FF2B5EF4-FFF2-40B4-BE49-F238E27FC236}">
                <a16:creationId xmlns:a16="http://schemas.microsoft.com/office/drawing/2014/main" id="{A8623C5F-399B-3759-7636-57A9F9A01833}"/>
              </a:ext>
            </a:extLst>
          </p:cNvPr>
          <p:cNvSpPr>
            <a:spLocks noChangeArrowheads="1"/>
          </p:cNvSpPr>
          <p:nvPr>
            <p:custDataLst>
              <p:tags r:id="rId171"/>
            </p:custDataLst>
          </p:nvPr>
        </p:nvSpPr>
        <p:spPr bwMode="auto">
          <a:xfrm>
            <a:off x="6038624" y="5708956"/>
            <a:ext cx="161198" cy="144897"/>
          </a:xfrm>
          <a:custGeom>
            <a:avLst/>
            <a:gdLst>
              <a:gd name="T0" fmla="*/ 17 w 394"/>
              <a:gd name="T1" fmla="*/ 191 h 351"/>
              <a:gd name="T2" fmla="*/ 115 w 394"/>
              <a:gd name="T3" fmla="*/ 183 h 351"/>
              <a:gd name="T4" fmla="*/ 131 w 394"/>
              <a:gd name="T5" fmla="*/ 254 h 351"/>
              <a:gd name="T6" fmla="*/ 221 w 394"/>
              <a:gd name="T7" fmla="*/ 294 h 351"/>
              <a:gd name="T8" fmla="*/ 262 w 394"/>
              <a:gd name="T9" fmla="*/ 334 h 351"/>
              <a:gd name="T10" fmla="*/ 393 w 394"/>
              <a:gd name="T11" fmla="*/ 183 h 351"/>
              <a:gd name="T12" fmla="*/ 368 w 394"/>
              <a:gd name="T13" fmla="*/ 151 h 351"/>
              <a:gd name="T14" fmla="*/ 270 w 394"/>
              <a:gd name="T15" fmla="*/ 151 h 351"/>
              <a:gd name="T16" fmla="*/ 262 w 394"/>
              <a:gd name="T17" fmla="*/ 48 h 351"/>
              <a:gd name="T18" fmla="*/ 123 w 394"/>
              <a:gd name="T19" fmla="*/ 96 h 351"/>
              <a:gd name="T20" fmla="*/ 9 w 394"/>
              <a:gd name="T21" fmla="*/ 159 h 351"/>
              <a:gd name="T22" fmla="*/ 17 w 394"/>
              <a:gd name="T23" fmla="*/ 191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4" h="351">
                <a:moveTo>
                  <a:pt x="17" y="191"/>
                </a:moveTo>
                <a:cubicBezTo>
                  <a:pt x="49" y="199"/>
                  <a:pt x="82" y="167"/>
                  <a:pt x="115" y="183"/>
                </a:cubicBezTo>
                <a:cubicBezTo>
                  <a:pt x="131" y="199"/>
                  <a:pt x="123" y="230"/>
                  <a:pt x="131" y="254"/>
                </a:cubicBezTo>
                <a:cubicBezTo>
                  <a:pt x="82" y="302"/>
                  <a:pt x="213" y="294"/>
                  <a:pt x="221" y="294"/>
                </a:cubicBezTo>
                <a:cubicBezTo>
                  <a:pt x="221" y="310"/>
                  <a:pt x="237" y="350"/>
                  <a:pt x="262" y="334"/>
                </a:cubicBezTo>
                <a:lnTo>
                  <a:pt x="393" y="183"/>
                </a:lnTo>
                <a:cubicBezTo>
                  <a:pt x="393" y="167"/>
                  <a:pt x="384" y="151"/>
                  <a:pt x="368" y="151"/>
                </a:cubicBezTo>
                <a:cubicBezTo>
                  <a:pt x="335" y="135"/>
                  <a:pt x="295" y="167"/>
                  <a:pt x="270" y="151"/>
                </a:cubicBezTo>
                <a:cubicBezTo>
                  <a:pt x="246" y="135"/>
                  <a:pt x="295" y="72"/>
                  <a:pt x="262" y="48"/>
                </a:cubicBezTo>
                <a:cubicBezTo>
                  <a:pt x="197" y="0"/>
                  <a:pt x="172" y="56"/>
                  <a:pt x="123" y="96"/>
                </a:cubicBezTo>
                <a:cubicBezTo>
                  <a:pt x="90" y="119"/>
                  <a:pt x="41" y="127"/>
                  <a:pt x="9" y="159"/>
                </a:cubicBezTo>
                <a:cubicBezTo>
                  <a:pt x="0" y="167"/>
                  <a:pt x="9" y="191"/>
                  <a:pt x="17" y="191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81" name="Freeform 173">
            <a:extLst>
              <a:ext uri="{FF2B5EF4-FFF2-40B4-BE49-F238E27FC236}">
                <a16:creationId xmlns:a16="http://schemas.microsoft.com/office/drawing/2014/main" id="{90FBC564-BCEE-1C70-7BC4-EE9022C364D4}"/>
              </a:ext>
            </a:extLst>
          </p:cNvPr>
          <p:cNvSpPr>
            <a:spLocks noChangeArrowheads="1"/>
          </p:cNvSpPr>
          <p:nvPr>
            <p:custDataLst>
              <p:tags r:id="rId172"/>
            </p:custDataLst>
          </p:nvPr>
        </p:nvSpPr>
        <p:spPr bwMode="auto">
          <a:xfrm>
            <a:off x="6237857" y="5708956"/>
            <a:ext cx="97806" cy="88749"/>
          </a:xfrm>
          <a:custGeom>
            <a:avLst/>
            <a:gdLst>
              <a:gd name="T0" fmla="*/ 8 w 238"/>
              <a:gd name="T1" fmla="*/ 40 h 216"/>
              <a:gd name="T2" fmla="*/ 130 w 238"/>
              <a:gd name="T3" fmla="*/ 103 h 216"/>
              <a:gd name="T4" fmla="*/ 155 w 238"/>
              <a:gd name="T5" fmla="*/ 167 h 216"/>
              <a:gd name="T6" fmla="*/ 187 w 238"/>
              <a:gd name="T7" fmla="*/ 40 h 216"/>
              <a:gd name="T8" fmla="*/ 122 w 238"/>
              <a:gd name="T9" fmla="*/ 24 h 216"/>
              <a:gd name="T10" fmla="*/ 8 w 238"/>
              <a:gd name="T11" fmla="*/ 4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8" h="216">
                <a:moveTo>
                  <a:pt x="8" y="40"/>
                </a:moveTo>
                <a:cubicBezTo>
                  <a:pt x="8" y="88"/>
                  <a:pt x="89" y="72"/>
                  <a:pt x="130" y="103"/>
                </a:cubicBezTo>
                <a:cubicBezTo>
                  <a:pt x="147" y="119"/>
                  <a:pt x="130" y="159"/>
                  <a:pt x="155" y="167"/>
                </a:cubicBezTo>
                <a:cubicBezTo>
                  <a:pt x="212" y="215"/>
                  <a:pt x="237" y="127"/>
                  <a:pt x="187" y="40"/>
                </a:cubicBezTo>
                <a:cubicBezTo>
                  <a:pt x="171" y="24"/>
                  <a:pt x="147" y="24"/>
                  <a:pt x="122" y="24"/>
                </a:cubicBezTo>
                <a:cubicBezTo>
                  <a:pt x="81" y="24"/>
                  <a:pt x="0" y="0"/>
                  <a:pt x="8" y="40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82" name="Freeform 174">
            <a:extLst>
              <a:ext uri="{FF2B5EF4-FFF2-40B4-BE49-F238E27FC236}">
                <a16:creationId xmlns:a16="http://schemas.microsoft.com/office/drawing/2014/main" id="{890A01B9-C2B0-6F84-483E-5E9C1C323B27}"/>
              </a:ext>
            </a:extLst>
          </p:cNvPr>
          <p:cNvSpPr>
            <a:spLocks noChangeArrowheads="1"/>
          </p:cNvSpPr>
          <p:nvPr>
            <p:custDataLst>
              <p:tags r:id="rId173"/>
            </p:custDataLst>
          </p:nvPr>
        </p:nvSpPr>
        <p:spPr bwMode="auto">
          <a:xfrm>
            <a:off x="4542558" y="4808781"/>
            <a:ext cx="1695299" cy="1432673"/>
          </a:xfrm>
          <a:custGeom>
            <a:avLst/>
            <a:gdLst>
              <a:gd name="T0" fmla="*/ 3636 w 4128"/>
              <a:gd name="T1" fmla="*/ 1628 h 3486"/>
              <a:gd name="T2" fmla="*/ 3056 w 4128"/>
              <a:gd name="T3" fmla="*/ 1890 h 3486"/>
              <a:gd name="T4" fmla="*/ 2844 w 4128"/>
              <a:gd name="T5" fmla="*/ 2660 h 3486"/>
              <a:gd name="T6" fmla="*/ 2353 w 4128"/>
              <a:gd name="T7" fmla="*/ 3120 h 3486"/>
              <a:gd name="T8" fmla="*/ 1863 w 4128"/>
              <a:gd name="T9" fmla="*/ 3414 h 3486"/>
              <a:gd name="T10" fmla="*/ 1242 w 4128"/>
              <a:gd name="T11" fmla="*/ 3295 h 3486"/>
              <a:gd name="T12" fmla="*/ 637 w 4128"/>
              <a:gd name="T13" fmla="*/ 3437 h 3486"/>
              <a:gd name="T14" fmla="*/ 311 w 4128"/>
              <a:gd name="T15" fmla="*/ 3104 h 3486"/>
              <a:gd name="T16" fmla="*/ 8 w 4128"/>
              <a:gd name="T17" fmla="*/ 2763 h 3486"/>
              <a:gd name="T18" fmla="*/ 16 w 4128"/>
              <a:gd name="T19" fmla="*/ 2652 h 3486"/>
              <a:gd name="T20" fmla="*/ 106 w 4128"/>
              <a:gd name="T21" fmla="*/ 2564 h 3486"/>
              <a:gd name="T22" fmla="*/ 196 w 4128"/>
              <a:gd name="T23" fmla="*/ 2493 h 3486"/>
              <a:gd name="T24" fmla="*/ 253 w 4128"/>
              <a:gd name="T25" fmla="*/ 2437 h 3486"/>
              <a:gd name="T26" fmla="*/ 196 w 4128"/>
              <a:gd name="T27" fmla="*/ 2366 h 3486"/>
              <a:gd name="T28" fmla="*/ 163 w 4128"/>
              <a:gd name="T29" fmla="*/ 2287 h 3486"/>
              <a:gd name="T30" fmla="*/ 204 w 4128"/>
              <a:gd name="T31" fmla="*/ 2231 h 3486"/>
              <a:gd name="T32" fmla="*/ 270 w 4128"/>
              <a:gd name="T33" fmla="*/ 2167 h 3486"/>
              <a:gd name="T34" fmla="*/ 335 w 4128"/>
              <a:gd name="T35" fmla="*/ 2104 h 3486"/>
              <a:gd name="T36" fmla="*/ 311 w 4128"/>
              <a:gd name="T37" fmla="*/ 2048 h 3486"/>
              <a:gd name="T38" fmla="*/ 278 w 4128"/>
              <a:gd name="T39" fmla="*/ 1993 h 3486"/>
              <a:gd name="T40" fmla="*/ 270 w 4128"/>
              <a:gd name="T41" fmla="*/ 1921 h 3486"/>
              <a:gd name="T42" fmla="*/ 253 w 4128"/>
              <a:gd name="T43" fmla="*/ 1850 h 3486"/>
              <a:gd name="T44" fmla="*/ 253 w 4128"/>
              <a:gd name="T45" fmla="*/ 1778 h 3486"/>
              <a:gd name="T46" fmla="*/ 360 w 4128"/>
              <a:gd name="T47" fmla="*/ 1802 h 3486"/>
              <a:gd name="T48" fmla="*/ 417 w 4128"/>
              <a:gd name="T49" fmla="*/ 1778 h 3486"/>
              <a:gd name="T50" fmla="*/ 458 w 4128"/>
              <a:gd name="T51" fmla="*/ 1723 h 3486"/>
              <a:gd name="T52" fmla="*/ 458 w 4128"/>
              <a:gd name="T53" fmla="*/ 1620 h 3486"/>
              <a:gd name="T54" fmla="*/ 507 w 4128"/>
              <a:gd name="T55" fmla="*/ 1564 h 3486"/>
              <a:gd name="T56" fmla="*/ 531 w 4128"/>
              <a:gd name="T57" fmla="*/ 1501 h 3486"/>
              <a:gd name="T58" fmla="*/ 564 w 4128"/>
              <a:gd name="T59" fmla="*/ 1413 h 3486"/>
              <a:gd name="T60" fmla="*/ 596 w 4128"/>
              <a:gd name="T61" fmla="*/ 1310 h 3486"/>
              <a:gd name="T62" fmla="*/ 596 w 4128"/>
              <a:gd name="T63" fmla="*/ 1247 h 3486"/>
              <a:gd name="T64" fmla="*/ 695 w 4128"/>
              <a:gd name="T65" fmla="*/ 1175 h 3486"/>
              <a:gd name="T66" fmla="*/ 793 w 4128"/>
              <a:gd name="T67" fmla="*/ 1128 h 3486"/>
              <a:gd name="T68" fmla="*/ 874 w 4128"/>
              <a:gd name="T69" fmla="*/ 1056 h 3486"/>
              <a:gd name="T70" fmla="*/ 768 w 4128"/>
              <a:gd name="T71" fmla="*/ 993 h 3486"/>
              <a:gd name="T72" fmla="*/ 784 w 4128"/>
              <a:gd name="T73" fmla="*/ 897 h 3486"/>
              <a:gd name="T74" fmla="*/ 727 w 4128"/>
              <a:gd name="T75" fmla="*/ 858 h 3486"/>
              <a:gd name="T76" fmla="*/ 662 w 4128"/>
              <a:gd name="T77" fmla="*/ 834 h 3486"/>
              <a:gd name="T78" fmla="*/ 588 w 4128"/>
              <a:gd name="T79" fmla="*/ 826 h 3486"/>
              <a:gd name="T80" fmla="*/ 490 w 4128"/>
              <a:gd name="T81" fmla="*/ 866 h 3486"/>
              <a:gd name="T82" fmla="*/ 441 w 4128"/>
              <a:gd name="T83" fmla="*/ 842 h 3486"/>
              <a:gd name="T84" fmla="*/ 359 w 4128"/>
              <a:gd name="T85" fmla="*/ 810 h 3486"/>
              <a:gd name="T86" fmla="*/ 310 w 4128"/>
              <a:gd name="T87" fmla="*/ 802 h 3486"/>
              <a:gd name="T88" fmla="*/ 245 w 4128"/>
              <a:gd name="T89" fmla="*/ 754 h 3486"/>
              <a:gd name="T90" fmla="*/ 278 w 4128"/>
              <a:gd name="T91" fmla="*/ 691 h 3486"/>
              <a:gd name="T92" fmla="*/ 180 w 4128"/>
              <a:gd name="T93" fmla="*/ 667 h 3486"/>
              <a:gd name="T94" fmla="*/ 90 w 4128"/>
              <a:gd name="T95" fmla="*/ 699 h 3486"/>
              <a:gd name="T96" fmla="*/ 90 w 4128"/>
              <a:gd name="T97" fmla="*/ 580 h 3486"/>
              <a:gd name="T98" fmla="*/ 49 w 4128"/>
              <a:gd name="T99" fmla="*/ 326 h 3486"/>
              <a:gd name="T100" fmla="*/ 180 w 4128"/>
              <a:gd name="T101" fmla="*/ 119 h 3486"/>
              <a:gd name="T102" fmla="*/ 621 w 4128"/>
              <a:gd name="T103" fmla="*/ 24 h 3486"/>
              <a:gd name="T104" fmla="*/ 1912 w 4128"/>
              <a:gd name="T105" fmla="*/ 421 h 3486"/>
              <a:gd name="T106" fmla="*/ 2607 w 4128"/>
              <a:gd name="T107" fmla="*/ 723 h 3486"/>
              <a:gd name="T108" fmla="*/ 3195 w 4128"/>
              <a:gd name="T109" fmla="*/ 961 h 3486"/>
              <a:gd name="T110" fmla="*/ 3465 w 4128"/>
              <a:gd name="T111" fmla="*/ 1080 h 3486"/>
              <a:gd name="T112" fmla="*/ 3473 w 4128"/>
              <a:gd name="T113" fmla="*/ 1112 h 3486"/>
              <a:gd name="T114" fmla="*/ 3726 w 4128"/>
              <a:gd name="T115" fmla="*/ 1151 h 3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128" h="3486">
                <a:moveTo>
                  <a:pt x="4053" y="1263"/>
                </a:moveTo>
                <a:cubicBezTo>
                  <a:pt x="4028" y="1279"/>
                  <a:pt x="4020" y="1239"/>
                  <a:pt x="4004" y="1263"/>
                </a:cubicBezTo>
                <a:cubicBezTo>
                  <a:pt x="3979" y="1294"/>
                  <a:pt x="4045" y="1366"/>
                  <a:pt x="4020" y="1405"/>
                </a:cubicBezTo>
                <a:cubicBezTo>
                  <a:pt x="3988" y="1445"/>
                  <a:pt x="3922" y="1501"/>
                  <a:pt x="3832" y="1517"/>
                </a:cubicBezTo>
                <a:cubicBezTo>
                  <a:pt x="3791" y="1525"/>
                  <a:pt x="3759" y="1564"/>
                  <a:pt x="3726" y="1556"/>
                </a:cubicBezTo>
                <a:cubicBezTo>
                  <a:pt x="3702" y="1556"/>
                  <a:pt x="3644" y="1612"/>
                  <a:pt x="3636" y="1628"/>
                </a:cubicBezTo>
                <a:cubicBezTo>
                  <a:pt x="3620" y="1652"/>
                  <a:pt x="3571" y="1628"/>
                  <a:pt x="3530" y="1652"/>
                </a:cubicBezTo>
                <a:cubicBezTo>
                  <a:pt x="3473" y="1675"/>
                  <a:pt x="3505" y="1644"/>
                  <a:pt x="3301" y="1699"/>
                </a:cubicBezTo>
                <a:cubicBezTo>
                  <a:pt x="3260" y="1707"/>
                  <a:pt x="3228" y="1723"/>
                  <a:pt x="3195" y="1731"/>
                </a:cubicBezTo>
                <a:cubicBezTo>
                  <a:pt x="3162" y="1747"/>
                  <a:pt x="3130" y="1739"/>
                  <a:pt x="3130" y="1802"/>
                </a:cubicBezTo>
                <a:cubicBezTo>
                  <a:pt x="3138" y="1834"/>
                  <a:pt x="3179" y="1810"/>
                  <a:pt x="3170" y="1842"/>
                </a:cubicBezTo>
                <a:cubicBezTo>
                  <a:pt x="3170" y="1866"/>
                  <a:pt x="3113" y="1858"/>
                  <a:pt x="3056" y="1890"/>
                </a:cubicBezTo>
                <a:cubicBezTo>
                  <a:pt x="3032" y="1906"/>
                  <a:pt x="3015" y="1961"/>
                  <a:pt x="2999" y="1977"/>
                </a:cubicBezTo>
                <a:cubicBezTo>
                  <a:pt x="2917" y="2025"/>
                  <a:pt x="2860" y="2128"/>
                  <a:pt x="2860" y="2128"/>
                </a:cubicBezTo>
                <a:cubicBezTo>
                  <a:pt x="2819" y="2167"/>
                  <a:pt x="2770" y="2199"/>
                  <a:pt x="2746" y="2247"/>
                </a:cubicBezTo>
                <a:cubicBezTo>
                  <a:pt x="2688" y="2350"/>
                  <a:pt x="2672" y="2294"/>
                  <a:pt x="2705" y="2421"/>
                </a:cubicBezTo>
                <a:cubicBezTo>
                  <a:pt x="2713" y="2437"/>
                  <a:pt x="2713" y="2493"/>
                  <a:pt x="2737" y="2533"/>
                </a:cubicBezTo>
                <a:cubicBezTo>
                  <a:pt x="2778" y="2588"/>
                  <a:pt x="2868" y="2644"/>
                  <a:pt x="2844" y="2660"/>
                </a:cubicBezTo>
                <a:cubicBezTo>
                  <a:pt x="2827" y="2668"/>
                  <a:pt x="2729" y="2731"/>
                  <a:pt x="2697" y="2731"/>
                </a:cubicBezTo>
                <a:cubicBezTo>
                  <a:pt x="2648" y="2739"/>
                  <a:pt x="2623" y="2771"/>
                  <a:pt x="2558" y="2842"/>
                </a:cubicBezTo>
                <a:cubicBezTo>
                  <a:pt x="2525" y="2866"/>
                  <a:pt x="2517" y="2890"/>
                  <a:pt x="2492" y="2922"/>
                </a:cubicBezTo>
                <a:cubicBezTo>
                  <a:pt x="2451" y="2969"/>
                  <a:pt x="2468" y="2961"/>
                  <a:pt x="2435" y="3017"/>
                </a:cubicBezTo>
                <a:cubicBezTo>
                  <a:pt x="2427" y="3033"/>
                  <a:pt x="2435" y="3088"/>
                  <a:pt x="2435" y="3112"/>
                </a:cubicBezTo>
                <a:lnTo>
                  <a:pt x="2353" y="3120"/>
                </a:lnTo>
                <a:lnTo>
                  <a:pt x="2214" y="3080"/>
                </a:lnTo>
                <a:lnTo>
                  <a:pt x="2133" y="3152"/>
                </a:lnTo>
                <a:cubicBezTo>
                  <a:pt x="2100" y="3176"/>
                  <a:pt x="2051" y="3160"/>
                  <a:pt x="2018" y="3183"/>
                </a:cubicBezTo>
                <a:cubicBezTo>
                  <a:pt x="2018" y="3183"/>
                  <a:pt x="1994" y="3255"/>
                  <a:pt x="1986" y="3271"/>
                </a:cubicBezTo>
                <a:cubicBezTo>
                  <a:pt x="1986" y="3295"/>
                  <a:pt x="1928" y="3358"/>
                  <a:pt x="1928" y="3358"/>
                </a:cubicBezTo>
                <a:cubicBezTo>
                  <a:pt x="1920" y="3366"/>
                  <a:pt x="1879" y="3406"/>
                  <a:pt x="1863" y="3414"/>
                </a:cubicBezTo>
                <a:cubicBezTo>
                  <a:pt x="1839" y="3422"/>
                  <a:pt x="1822" y="3358"/>
                  <a:pt x="1806" y="3358"/>
                </a:cubicBezTo>
                <a:cubicBezTo>
                  <a:pt x="1773" y="3358"/>
                  <a:pt x="1773" y="3350"/>
                  <a:pt x="1740" y="3342"/>
                </a:cubicBezTo>
                <a:cubicBezTo>
                  <a:pt x="1700" y="3342"/>
                  <a:pt x="1691" y="3398"/>
                  <a:pt x="1651" y="3398"/>
                </a:cubicBezTo>
                <a:cubicBezTo>
                  <a:pt x="1585" y="3390"/>
                  <a:pt x="1471" y="3326"/>
                  <a:pt x="1471" y="3326"/>
                </a:cubicBezTo>
                <a:cubicBezTo>
                  <a:pt x="1446" y="3318"/>
                  <a:pt x="1446" y="3350"/>
                  <a:pt x="1422" y="3350"/>
                </a:cubicBezTo>
                <a:cubicBezTo>
                  <a:pt x="1373" y="3342"/>
                  <a:pt x="1307" y="3310"/>
                  <a:pt x="1242" y="3295"/>
                </a:cubicBezTo>
                <a:cubicBezTo>
                  <a:pt x="1193" y="3287"/>
                  <a:pt x="1095" y="3271"/>
                  <a:pt x="1095" y="3271"/>
                </a:cubicBezTo>
                <a:cubicBezTo>
                  <a:pt x="1070" y="3287"/>
                  <a:pt x="1046" y="3287"/>
                  <a:pt x="1021" y="3295"/>
                </a:cubicBezTo>
                <a:cubicBezTo>
                  <a:pt x="989" y="3310"/>
                  <a:pt x="956" y="3334"/>
                  <a:pt x="931" y="3342"/>
                </a:cubicBezTo>
                <a:cubicBezTo>
                  <a:pt x="907" y="3350"/>
                  <a:pt x="858" y="3310"/>
                  <a:pt x="784" y="3350"/>
                </a:cubicBezTo>
                <a:cubicBezTo>
                  <a:pt x="760" y="3358"/>
                  <a:pt x="727" y="3350"/>
                  <a:pt x="711" y="3366"/>
                </a:cubicBezTo>
                <a:cubicBezTo>
                  <a:pt x="686" y="3390"/>
                  <a:pt x="678" y="3422"/>
                  <a:pt x="637" y="3437"/>
                </a:cubicBezTo>
                <a:cubicBezTo>
                  <a:pt x="613" y="3445"/>
                  <a:pt x="580" y="3477"/>
                  <a:pt x="564" y="3485"/>
                </a:cubicBezTo>
                <a:cubicBezTo>
                  <a:pt x="523" y="3461"/>
                  <a:pt x="466" y="3461"/>
                  <a:pt x="449" y="3398"/>
                </a:cubicBezTo>
                <a:cubicBezTo>
                  <a:pt x="441" y="3374"/>
                  <a:pt x="417" y="3398"/>
                  <a:pt x="400" y="3374"/>
                </a:cubicBezTo>
                <a:cubicBezTo>
                  <a:pt x="368" y="3342"/>
                  <a:pt x="343" y="3271"/>
                  <a:pt x="343" y="3239"/>
                </a:cubicBezTo>
                <a:cubicBezTo>
                  <a:pt x="343" y="3239"/>
                  <a:pt x="368" y="3207"/>
                  <a:pt x="343" y="3176"/>
                </a:cubicBezTo>
                <a:cubicBezTo>
                  <a:pt x="327" y="3144"/>
                  <a:pt x="302" y="3136"/>
                  <a:pt x="311" y="3104"/>
                </a:cubicBezTo>
                <a:cubicBezTo>
                  <a:pt x="335" y="3104"/>
                  <a:pt x="327" y="3049"/>
                  <a:pt x="327" y="3049"/>
                </a:cubicBezTo>
                <a:cubicBezTo>
                  <a:pt x="327" y="3033"/>
                  <a:pt x="270" y="2937"/>
                  <a:pt x="253" y="2922"/>
                </a:cubicBezTo>
                <a:cubicBezTo>
                  <a:pt x="212" y="2898"/>
                  <a:pt x="163" y="2866"/>
                  <a:pt x="114" y="2858"/>
                </a:cubicBezTo>
                <a:lnTo>
                  <a:pt x="0" y="2842"/>
                </a:lnTo>
                <a:lnTo>
                  <a:pt x="0" y="2787"/>
                </a:lnTo>
                <a:lnTo>
                  <a:pt x="8" y="2763"/>
                </a:lnTo>
                <a:lnTo>
                  <a:pt x="16" y="2747"/>
                </a:lnTo>
                <a:lnTo>
                  <a:pt x="8" y="2731"/>
                </a:lnTo>
                <a:lnTo>
                  <a:pt x="8" y="2691"/>
                </a:lnTo>
                <a:lnTo>
                  <a:pt x="0" y="2675"/>
                </a:lnTo>
                <a:lnTo>
                  <a:pt x="0" y="2660"/>
                </a:lnTo>
                <a:lnTo>
                  <a:pt x="16" y="2652"/>
                </a:lnTo>
                <a:cubicBezTo>
                  <a:pt x="16" y="2644"/>
                  <a:pt x="33" y="2636"/>
                  <a:pt x="33" y="2636"/>
                </a:cubicBezTo>
                <a:cubicBezTo>
                  <a:pt x="33" y="2636"/>
                  <a:pt x="41" y="2612"/>
                  <a:pt x="41" y="2604"/>
                </a:cubicBezTo>
                <a:lnTo>
                  <a:pt x="49" y="2596"/>
                </a:lnTo>
                <a:lnTo>
                  <a:pt x="74" y="2588"/>
                </a:lnTo>
                <a:lnTo>
                  <a:pt x="90" y="2572"/>
                </a:lnTo>
                <a:lnTo>
                  <a:pt x="106" y="2564"/>
                </a:lnTo>
                <a:lnTo>
                  <a:pt x="123" y="2548"/>
                </a:lnTo>
                <a:lnTo>
                  <a:pt x="131" y="2517"/>
                </a:lnTo>
                <a:lnTo>
                  <a:pt x="139" y="2509"/>
                </a:lnTo>
                <a:lnTo>
                  <a:pt x="180" y="2509"/>
                </a:lnTo>
                <a:lnTo>
                  <a:pt x="180" y="2501"/>
                </a:lnTo>
                <a:lnTo>
                  <a:pt x="196" y="2493"/>
                </a:lnTo>
                <a:lnTo>
                  <a:pt x="212" y="2509"/>
                </a:lnTo>
                <a:lnTo>
                  <a:pt x="237" y="2509"/>
                </a:lnTo>
                <a:lnTo>
                  <a:pt x="237" y="2485"/>
                </a:lnTo>
                <a:lnTo>
                  <a:pt x="270" y="2453"/>
                </a:lnTo>
                <a:lnTo>
                  <a:pt x="270" y="2437"/>
                </a:lnTo>
                <a:cubicBezTo>
                  <a:pt x="262" y="2429"/>
                  <a:pt x="253" y="2437"/>
                  <a:pt x="253" y="2437"/>
                </a:cubicBezTo>
                <a:lnTo>
                  <a:pt x="237" y="2437"/>
                </a:lnTo>
                <a:lnTo>
                  <a:pt x="212" y="2437"/>
                </a:lnTo>
                <a:lnTo>
                  <a:pt x="212" y="2429"/>
                </a:lnTo>
                <a:lnTo>
                  <a:pt x="204" y="2413"/>
                </a:lnTo>
                <a:cubicBezTo>
                  <a:pt x="204" y="2413"/>
                  <a:pt x="196" y="2398"/>
                  <a:pt x="196" y="2390"/>
                </a:cubicBezTo>
                <a:lnTo>
                  <a:pt x="196" y="2366"/>
                </a:lnTo>
                <a:lnTo>
                  <a:pt x="188" y="2358"/>
                </a:lnTo>
                <a:cubicBezTo>
                  <a:pt x="188" y="2358"/>
                  <a:pt x="180" y="2350"/>
                  <a:pt x="180" y="2342"/>
                </a:cubicBezTo>
                <a:lnTo>
                  <a:pt x="172" y="2318"/>
                </a:lnTo>
                <a:lnTo>
                  <a:pt x="163" y="2310"/>
                </a:lnTo>
                <a:lnTo>
                  <a:pt x="172" y="2302"/>
                </a:lnTo>
                <a:lnTo>
                  <a:pt x="163" y="2287"/>
                </a:lnTo>
                <a:lnTo>
                  <a:pt x="180" y="2287"/>
                </a:lnTo>
                <a:lnTo>
                  <a:pt x="172" y="2279"/>
                </a:lnTo>
                <a:lnTo>
                  <a:pt x="180" y="2263"/>
                </a:lnTo>
                <a:lnTo>
                  <a:pt x="196" y="2255"/>
                </a:lnTo>
                <a:lnTo>
                  <a:pt x="212" y="2239"/>
                </a:lnTo>
                <a:lnTo>
                  <a:pt x="204" y="2231"/>
                </a:lnTo>
                <a:lnTo>
                  <a:pt x="204" y="2215"/>
                </a:lnTo>
                <a:lnTo>
                  <a:pt x="221" y="2183"/>
                </a:lnTo>
                <a:lnTo>
                  <a:pt x="229" y="2183"/>
                </a:lnTo>
                <a:lnTo>
                  <a:pt x="253" y="2175"/>
                </a:lnTo>
                <a:lnTo>
                  <a:pt x="261" y="2167"/>
                </a:lnTo>
                <a:lnTo>
                  <a:pt x="270" y="2167"/>
                </a:lnTo>
                <a:lnTo>
                  <a:pt x="286" y="2160"/>
                </a:lnTo>
                <a:lnTo>
                  <a:pt x="302" y="2152"/>
                </a:lnTo>
                <a:lnTo>
                  <a:pt x="311" y="2144"/>
                </a:lnTo>
                <a:lnTo>
                  <a:pt x="311" y="2128"/>
                </a:lnTo>
                <a:lnTo>
                  <a:pt x="319" y="2120"/>
                </a:lnTo>
                <a:lnTo>
                  <a:pt x="335" y="2104"/>
                </a:lnTo>
                <a:lnTo>
                  <a:pt x="351" y="2088"/>
                </a:lnTo>
                <a:lnTo>
                  <a:pt x="351" y="2072"/>
                </a:lnTo>
                <a:lnTo>
                  <a:pt x="343" y="2064"/>
                </a:lnTo>
                <a:cubicBezTo>
                  <a:pt x="343" y="2064"/>
                  <a:pt x="335" y="2048"/>
                  <a:pt x="335" y="2040"/>
                </a:cubicBezTo>
                <a:lnTo>
                  <a:pt x="327" y="2040"/>
                </a:lnTo>
                <a:lnTo>
                  <a:pt x="311" y="2048"/>
                </a:lnTo>
                <a:cubicBezTo>
                  <a:pt x="311" y="2048"/>
                  <a:pt x="302" y="2040"/>
                  <a:pt x="294" y="2040"/>
                </a:cubicBezTo>
                <a:lnTo>
                  <a:pt x="294" y="2033"/>
                </a:lnTo>
                <a:lnTo>
                  <a:pt x="302" y="2025"/>
                </a:lnTo>
                <a:lnTo>
                  <a:pt x="302" y="2009"/>
                </a:lnTo>
                <a:lnTo>
                  <a:pt x="286" y="2009"/>
                </a:lnTo>
                <a:lnTo>
                  <a:pt x="278" y="1993"/>
                </a:lnTo>
                <a:lnTo>
                  <a:pt x="270" y="1977"/>
                </a:lnTo>
                <a:lnTo>
                  <a:pt x="270" y="1961"/>
                </a:lnTo>
                <a:lnTo>
                  <a:pt x="278" y="1953"/>
                </a:lnTo>
                <a:lnTo>
                  <a:pt x="278" y="1945"/>
                </a:lnTo>
                <a:lnTo>
                  <a:pt x="270" y="1937"/>
                </a:lnTo>
                <a:lnTo>
                  <a:pt x="270" y="1921"/>
                </a:lnTo>
                <a:lnTo>
                  <a:pt x="261" y="1906"/>
                </a:lnTo>
                <a:lnTo>
                  <a:pt x="270" y="1898"/>
                </a:lnTo>
                <a:lnTo>
                  <a:pt x="278" y="1890"/>
                </a:lnTo>
                <a:lnTo>
                  <a:pt x="278" y="1874"/>
                </a:lnTo>
                <a:lnTo>
                  <a:pt x="261" y="1866"/>
                </a:lnTo>
                <a:lnTo>
                  <a:pt x="253" y="1850"/>
                </a:lnTo>
                <a:lnTo>
                  <a:pt x="253" y="1842"/>
                </a:lnTo>
                <a:lnTo>
                  <a:pt x="237" y="1826"/>
                </a:lnTo>
                <a:lnTo>
                  <a:pt x="237" y="1810"/>
                </a:lnTo>
                <a:lnTo>
                  <a:pt x="229" y="1794"/>
                </a:lnTo>
                <a:cubicBezTo>
                  <a:pt x="221" y="1786"/>
                  <a:pt x="221" y="1778"/>
                  <a:pt x="221" y="1778"/>
                </a:cubicBezTo>
                <a:lnTo>
                  <a:pt x="253" y="1778"/>
                </a:lnTo>
                <a:lnTo>
                  <a:pt x="261" y="1794"/>
                </a:lnTo>
                <a:lnTo>
                  <a:pt x="270" y="1786"/>
                </a:lnTo>
                <a:lnTo>
                  <a:pt x="270" y="1794"/>
                </a:lnTo>
                <a:lnTo>
                  <a:pt x="335" y="1794"/>
                </a:lnTo>
                <a:lnTo>
                  <a:pt x="343" y="1802"/>
                </a:lnTo>
                <a:cubicBezTo>
                  <a:pt x="351" y="1810"/>
                  <a:pt x="360" y="1802"/>
                  <a:pt x="360" y="1802"/>
                </a:cubicBezTo>
                <a:cubicBezTo>
                  <a:pt x="360" y="1810"/>
                  <a:pt x="376" y="1810"/>
                  <a:pt x="376" y="1810"/>
                </a:cubicBezTo>
                <a:cubicBezTo>
                  <a:pt x="376" y="1810"/>
                  <a:pt x="384" y="1802"/>
                  <a:pt x="392" y="1802"/>
                </a:cubicBezTo>
                <a:lnTo>
                  <a:pt x="400" y="1802"/>
                </a:lnTo>
                <a:lnTo>
                  <a:pt x="409" y="1794"/>
                </a:lnTo>
                <a:lnTo>
                  <a:pt x="409" y="1778"/>
                </a:lnTo>
                <a:lnTo>
                  <a:pt x="417" y="1778"/>
                </a:lnTo>
                <a:lnTo>
                  <a:pt x="417" y="1771"/>
                </a:lnTo>
                <a:lnTo>
                  <a:pt x="425" y="1755"/>
                </a:lnTo>
                <a:lnTo>
                  <a:pt x="425" y="1747"/>
                </a:lnTo>
                <a:lnTo>
                  <a:pt x="441" y="1747"/>
                </a:lnTo>
                <a:lnTo>
                  <a:pt x="449" y="1739"/>
                </a:lnTo>
                <a:lnTo>
                  <a:pt x="458" y="1723"/>
                </a:lnTo>
                <a:lnTo>
                  <a:pt x="466" y="1707"/>
                </a:lnTo>
                <a:lnTo>
                  <a:pt x="474" y="1691"/>
                </a:lnTo>
                <a:lnTo>
                  <a:pt x="482" y="1675"/>
                </a:lnTo>
                <a:lnTo>
                  <a:pt x="474" y="1651"/>
                </a:lnTo>
                <a:lnTo>
                  <a:pt x="466" y="1636"/>
                </a:lnTo>
                <a:lnTo>
                  <a:pt x="458" y="1620"/>
                </a:lnTo>
                <a:cubicBezTo>
                  <a:pt x="458" y="1620"/>
                  <a:pt x="458" y="1612"/>
                  <a:pt x="449" y="1612"/>
                </a:cubicBezTo>
                <a:lnTo>
                  <a:pt x="449" y="1588"/>
                </a:lnTo>
                <a:lnTo>
                  <a:pt x="458" y="1580"/>
                </a:lnTo>
                <a:lnTo>
                  <a:pt x="466" y="1580"/>
                </a:lnTo>
                <a:lnTo>
                  <a:pt x="482" y="1564"/>
                </a:lnTo>
                <a:lnTo>
                  <a:pt x="507" y="1564"/>
                </a:lnTo>
                <a:lnTo>
                  <a:pt x="523" y="1548"/>
                </a:lnTo>
                <a:lnTo>
                  <a:pt x="531" y="1548"/>
                </a:lnTo>
                <a:lnTo>
                  <a:pt x="539" y="1540"/>
                </a:lnTo>
                <a:lnTo>
                  <a:pt x="547" y="1524"/>
                </a:lnTo>
                <a:lnTo>
                  <a:pt x="539" y="1509"/>
                </a:lnTo>
                <a:lnTo>
                  <a:pt x="531" y="1501"/>
                </a:lnTo>
                <a:lnTo>
                  <a:pt x="539" y="1477"/>
                </a:lnTo>
                <a:lnTo>
                  <a:pt x="556" y="1469"/>
                </a:lnTo>
                <a:lnTo>
                  <a:pt x="556" y="1445"/>
                </a:lnTo>
                <a:lnTo>
                  <a:pt x="547" y="1437"/>
                </a:lnTo>
                <a:lnTo>
                  <a:pt x="556" y="1421"/>
                </a:lnTo>
                <a:lnTo>
                  <a:pt x="564" y="1413"/>
                </a:lnTo>
                <a:cubicBezTo>
                  <a:pt x="564" y="1413"/>
                  <a:pt x="572" y="1397"/>
                  <a:pt x="572" y="1389"/>
                </a:cubicBezTo>
                <a:cubicBezTo>
                  <a:pt x="580" y="1389"/>
                  <a:pt x="580" y="1366"/>
                  <a:pt x="580" y="1366"/>
                </a:cubicBezTo>
                <a:lnTo>
                  <a:pt x="572" y="1350"/>
                </a:lnTo>
                <a:lnTo>
                  <a:pt x="572" y="1342"/>
                </a:lnTo>
                <a:lnTo>
                  <a:pt x="588" y="1334"/>
                </a:lnTo>
                <a:cubicBezTo>
                  <a:pt x="596" y="1334"/>
                  <a:pt x="596" y="1310"/>
                  <a:pt x="596" y="1310"/>
                </a:cubicBezTo>
                <a:lnTo>
                  <a:pt x="580" y="1302"/>
                </a:lnTo>
                <a:lnTo>
                  <a:pt x="580" y="1263"/>
                </a:lnTo>
                <a:lnTo>
                  <a:pt x="572" y="1263"/>
                </a:lnTo>
                <a:lnTo>
                  <a:pt x="572" y="1247"/>
                </a:lnTo>
                <a:lnTo>
                  <a:pt x="580" y="1239"/>
                </a:lnTo>
                <a:lnTo>
                  <a:pt x="596" y="1247"/>
                </a:lnTo>
                <a:cubicBezTo>
                  <a:pt x="596" y="1247"/>
                  <a:pt x="605" y="1239"/>
                  <a:pt x="613" y="1239"/>
                </a:cubicBezTo>
                <a:cubicBezTo>
                  <a:pt x="613" y="1231"/>
                  <a:pt x="629" y="1231"/>
                  <a:pt x="629" y="1231"/>
                </a:cubicBezTo>
                <a:lnTo>
                  <a:pt x="637" y="1207"/>
                </a:lnTo>
                <a:lnTo>
                  <a:pt x="670" y="1191"/>
                </a:lnTo>
                <a:lnTo>
                  <a:pt x="670" y="1183"/>
                </a:lnTo>
                <a:lnTo>
                  <a:pt x="695" y="1175"/>
                </a:lnTo>
                <a:lnTo>
                  <a:pt x="711" y="1183"/>
                </a:lnTo>
                <a:lnTo>
                  <a:pt x="727" y="1167"/>
                </a:lnTo>
                <a:lnTo>
                  <a:pt x="735" y="1167"/>
                </a:lnTo>
                <a:lnTo>
                  <a:pt x="752" y="1159"/>
                </a:lnTo>
                <a:lnTo>
                  <a:pt x="768" y="1151"/>
                </a:lnTo>
                <a:lnTo>
                  <a:pt x="793" y="1128"/>
                </a:lnTo>
                <a:lnTo>
                  <a:pt x="801" y="1128"/>
                </a:lnTo>
                <a:lnTo>
                  <a:pt x="817" y="1120"/>
                </a:lnTo>
                <a:lnTo>
                  <a:pt x="825" y="1104"/>
                </a:lnTo>
                <a:lnTo>
                  <a:pt x="842" y="1096"/>
                </a:lnTo>
                <a:lnTo>
                  <a:pt x="858" y="1072"/>
                </a:lnTo>
                <a:lnTo>
                  <a:pt x="874" y="1056"/>
                </a:lnTo>
                <a:lnTo>
                  <a:pt x="858" y="1032"/>
                </a:lnTo>
                <a:cubicBezTo>
                  <a:pt x="858" y="1032"/>
                  <a:pt x="842" y="1016"/>
                  <a:pt x="834" y="1016"/>
                </a:cubicBezTo>
                <a:cubicBezTo>
                  <a:pt x="834" y="1008"/>
                  <a:pt x="817" y="1001"/>
                  <a:pt x="817" y="1001"/>
                </a:cubicBezTo>
                <a:lnTo>
                  <a:pt x="793" y="993"/>
                </a:lnTo>
                <a:lnTo>
                  <a:pt x="776" y="1001"/>
                </a:lnTo>
                <a:lnTo>
                  <a:pt x="768" y="993"/>
                </a:lnTo>
                <a:cubicBezTo>
                  <a:pt x="768" y="993"/>
                  <a:pt x="760" y="977"/>
                  <a:pt x="768" y="977"/>
                </a:cubicBezTo>
                <a:lnTo>
                  <a:pt x="768" y="953"/>
                </a:lnTo>
                <a:lnTo>
                  <a:pt x="776" y="945"/>
                </a:lnTo>
                <a:cubicBezTo>
                  <a:pt x="776" y="945"/>
                  <a:pt x="784" y="937"/>
                  <a:pt x="784" y="929"/>
                </a:cubicBezTo>
                <a:lnTo>
                  <a:pt x="793" y="913"/>
                </a:lnTo>
                <a:cubicBezTo>
                  <a:pt x="793" y="913"/>
                  <a:pt x="784" y="905"/>
                  <a:pt x="784" y="897"/>
                </a:cubicBezTo>
                <a:cubicBezTo>
                  <a:pt x="776" y="897"/>
                  <a:pt x="776" y="897"/>
                  <a:pt x="784" y="889"/>
                </a:cubicBezTo>
                <a:lnTo>
                  <a:pt x="784" y="881"/>
                </a:lnTo>
                <a:cubicBezTo>
                  <a:pt x="784" y="881"/>
                  <a:pt x="784" y="866"/>
                  <a:pt x="776" y="866"/>
                </a:cubicBezTo>
                <a:lnTo>
                  <a:pt x="760" y="874"/>
                </a:lnTo>
                <a:lnTo>
                  <a:pt x="735" y="866"/>
                </a:lnTo>
                <a:lnTo>
                  <a:pt x="727" y="858"/>
                </a:lnTo>
                <a:cubicBezTo>
                  <a:pt x="727" y="858"/>
                  <a:pt x="727" y="842"/>
                  <a:pt x="719" y="842"/>
                </a:cubicBezTo>
                <a:cubicBezTo>
                  <a:pt x="711" y="834"/>
                  <a:pt x="711" y="842"/>
                  <a:pt x="711" y="842"/>
                </a:cubicBezTo>
                <a:lnTo>
                  <a:pt x="703" y="858"/>
                </a:lnTo>
                <a:cubicBezTo>
                  <a:pt x="703" y="858"/>
                  <a:pt x="686" y="858"/>
                  <a:pt x="678" y="850"/>
                </a:cubicBezTo>
                <a:lnTo>
                  <a:pt x="670" y="850"/>
                </a:lnTo>
                <a:cubicBezTo>
                  <a:pt x="662" y="850"/>
                  <a:pt x="662" y="842"/>
                  <a:pt x="662" y="834"/>
                </a:cubicBezTo>
                <a:cubicBezTo>
                  <a:pt x="654" y="826"/>
                  <a:pt x="654" y="834"/>
                  <a:pt x="645" y="834"/>
                </a:cubicBezTo>
                <a:lnTo>
                  <a:pt x="629" y="834"/>
                </a:lnTo>
                <a:lnTo>
                  <a:pt x="613" y="818"/>
                </a:lnTo>
                <a:cubicBezTo>
                  <a:pt x="613" y="810"/>
                  <a:pt x="605" y="810"/>
                  <a:pt x="605" y="810"/>
                </a:cubicBezTo>
                <a:lnTo>
                  <a:pt x="588" y="818"/>
                </a:lnTo>
                <a:lnTo>
                  <a:pt x="588" y="826"/>
                </a:lnTo>
                <a:lnTo>
                  <a:pt x="580" y="850"/>
                </a:lnTo>
                <a:lnTo>
                  <a:pt x="556" y="866"/>
                </a:lnTo>
                <a:cubicBezTo>
                  <a:pt x="556" y="866"/>
                  <a:pt x="531" y="866"/>
                  <a:pt x="523" y="858"/>
                </a:cubicBezTo>
                <a:lnTo>
                  <a:pt x="515" y="858"/>
                </a:lnTo>
                <a:lnTo>
                  <a:pt x="507" y="858"/>
                </a:lnTo>
                <a:lnTo>
                  <a:pt x="490" y="866"/>
                </a:lnTo>
                <a:lnTo>
                  <a:pt x="482" y="850"/>
                </a:lnTo>
                <a:cubicBezTo>
                  <a:pt x="482" y="850"/>
                  <a:pt x="466" y="842"/>
                  <a:pt x="466" y="834"/>
                </a:cubicBezTo>
                <a:lnTo>
                  <a:pt x="466" y="842"/>
                </a:lnTo>
                <a:cubicBezTo>
                  <a:pt x="466" y="842"/>
                  <a:pt x="458" y="850"/>
                  <a:pt x="449" y="850"/>
                </a:cubicBezTo>
                <a:lnTo>
                  <a:pt x="441" y="858"/>
                </a:lnTo>
                <a:cubicBezTo>
                  <a:pt x="433" y="858"/>
                  <a:pt x="441" y="842"/>
                  <a:pt x="441" y="842"/>
                </a:cubicBezTo>
                <a:lnTo>
                  <a:pt x="449" y="826"/>
                </a:lnTo>
                <a:cubicBezTo>
                  <a:pt x="449" y="826"/>
                  <a:pt x="425" y="818"/>
                  <a:pt x="425" y="810"/>
                </a:cubicBezTo>
                <a:cubicBezTo>
                  <a:pt x="417" y="810"/>
                  <a:pt x="408" y="802"/>
                  <a:pt x="408" y="802"/>
                </a:cubicBezTo>
                <a:lnTo>
                  <a:pt x="392" y="802"/>
                </a:lnTo>
                <a:lnTo>
                  <a:pt x="376" y="802"/>
                </a:lnTo>
                <a:cubicBezTo>
                  <a:pt x="376" y="802"/>
                  <a:pt x="368" y="802"/>
                  <a:pt x="359" y="810"/>
                </a:cubicBezTo>
                <a:cubicBezTo>
                  <a:pt x="359" y="810"/>
                  <a:pt x="351" y="818"/>
                  <a:pt x="343" y="810"/>
                </a:cubicBezTo>
                <a:lnTo>
                  <a:pt x="351" y="794"/>
                </a:lnTo>
                <a:lnTo>
                  <a:pt x="351" y="778"/>
                </a:lnTo>
                <a:cubicBezTo>
                  <a:pt x="343" y="770"/>
                  <a:pt x="343" y="786"/>
                  <a:pt x="343" y="786"/>
                </a:cubicBezTo>
                <a:cubicBezTo>
                  <a:pt x="343" y="786"/>
                  <a:pt x="327" y="794"/>
                  <a:pt x="319" y="802"/>
                </a:cubicBezTo>
                <a:lnTo>
                  <a:pt x="310" y="802"/>
                </a:lnTo>
                <a:cubicBezTo>
                  <a:pt x="302" y="802"/>
                  <a:pt x="294" y="810"/>
                  <a:pt x="278" y="810"/>
                </a:cubicBezTo>
                <a:cubicBezTo>
                  <a:pt x="270" y="810"/>
                  <a:pt x="261" y="818"/>
                  <a:pt x="261" y="810"/>
                </a:cubicBezTo>
                <a:cubicBezTo>
                  <a:pt x="253" y="810"/>
                  <a:pt x="253" y="802"/>
                  <a:pt x="253" y="802"/>
                </a:cubicBezTo>
                <a:lnTo>
                  <a:pt x="253" y="786"/>
                </a:lnTo>
                <a:cubicBezTo>
                  <a:pt x="253" y="786"/>
                  <a:pt x="245" y="778"/>
                  <a:pt x="245" y="770"/>
                </a:cubicBezTo>
                <a:cubicBezTo>
                  <a:pt x="237" y="762"/>
                  <a:pt x="245" y="762"/>
                  <a:pt x="245" y="754"/>
                </a:cubicBezTo>
                <a:lnTo>
                  <a:pt x="261" y="746"/>
                </a:lnTo>
                <a:cubicBezTo>
                  <a:pt x="261" y="739"/>
                  <a:pt x="270" y="739"/>
                  <a:pt x="270" y="739"/>
                </a:cubicBezTo>
                <a:lnTo>
                  <a:pt x="294" y="731"/>
                </a:lnTo>
                <a:lnTo>
                  <a:pt x="294" y="699"/>
                </a:lnTo>
                <a:lnTo>
                  <a:pt x="286" y="699"/>
                </a:lnTo>
                <a:cubicBezTo>
                  <a:pt x="278" y="699"/>
                  <a:pt x="278" y="691"/>
                  <a:pt x="278" y="691"/>
                </a:cubicBezTo>
                <a:lnTo>
                  <a:pt x="278" y="675"/>
                </a:lnTo>
                <a:lnTo>
                  <a:pt x="270" y="659"/>
                </a:lnTo>
                <a:lnTo>
                  <a:pt x="237" y="667"/>
                </a:lnTo>
                <a:cubicBezTo>
                  <a:pt x="237" y="667"/>
                  <a:pt x="221" y="675"/>
                  <a:pt x="212" y="675"/>
                </a:cubicBezTo>
                <a:lnTo>
                  <a:pt x="196" y="675"/>
                </a:lnTo>
                <a:cubicBezTo>
                  <a:pt x="188" y="675"/>
                  <a:pt x="180" y="667"/>
                  <a:pt x="180" y="667"/>
                </a:cubicBezTo>
                <a:lnTo>
                  <a:pt x="147" y="675"/>
                </a:lnTo>
                <a:lnTo>
                  <a:pt x="139" y="675"/>
                </a:lnTo>
                <a:lnTo>
                  <a:pt x="122" y="675"/>
                </a:lnTo>
                <a:lnTo>
                  <a:pt x="106" y="683"/>
                </a:lnTo>
                <a:lnTo>
                  <a:pt x="98" y="691"/>
                </a:lnTo>
                <a:lnTo>
                  <a:pt x="90" y="699"/>
                </a:lnTo>
                <a:lnTo>
                  <a:pt x="65" y="699"/>
                </a:lnTo>
                <a:lnTo>
                  <a:pt x="57" y="707"/>
                </a:lnTo>
                <a:cubicBezTo>
                  <a:pt x="57" y="707"/>
                  <a:pt x="41" y="715"/>
                  <a:pt x="33" y="723"/>
                </a:cubicBezTo>
                <a:lnTo>
                  <a:pt x="24" y="683"/>
                </a:lnTo>
                <a:lnTo>
                  <a:pt x="49" y="612"/>
                </a:lnTo>
                <a:lnTo>
                  <a:pt x="90" y="580"/>
                </a:lnTo>
                <a:lnTo>
                  <a:pt x="106" y="516"/>
                </a:lnTo>
                <a:lnTo>
                  <a:pt x="82" y="493"/>
                </a:lnTo>
                <a:cubicBezTo>
                  <a:pt x="82" y="469"/>
                  <a:pt x="155" y="421"/>
                  <a:pt x="147" y="397"/>
                </a:cubicBezTo>
                <a:cubicBezTo>
                  <a:pt x="139" y="373"/>
                  <a:pt x="49" y="445"/>
                  <a:pt x="41" y="421"/>
                </a:cubicBezTo>
                <a:cubicBezTo>
                  <a:pt x="33" y="373"/>
                  <a:pt x="57" y="381"/>
                  <a:pt x="98" y="342"/>
                </a:cubicBezTo>
                <a:lnTo>
                  <a:pt x="49" y="326"/>
                </a:lnTo>
                <a:lnTo>
                  <a:pt x="49" y="278"/>
                </a:lnTo>
                <a:lnTo>
                  <a:pt x="16" y="262"/>
                </a:lnTo>
                <a:cubicBezTo>
                  <a:pt x="16" y="262"/>
                  <a:pt x="24" y="238"/>
                  <a:pt x="24" y="215"/>
                </a:cubicBezTo>
                <a:cubicBezTo>
                  <a:pt x="24" y="191"/>
                  <a:pt x="49" y="183"/>
                  <a:pt x="49" y="183"/>
                </a:cubicBezTo>
                <a:cubicBezTo>
                  <a:pt x="73" y="175"/>
                  <a:pt x="90" y="159"/>
                  <a:pt x="114" y="143"/>
                </a:cubicBezTo>
                <a:cubicBezTo>
                  <a:pt x="139" y="111"/>
                  <a:pt x="163" y="127"/>
                  <a:pt x="180" y="119"/>
                </a:cubicBezTo>
                <a:cubicBezTo>
                  <a:pt x="204" y="104"/>
                  <a:pt x="204" y="119"/>
                  <a:pt x="286" y="135"/>
                </a:cubicBezTo>
                <a:cubicBezTo>
                  <a:pt x="302" y="127"/>
                  <a:pt x="335" y="127"/>
                  <a:pt x="343" y="111"/>
                </a:cubicBezTo>
                <a:cubicBezTo>
                  <a:pt x="359" y="96"/>
                  <a:pt x="384" y="104"/>
                  <a:pt x="384" y="72"/>
                </a:cubicBezTo>
                <a:cubicBezTo>
                  <a:pt x="392" y="24"/>
                  <a:pt x="482" y="56"/>
                  <a:pt x="482" y="40"/>
                </a:cubicBezTo>
                <a:cubicBezTo>
                  <a:pt x="498" y="40"/>
                  <a:pt x="515" y="0"/>
                  <a:pt x="556" y="0"/>
                </a:cubicBezTo>
                <a:cubicBezTo>
                  <a:pt x="588" y="8"/>
                  <a:pt x="596" y="16"/>
                  <a:pt x="621" y="24"/>
                </a:cubicBezTo>
                <a:cubicBezTo>
                  <a:pt x="711" y="80"/>
                  <a:pt x="670" y="111"/>
                  <a:pt x="776" y="143"/>
                </a:cubicBezTo>
                <a:cubicBezTo>
                  <a:pt x="866" y="167"/>
                  <a:pt x="972" y="191"/>
                  <a:pt x="1062" y="207"/>
                </a:cubicBezTo>
                <a:cubicBezTo>
                  <a:pt x="1144" y="215"/>
                  <a:pt x="1226" y="246"/>
                  <a:pt x="1307" y="278"/>
                </a:cubicBezTo>
                <a:cubicBezTo>
                  <a:pt x="1307" y="278"/>
                  <a:pt x="1610" y="413"/>
                  <a:pt x="1618" y="421"/>
                </a:cubicBezTo>
                <a:cubicBezTo>
                  <a:pt x="1626" y="421"/>
                  <a:pt x="1798" y="389"/>
                  <a:pt x="1806" y="389"/>
                </a:cubicBezTo>
                <a:cubicBezTo>
                  <a:pt x="1814" y="389"/>
                  <a:pt x="1871" y="397"/>
                  <a:pt x="1912" y="421"/>
                </a:cubicBezTo>
                <a:cubicBezTo>
                  <a:pt x="1937" y="445"/>
                  <a:pt x="2018" y="500"/>
                  <a:pt x="2018" y="500"/>
                </a:cubicBezTo>
                <a:cubicBezTo>
                  <a:pt x="2035" y="508"/>
                  <a:pt x="2133" y="492"/>
                  <a:pt x="2133" y="492"/>
                </a:cubicBezTo>
                <a:cubicBezTo>
                  <a:pt x="2198" y="492"/>
                  <a:pt x="2255" y="564"/>
                  <a:pt x="2288" y="572"/>
                </a:cubicBezTo>
                <a:cubicBezTo>
                  <a:pt x="2329" y="580"/>
                  <a:pt x="2427" y="532"/>
                  <a:pt x="2468" y="572"/>
                </a:cubicBezTo>
                <a:cubicBezTo>
                  <a:pt x="2468" y="572"/>
                  <a:pt x="2549" y="580"/>
                  <a:pt x="2558" y="619"/>
                </a:cubicBezTo>
                <a:cubicBezTo>
                  <a:pt x="2574" y="659"/>
                  <a:pt x="2607" y="723"/>
                  <a:pt x="2607" y="723"/>
                </a:cubicBezTo>
                <a:lnTo>
                  <a:pt x="2713" y="762"/>
                </a:lnTo>
                <a:cubicBezTo>
                  <a:pt x="2713" y="762"/>
                  <a:pt x="2770" y="810"/>
                  <a:pt x="2778" y="826"/>
                </a:cubicBezTo>
                <a:cubicBezTo>
                  <a:pt x="2786" y="834"/>
                  <a:pt x="2909" y="873"/>
                  <a:pt x="2909" y="873"/>
                </a:cubicBezTo>
                <a:lnTo>
                  <a:pt x="2991" y="945"/>
                </a:lnTo>
                <a:lnTo>
                  <a:pt x="3113" y="945"/>
                </a:lnTo>
                <a:lnTo>
                  <a:pt x="3195" y="961"/>
                </a:lnTo>
                <a:lnTo>
                  <a:pt x="3236" y="913"/>
                </a:lnTo>
                <a:cubicBezTo>
                  <a:pt x="3236" y="913"/>
                  <a:pt x="3440" y="1008"/>
                  <a:pt x="3448" y="1008"/>
                </a:cubicBezTo>
                <a:cubicBezTo>
                  <a:pt x="3456" y="1008"/>
                  <a:pt x="3456" y="1032"/>
                  <a:pt x="3465" y="1056"/>
                </a:cubicBezTo>
                <a:lnTo>
                  <a:pt x="3465" y="1064"/>
                </a:lnTo>
                <a:cubicBezTo>
                  <a:pt x="3456" y="1064"/>
                  <a:pt x="3465" y="1064"/>
                  <a:pt x="3465" y="1064"/>
                </a:cubicBezTo>
                <a:lnTo>
                  <a:pt x="3465" y="1080"/>
                </a:lnTo>
                <a:lnTo>
                  <a:pt x="3465" y="1088"/>
                </a:lnTo>
                <a:lnTo>
                  <a:pt x="3456" y="1088"/>
                </a:lnTo>
                <a:lnTo>
                  <a:pt x="3465" y="1096"/>
                </a:lnTo>
                <a:lnTo>
                  <a:pt x="3465" y="1104"/>
                </a:lnTo>
                <a:lnTo>
                  <a:pt x="3465" y="1112"/>
                </a:lnTo>
                <a:lnTo>
                  <a:pt x="3473" y="1112"/>
                </a:lnTo>
                <a:lnTo>
                  <a:pt x="3481" y="1120"/>
                </a:lnTo>
                <a:lnTo>
                  <a:pt x="3497" y="1120"/>
                </a:lnTo>
                <a:cubicBezTo>
                  <a:pt x="3497" y="1120"/>
                  <a:pt x="3505" y="1120"/>
                  <a:pt x="3505" y="1112"/>
                </a:cubicBezTo>
                <a:lnTo>
                  <a:pt x="3612" y="1135"/>
                </a:lnTo>
                <a:cubicBezTo>
                  <a:pt x="3636" y="1143"/>
                  <a:pt x="3636" y="1159"/>
                  <a:pt x="3661" y="1175"/>
                </a:cubicBezTo>
                <a:lnTo>
                  <a:pt x="3726" y="1151"/>
                </a:lnTo>
                <a:lnTo>
                  <a:pt x="3808" y="1207"/>
                </a:lnTo>
                <a:lnTo>
                  <a:pt x="3881" y="1183"/>
                </a:lnTo>
                <a:lnTo>
                  <a:pt x="3955" y="1183"/>
                </a:lnTo>
                <a:cubicBezTo>
                  <a:pt x="3955" y="1167"/>
                  <a:pt x="4127" y="1183"/>
                  <a:pt x="4053" y="1263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83" name="Freeform 175">
            <a:extLst>
              <a:ext uri="{FF2B5EF4-FFF2-40B4-BE49-F238E27FC236}">
                <a16:creationId xmlns:a16="http://schemas.microsoft.com/office/drawing/2014/main" id="{12C61FE5-8E62-89E2-43BD-2F77DE6031C1}"/>
              </a:ext>
            </a:extLst>
          </p:cNvPr>
          <p:cNvSpPr>
            <a:spLocks noChangeArrowheads="1"/>
          </p:cNvSpPr>
          <p:nvPr>
            <p:custDataLst>
              <p:tags r:id="rId174"/>
            </p:custDataLst>
          </p:nvPr>
        </p:nvSpPr>
        <p:spPr bwMode="auto">
          <a:xfrm>
            <a:off x="8512746" y="5183703"/>
            <a:ext cx="1367468" cy="1224383"/>
          </a:xfrm>
          <a:custGeom>
            <a:avLst/>
            <a:gdLst>
              <a:gd name="T0" fmla="*/ 2259 w 3328"/>
              <a:gd name="T1" fmla="*/ 2111 h 2983"/>
              <a:gd name="T2" fmla="*/ 2177 w 3328"/>
              <a:gd name="T3" fmla="*/ 2229 h 2983"/>
              <a:gd name="T4" fmla="*/ 1908 w 3328"/>
              <a:gd name="T5" fmla="*/ 2033 h 2983"/>
              <a:gd name="T6" fmla="*/ 1476 w 3328"/>
              <a:gd name="T7" fmla="*/ 2590 h 2983"/>
              <a:gd name="T8" fmla="*/ 2226 w 3328"/>
              <a:gd name="T9" fmla="*/ 1373 h 2983"/>
              <a:gd name="T10" fmla="*/ 2186 w 3328"/>
              <a:gd name="T11" fmla="*/ 1876 h 2983"/>
              <a:gd name="T12" fmla="*/ 2275 w 3328"/>
              <a:gd name="T13" fmla="*/ 997 h 2983"/>
              <a:gd name="T14" fmla="*/ 2104 w 3328"/>
              <a:gd name="T15" fmla="*/ 1389 h 2983"/>
              <a:gd name="T16" fmla="*/ 2031 w 3328"/>
              <a:gd name="T17" fmla="*/ 1797 h 2983"/>
              <a:gd name="T18" fmla="*/ 1949 w 3328"/>
              <a:gd name="T19" fmla="*/ 620 h 2983"/>
              <a:gd name="T20" fmla="*/ 1908 w 3328"/>
              <a:gd name="T21" fmla="*/ 1687 h 2983"/>
              <a:gd name="T22" fmla="*/ 1802 w 3328"/>
              <a:gd name="T23" fmla="*/ 848 h 2983"/>
              <a:gd name="T24" fmla="*/ 1737 w 3328"/>
              <a:gd name="T25" fmla="*/ 1334 h 2983"/>
              <a:gd name="T26" fmla="*/ 1533 w 3328"/>
              <a:gd name="T27" fmla="*/ 1169 h 2983"/>
              <a:gd name="T28" fmla="*/ 1337 w 3328"/>
              <a:gd name="T29" fmla="*/ 1287 h 2983"/>
              <a:gd name="T30" fmla="*/ 1150 w 3328"/>
              <a:gd name="T31" fmla="*/ 1797 h 2983"/>
              <a:gd name="T32" fmla="*/ 1500 w 3328"/>
              <a:gd name="T33" fmla="*/ 2017 h 2983"/>
              <a:gd name="T34" fmla="*/ 1346 w 3328"/>
              <a:gd name="T35" fmla="*/ 2189 h 2983"/>
              <a:gd name="T36" fmla="*/ 1329 w 3328"/>
              <a:gd name="T37" fmla="*/ 2339 h 2983"/>
              <a:gd name="T38" fmla="*/ 1076 w 3328"/>
              <a:gd name="T39" fmla="*/ 2292 h 2983"/>
              <a:gd name="T40" fmla="*/ 864 w 3328"/>
              <a:gd name="T41" fmla="*/ 2135 h 2983"/>
              <a:gd name="T42" fmla="*/ 750 w 3328"/>
              <a:gd name="T43" fmla="*/ 1821 h 2983"/>
              <a:gd name="T44" fmla="*/ 367 w 3328"/>
              <a:gd name="T45" fmla="*/ 1883 h 2983"/>
              <a:gd name="T46" fmla="*/ 1370 w 3328"/>
              <a:gd name="T47" fmla="*/ 220 h 2983"/>
              <a:gd name="T48" fmla="*/ 709 w 3328"/>
              <a:gd name="T49" fmla="*/ 534 h 2983"/>
              <a:gd name="T50" fmla="*/ 367 w 3328"/>
              <a:gd name="T51" fmla="*/ 855 h 2983"/>
              <a:gd name="T52" fmla="*/ 350 w 3328"/>
              <a:gd name="T53" fmla="*/ 1460 h 2983"/>
              <a:gd name="T54" fmla="*/ 424 w 3328"/>
              <a:gd name="T55" fmla="*/ 1609 h 2983"/>
              <a:gd name="T56" fmla="*/ 750 w 3328"/>
              <a:gd name="T57" fmla="*/ 1758 h 2983"/>
              <a:gd name="T58" fmla="*/ 1321 w 3328"/>
              <a:gd name="T59" fmla="*/ 1711 h 2983"/>
              <a:gd name="T60" fmla="*/ 1533 w 3328"/>
              <a:gd name="T61" fmla="*/ 1797 h 2983"/>
              <a:gd name="T62" fmla="*/ 1623 w 3328"/>
              <a:gd name="T63" fmla="*/ 1624 h 2983"/>
              <a:gd name="T64" fmla="*/ 1843 w 3328"/>
              <a:gd name="T65" fmla="*/ 1664 h 2983"/>
              <a:gd name="T66" fmla="*/ 1362 w 3328"/>
              <a:gd name="T67" fmla="*/ 1397 h 2983"/>
              <a:gd name="T68" fmla="*/ 1354 w 3328"/>
              <a:gd name="T69" fmla="*/ 1546 h 2983"/>
              <a:gd name="T70" fmla="*/ 1207 w 3328"/>
              <a:gd name="T71" fmla="*/ 1397 h 2983"/>
              <a:gd name="T72" fmla="*/ 1199 w 3328"/>
              <a:gd name="T73" fmla="*/ 1169 h 2983"/>
              <a:gd name="T74" fmla="*/ 962 w 3328"/>
              <a:gd name="T75" fmla="*/ 761 h 2983"/>
              <a:gd name="T76" fmla="*/ 1337 w 3328"/>
              <a:gd name="T77" fmla="*/ 950 h 2983"/>
              <a:gd name="T78" fmla="*/ 1451 w 3328"/>
              <a:gd name="T79" fmla="*/ 918 h 2983"/>
              <a:gd name="T80" fmla="*/ 1566 w 3328"/>
              <a:gd name="T81" fmla="*/ 777 h 2983"/>
              <a:gd name="T82" fmla="*/ 1476 w 3328"/>
              <a:gd name="T83" fmla="*/ 534 h 2983"/>
              <a:gd name="T84" fmla="*/ 2104 w 3328"/>
              <a:gd name="T85" fmla="*/ 432 h 2983"/>
              <a:gd name="T86" fmla="*/ 2006 w 3328"/>
              <a:gd name="T87" fmla="*/ 16 h 2983"/>
              <a:gd name="T88" fmla="*/ 2797 w 3328"/>
              <a:gd name="T89" fmla="*/ 2025 h 2983"/>
              <a:gd name="T90" fmla="*/ 2789 w 3328"/>
              <a:gd name="T91" fmla="*/ 1938 h 2983"/>
              <a:gd name="T92" fmla="*/ 3327 w 3328"/>
              <a:gd name="T93" fmla="*/ 2127 h 2983"/>
              <a:gd name="T94" fmla="*/ 3017 w 3328"/>
              <a:gd name="T95" fmla="*/ 2417 h 2983"/>
              <a:gd name="T96" fmla="*/ 2675 w 3328"/>
              <a:gd name="T97" fmla="*/ 1687 h 2983"/>
              <a:gd name="T98" fmla="*/ 2406 w 3328"/>
              <a:gd name="T99" fmla="*/ 1797 h 2983"/>
              <a:gd name="T100" fmla="*/ 2292 w 3328"/>
              <a:gd name="T101" fmla="*/ 1970 h 2983"/>
              <a:gd name="T102" fmla="*/ 2128 w 3328"/>
              <a:gd name="T103" fmla="*/ 2072 h 2983"/>
              <a:gd name="T104" fmla="*/ 1973 w 3328"/>
              <a:gd name="T105" fmla="*/ 2833 h 2983"/>
              <a:gd name="T106" fmla="*/ 2553 w 3328"/>
              <a:gd name="T107" fmla="*/ 2817 h 2983"/>
              <a:gd name="T108" fmla="*/ 2569 w 3328"/>
              <a:gd name="T109" fmla="*/ 2880 h 2983"/>
              <a:gd name="T110" fmla="*/ 2120 w 3328"/>
              <a:gd name="T111" fmla="*/ 2919 h 2983"/>
              <a:gd name="T112" fmla="*/ 1696 w 3328"/>
              <a:gd name="T113" fmla="*/ 2802 h 2983"/>
              <a:gd name="T114" fmla="*/ 489 w 3328"/>
              <a:gd name="T115" fmla="*/ 1978 h 2983"/>
              <a:gd name="T116" fmla="*/ 90 w 3328"/>
              <a:gd name="T117" fmla="*/ 1232 h 2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28" h="2983">
                <a:moveTo>
                  <a:pt x="2593" y="1813"/>
                </a:moveTo>
                <a:lnTo>
                  <a:pt x="2602" y="1860"/>
                </a:lnTo>
                <a:lnTo>
                  <a:pt x="2593" y="1813"/>
                </a:lnTo>
                <a:close/>
                <a:moveTo>
                  <a:pt x="2944" y="2613"/>
                </a:moveTo>
                <a:lnTo>
                  <a:pt x="2936" y="2645"/>
                </a:lnTo>
                <a:lnTo>
                  <a:pt x="2969" y="2645"/>
                </a:lnTo>
                <a:lnTo>
                  <a:pt x="3009" y="2613"/>
                </a:lnTo>
                <a:lnTo>
                  <a:pt x="2944" y="2613"/>
                </a:lnTo>
                <a:close/>
                <a:moveTo>
                  <a:pt x="2259" y="2111"/>
                </a:moveTo>
                <a:lnTo>
                  <a:pt x="2292" y="2142"/>
                </a:lnTo>
                <a:lnTo>
                  <a:pt x="2300" y="2103"/>
                </a:lnTo>
                <a:lnTo>
                  <a:pt x="2259" y="2111"/>
                </a:lnTo>
                <a:close/>
                <a:moveTo>
                  <a:pt x="2275" y="2307"/>
                </a:moveTo>
                <a:lnTo>
                  <a:pt x="2308" y="2331"/>
                </a:lnTo>
                <a:lnTo>
                  <a:pt x="2340" y="2323"/>
                </a:lnTo>
                <a:lnTo>
                  <a:pt x="2308" y="2284"/>
                </a:lnTo>
                <a:lnTo>
                  <a:pt x="2275" y="2292"/>
                </a:lnTo>
                <a:lnTo>
                  <a:pt x="2275" y="2307"/>
                </a:lnTo>
                <a:close/>
                <a:moveTo>
                  <a:pt x="2104" y="2244"/>
                </a:moveTo>
                <a:lnTo>
                  <a:pt x="2104" y="2244"/>
                </a:lnTo>
                <a:close/>
                <a:moveTo>
                  <a:pt x="2177" y="2229"/>
                </a:moveTo>
                <a:lnTo>
                  <a:pt x="2194" y="2190"/>
                </a:lnTo>
                <a:lnTo>
                  <a:pt x="2161" y="2213"/>
                </a:lnTo>
                <a:lnTo>
                  <a:pt x="2177" y="2229"/>
                </a:lnTo>
                <a:close/>
                <a:moveTo>
                  <a:pt x="2226" y="2158"/>
                </a:moveTo>
                <a:lnTo>
                  <a:pt x="2226" y="2197"/>
                </a:lnTo>
                <a:lnTo>
                  <a:pt x="2259" y="2205"/>
                </a:lnTo>
                <a:lnTo>
                  <a:pt x="2259" y="2158"/>
                </a:lnTo>
                <a:lnTo>
                  <a:pt x="2226" y="2158"/>
                </a:lnTo>
                <a:close/>
                <a:moveTo>
                  <a:pt x="1990" y="2127"/>
                </a:moveTo>
                <a:lnTo>
                  <a:pt x="2006" y="2166"/>
                </a:lnTo>
                <a:lnTo>
                  <a:pt x="2022" y="2111"/>
                </a:lnTo>
                <a:lnTo>
                  <a:pt x="1973" y="2103"/>
                </a:lnTo>
                <a:lnTo>
                  <a:pt x="1990" y="2127"/>
                </a:lnTo>
                <a:close/>
                <a:moveTo>
                  <a:pt x="1892" y="2088"/>
                </a:moveTo>
                <a:lnTo>
                  <a:pt x="1908" y="2033"/>
                </a:lnTo>
                <a:lnTo>
                  <a:pt x="1867" y="2040"/>
                </a:lnTo>
                <a:lnTo>
                  <a:pt x="1892" y="2088"/>
                </a:lnTo>
                <a:close/>
                <a:moveTo>
                  <a:pt x="1835" y="1938"/>
                </a:moveTo>
                <a:lnTo>
                  <a:pt x="1851" y="1985"/>
                </a:lnTo>
                <a:lnTo>
                  <a:pt x="1835" y="1938"/>
                </a:lnTo>
                <a:close/>
                <a:moveTo>
                  <a:pt x="2014" y="1891"/>
                </a:moveTo>
                <a:lnTo>
                  <a:pt x="1998" y="1938"/>
                </a:lnTo>
                <a:lnTo>
                  <a:pt x="2039" y="1923"/>
                </a:lnTo>
                <a:lnTo>
                  <a:pt x="2014" y="1891"/>
                </a:lnTo>
                <a:close/>
                <a:moveTo>
                  <a:pt x="1419" y="2551"/>
                </a:moveTo>
                <a:lnTo>
                  <a:pt x="1443" y="2590"/>
                </a:lnTo>
                <a:lnTo>
                  <a:pt x="1476" y="2590"/>
                </a:lnTo>
                <a:lnTo>
                  <a:pt x="1492" y="2543"/>
                </a:lnTo>
                <a:lnTo>
                  <a:pt x="1435" y="2519"/>
                </a:lnTo>
                <a:lnTo>
                  <a:pt x="1403" y="2503"/>
                </a:lnTo>
                <a:lnTo>
                  <a:pt x="1419" y="2551"/>
                </a:lnTo>
                <a:close/>
                <a:moveTo>
                  <a:pt x="2357" y="1468"/>
                </a:moveTo>
                <a:lnTo>
                  <a:pt x="2341" y="1515"/>
                </a:lnTo>
                <a:lnTo>
                  <a:pt x="2292" y="1522"/>
                </a:lnTo>
                <a:lnTo>
                  <a:pt x="2283" y="1483"/>
                </a:lnTo>
                <a:lnTo>
                  <a:pt x="2308" y="1436"/>
                </a:lnTo>
                <a:lnTo>
                  <a:pt x="2275" y="1420"/>
                </a:lnTo>
                <a:lnTo>
                  <a:pt x="2243" y="1413"/>
                </a:lnTo>
                <a:lnTo>
                  <a:pt x="2226" y="1373"/>
                </a:lnTo>
                <a:lnTo>
                  <a:pt x="2259" y="1342"/>
                </a:lnTo>
                <a:lnTo>
                  <a:pt x="2300" y="1342"/>
                </a:lnTo>
                <a:lnTo>
                  <a:pt x="2332" y="1350"/>
                </a:lnTo>
                <a:lnTo>
                  <a:pt x="2365" y="1350"/>
                </a:lnTo>
                <a:lnTo>
                  <a:pt x="2398" y="1365"/>
                </a:lnTo>
                <a:lnTo>
                  <a:pt x="2357" y="1381"/>
                </a:lnTo>
                <a:lnTo>
                  <a:pt x="2324" y="1389"/>
                </a:lnTo>
                <a:lnTo>
                  <a:pt x="2357" y="1428"/>
                </a:lnTo>
                <a:lnTo>
                  <a:pt x="2357" y="1468"/>
                </a:lnTo>
                <a:close/>
                <a:moveTo>
                  <a:pt x="2177" y="1852"/>
                </a:moveTo>
                <a:lnTo>
                  <a:pt x="2226" y="1860"/>
                </a:lnTo>
                <a:lnTo>
                  <a:pt x="2186" y="1876"/>
                </a:lnTo>
                <a:lnTo>
                  <a:pt x="2153" y="1868"/>
                </a:lnTo>
                <a:lnTo>
                  <a:pt x="2177" y="1852"/>
                </a:lnTo>
                <a:close/>
                <a:moveTo>
                  <a:pt x="2316" y="1067"/>
                </a:moveTo>
                <a:lnTo>
                  <a:pt x="2275" y="1091"/>
                </a:lnTo>
                <a:lnTo>
                  <a:pt x="2243" y="1122"/>
                </a:lnTo>
                <a:lnTo>
                  <a:pt x="2210" y="1122"/>
                </a:lnTo>
                <a:lnTo>
                  <a:pt x="2177" y="1114"/>
                </a:lnTo>
                <a:lnTo>
                  <a:pt x="2145" y="1091"/>
                </a:lnTo>
                <a:lnTo>
                  <a:pt x="2177" y="1075"/>
                </a:lnTo>
                <a:lnTo>
                  <a:pt x="2210" y="1059"/>
                </a:lnTo>
                <a:lnTo>
                  <a:pt x="2243" y="1036"/>
                </a:lnTo>
                <a:lnTo>
                  <a:pt x="2275" y="997"/>
                </a:lnTo>
                <a:lnTo>
                  <a:pt x="2341" y="1020"/>
                </a:lnTo>
                <a:lnTo>
                  <a:pt x="2381" y="1059"/>
                </a:lnTo>
                <a:lnTo>
                  <a:pt x="2414" y="1067"/>
                </a:lnTo>
                <a:lnTo>
                  <a:pt x="2455" y="1083"/>
                </a:lnTo>
                <a:lnTo>
                  <a:pt x="2447" y="1122"/>
                </a:lnTo>
                <a:lnTo>
                  <a:pt x="2406" y="1114"/>
                </a:lnTo>
                <a:lnTo>
                  <a:pt x="2406" y="1154"/>
                </a:lnTo>
                <a:lnTo>
                  <a:pt x="2300" y="1154"/>
                </a:lnTo>
                <a:lnTo>
                  <a:pt x="2283" y="1122"/>
                </a:lnTo>
                <a:lnTo>
                  <a:pt x="2316" y="1091"/>
                </a:lnTo>
                <a:lnTo>
                  <a:pt x="2316" y="1067"/>
                </a:lnTo>
                <a:close/>
                <a:moveTo>
                  <a:pt x="2104" y="1389"/>
                </a:moveTo>
                <a:lnTo>
                  <a:pt x="2137" y="1381"/>
                </a:lnTo>
                <a:lnTo>
                  <a:pt x="2177" y="1397"/>
                </a:lnTo>
                <a:lnTo>
                  <a:pt x="2145" y="1405"/>
                </a:lnTo>
                <a:lnTo>
                  <a:pt x="2104" y="1397"/>
                </a:lnTo>
                <a:lnTo>
                  <a:pt x="2104" y="1389"/>
                </a:lnTo>
                <a:close/>
                <a:moveTo>
                  <a:pt x="2031" y="1797"/>
                </a:moveTo>
                <a:lnTo>
                  <a:pt x="2063" y="1813"/>
                </a:lnTo>
                <a:lnTo>
                  <a:pt x="2104" y="1805"/>
                </a:lnTo>
                <a:lnTo>
                  <a:pt x="2112" y="1844"/>
                </a:lnTo>
                <a:lnTo>
                  <a:pt x="2071" y="1844"/>
                </a:lnTo>
                <a:lnTo>
                  <a:pt x="2014" y="1805"/>
                </a:lnTo>
                <a:lnTo>
                  <a:pt x="2031" y="1797"/>
                </a:lnTo>
                <a:close/>
                <a:moveTo>
                  <a:pt x="1925" y="800"/>
                </a:moveTo>
                <a:lnTo>
                  <a:pt x="1957" y="793"/>
                </a:lnTo>
                <a:lnTo>
                  <a:pt x="1933" y="832"/>
                </a:lnTo>
                <a:lnTo>
                  <a:pt x="1957" y="871"/>
                </a:lnTo>
                <a:lnTo>
                  <a:pt x="1916" y="895"/>
                </a:lnTo>
                <a:lnTo>
                  <a:pt x="1908" y="848"/>
                </a:lnTo>
                <a:lnTo>
                  <a:pt x="1925" y="808"/>
                </a:lnTo>
                <a:lnTo>
                  <a:pt x="1925" y="800"/>
                </a:lnTo>
                <a:close/>
                <a:moveTo>
                  <a:pt x="1982" y="573"/>
                </a:moveTo>
                <a:lnTo>
                  <a:pt x="2014" y="581"/>
                </a:lnTo>
                <a:lnTo>
                  <a:pt x="1982" y="604"/>
                </a:lnTo>
                <a:lnTo>
                  <a:pt x="1949" y="620"/>
                </a:lnTo>
                <a:lnTo>
                  <a:pt x="1908" y="589"/>
                </a:lnTo>
                <a:lnTo>
                  <a:pt x="1941" y="573"/>
                </a:lnTo>
                <a:lnTo>
                  <a:pt x="1982" y="573"/>
                </a:lnTo>
                <a:close/>
                <a:moveTo>
                  <a:pt x="1933" y="1829"/>
                </a:moveTo>
                <a:lnTo>
                  <a:pt x="1933" y="1860"/>
                </a:lnTo>
                <a:lnTo>
                  <a:pt x="1900" y="1860"/>
                </a:lnTo>
                <a:lnTo>
                  <a:pt x="1933" y="1829"/>
                </a:lnTo>
                <a:close/>
                <a:moveTo>
                  <a:pt x="1990" y="1789"/>
                </a:moveTo>
                <a:lnTo>
                  <a:pt x="1949" y="1766"/>
                </a:lnTo>
                <a:lnTo>
                  <a:pt x="1916" y="1750"/>
                </a:lnTo>
                <a:lnTo>
                  <a:pt x="1884" y="1727"/>
                </a:lnTo>
                <a:lnTo>
                  <a:pt x="1908" y="1687"/>
                </a:lnTo>
                <a:lnTo>
                  <a:pt x="1949" y="1719"/>
                </a:lnTo>
                <a:lnTo>
                  <a:pt x="1990" y="1711"/>
                </a:lnTo>
                <a:lnTo>
                  <a:pt x="2006" y="1750"/>
                </a:lnTo>
                <a:lnTo>
                  <a:pt x="1998" y="1797"/>
                </a:lnTo>
                <a:lnTo>
                  <a:pt x="1990" y="1789"/>
                </a:lnTo>
                <a:close/>
                <a:moveTo>
                  <a:pt x="1835" y="1036"/>
                </a:moveTo>
                <a:lnTo>
                  <a:pt x="1867" y="1028"/>
                </a:lnTo>
                <a:lnTo>
                  <a:pt x="1835" y="1036"/>
                </a:lnTo>
                <a:close/>
                <a:moveTo>
                  <a:pt x="1900" y="840"/>
                </a:moveTo>
                <a:lnTo>
                  <a:pt x="1867" y="879"/>
                </a:lnTo>
                <a:lnTo>
                  <a:pt x="1827" y="895"/>
                </a:lnTo>
                <a:lnTo>
                  <a:pt x="1802" y="848"/>
                </a:lnTo>
                <a:lnTo>
                  <a:pt x="1827" y="808"/>
                </a:lnTo>
                <a:lnTo>
                  <a:pt x="1859" y="800"/>
                </a:lnTo>
                <a:lnTo>
                  <a:pt x="1900" y="824"/>
                </a:lnTo>
                <a:lnTo>
                  <a:pt x="1900" y="840"/>
                </a:lnTo>
                <a:close/>
                <a:moveTo>
                  <a:pt x="1802" y="1844"/>
                </a:moveTo>
                <a:lnTo>
                  <a:pt x="1819" y="1891"/>
                </a:lnTo>
                <a:lnTo>
                  <a:pt x="1786" y="1923"/>
                </a:lnTo>
                <a:lnTo>
                  <a:pt x="1786" y="1876"/>
                </a:lnTo>
                <a:lnTo>
                  <a:pt x="1802" y="1844"/>
                </a:lnTo>
                <a:close/>
                <a:moveTo>
                  <a:pt x="1745" y="1303"/>
                </a:moveTo>
                <a:cubicBezTo>
                  <a:pt x="1753" y="1311"/>
                  <a:pt x="1859" y="1389"/>
                  <a:pt x="1778" y="1365"/>
                </a:cubicBezTo>
                <a:lnTo>
                  <a:pt x="1737" y="1334"/>
                </a:lnTo>
                <a:lnTo>
                  <a:pt x="1721" y="1287"/>
                </a:lnTo>
                <a:lnTo>
                  <a:pt x="1745" y="1303"/>
                </a:lnTo>
                <a:close/>
                <a:moveTo>
                  <a:pt x="1664" y="534"/>
                </a:moveTo>
                <a:lnTo>
                  <a:pt x="1680" y="589"/>
                </a:lnTo>
                <a:lnTo>
                  <a:pt x="1639" y="604"/>
                </a:lnTo>
                <a:lnTo>
                  <a:pt x="1606" y="612"/>
                </a:lnTo>
                <a:lnTo>
                  <a:pt x="1574" y="589"/>
                </a:lnTo>
                <a:lnTo>
                  <a:pt x="1582" y="541"/>
                </a:lnTo>
                <a:lnTo>
                  <a:pt x="1615" y="518"/>
                </a:lnTo>
                <a:lnTo>
                  <a:pt x="1647" y="518"/>
                </a:lnTo>
                <a:lnTo>
                  <a:pt x="1664" y="534"/>
                </a:lnTo>
                <a:close/>
                <a:moveTo>
                  <a:pt x="1533" y="1169"/>
                </a:moveTo>
                <a:lnTo>
                  <a:pt x="1566" y="1169"/>
                </a:lnTo>
                <a:lnTo>
                  <a:pt x="1533" y="1169"/>
                </a:lnTo>
                <a:close/>
                <a:moveTo>
                  <a:pt x="1500" y="1232"/>
                </a:moveTo>
                <a:lnTo>
                  <a:pt x="1533" y="1193"/>
                </a:lnTo>
                <a:lnTo>
                  <a:pt x="1500" y="1232"/>
                </a:lnTo>
                <a:close/>
                <a:moveTo>
                  <a:pt x="1452" y="1271"/>
                </a:moveTo>
                <a:lnTo>
                  <a:pt x="1460" y="1303"/>
                </a:lnTo>
                <a:lnTo>
                  <a:pt x="1419" y="1271"/>
                </a:lnTo>
                <a:lnTo>
                  <a:pt x="1452" y="1271"/>
                </a:lnTo>
                <a:close/>
                <a:moveTo>
                  <a:pt x="1337" y="1279"/>
                </a:moveTo>
                <a:lnTo>
                  <a:pt x="1370" y="1271"/>
                </a:lnTo>
                <a:lnTo>
                  <a:pt x="1337" y="1287"/>
                </a:lnTo>
                <a:lnTo>
                  <a:pt x="1337" y="1279"/>
                </a:lnTo>
                <a:close/>
                <a:moveTo>
                  <a:pt x="750" y="1813"/>
                </a:moveTo>
                <a:lnTo>
                  <a:pt x="799" y="1829"/>
                </a:lnTo>
                <a:lnTo>
                  <a:pt x="824" y="1789"/>
                </a:lnTo>
                <a:lnTo>
                  <a:pt x="848" y="1758"/>
                </a:lnTo>
                <a:lnTo>
                  <a:pt x="889" y="1734"/>
                </a:lnTo>
                <a:lnTo>
                  <a:pt x="938" y="1750"/>
                </a:lnTo>
                <a:lnTo>
                  <a:pt x="970" y="1766"/>
                </a:lnTo>
                <a:lnTo>
                  <a:pt x="1003" y="1774"/>
                </a:lnTo>
                <a:lnTo>
                  <a:pt x="1036" y="1774"/>
                </a:lnTo>
                <a:lnTo>
                  <a:pt x="1101" y="1789"/>
                </a:lnTo>
                <a:lnTo>
                  <a:pt x="1150" y="1797"/>
                </a:lnTo>
                <a:lnTo>
                  <a:pt x="1191" y="1805"/>
                </a:lnTo>
                <a:lnTo>
                  <a:pt x="1248" y="1836"/>
                </a:lnTo>
                <a:lnTo>
                  <a:pt x="1288" y="1829"/>
                </a:lnTo>
                <a:lnTo>
                  <a:pt x="1329" y="1876"/>
                </a:lnTo>
                <a:lnTo>
                  <a:pt x="1370" y="1868"/>
                </a:lnTo>
                <a:lnTo>
                  <a:pt x="1403" y="1907"/>
                </a:lnTo>
                <a:lnTo>
                  <a:pt x="1411" y="1954"/>
                </a:lnTo>
                <a:lnTo>
                  <a:pt x="1443" y="1938"/>
                </a:lnTo>
                <a:lnTo>
                  <a:pt x="1476" y="1931"/>
                </a:lnTo>
                <a:lnTo>
                  <a:pt x="1476" y="1978"/>
                </a:lnTo>
                <a:lnTo>
                  <a:pt x="1509" y="1970"/>
                </a:lnTo>
                <a:lnTo>
                  <a:pt x="1500" y="2017"/>
                </a:lnTo>
                <a:lnTo>
                  <a:pt x="1452" y="2040"/>
                </a:lnTo>
                <a:lnTo>
                  <a:pt x="1419" y="2080"/>
                </a:lnTo>
                <a:lnTo>
                  <a:pt x="1394" y="2119"/>
                </a:lnTo>
                <a:lnTo>
                  <a:pt x="1378" y="2072"/>
                </a:lnTo>
                <a:lnTo>
                  <a:pt x="1362" y="2033"/>
                </a:lnTo>
                <a:lnTo>
                  <a:pt x="1329" y="2017"/>
                </a:lnTo>
                <a:lnTo>
                  <a:pt x="1288" y="2009"/>
                </a:lnTo>
                <a:lnTo>
                  <a:pt x="1248" y="2017"/>
                </a:lnTo>
                <a:lnTo>
                  <a:pt x="1272" y="2072"/>
                </a:lnTo>
                <a:lnTo>
                  <a:pt x="1297" y="2111"/>
                </a:lnTo>
                <a:lnTo>
                  <a:pt x="1321" y="2150"/>
                </a:lnTo>
                <a:lnTo>
                  <a:pt x="1346" y="2189"/>
                </a:lnTo>
                <a:lnTo>
                  <a:pt x="1378" y="2221"/>
                </a:lnTo>
                <a:lnTo>
                  <a:pt x="1403" y="2276"/>
                </a:lnTo>
                <a:lnTo>
                  <a:pt x="1419" y="2315"/>
                </a:lnTo>
                <a:lnTo>
                  <a:pt x="1411" y="2354"/>
                </a:lnTo>
                <a:lnTo>
                  <a:pt x="1435" y="2386"/>
                </a:lnTo>
                <a:lnTo>
                  <a:pt x="1468" y="2409"/>
                </a:lnTo>
                <a:lnTo>
                  <a:pt x="1476" y="2464"/>
                </a:lnTo>
                <a:lnTo>
                  <a:pt x="1443" y="2456"/>
                </a:lnTo>
                <a:lnTo>
                  <a:pt x="1411" y="2456"/>
                </a:lnTo>
                <a:lnTo>
                  <a:pt x="1394" y="2417"/>
                </a:lnTo>
                <a:lnTo>
                  <a:pt x="1346" y="2378"/>
                </a:lnTo>
                <a:lnTo>
                  <a:pt x="1329" y="2339"/>
                </a:lnTo>
                <a:lnTo>
                  <a:pt x="1297" y="2331"/>
                </a:lnTo>
                <a:lnTo>
                  <a:pt x="1264" y="2354"/>
                </a:lnTo>
                <a:lnTo>
                  <a:pt x="1248" y="2386"/>
                </a:lnTo>
                <a:lnTo>
                  <a:pt x="1240" y="2433"/>
                </a:lnTo>
                <a:lnTo>
                  <a:pt x="1248" y="2472"/>
                </a:lnTo>
                <a:lnTo>
                  <a:pt x="1231" y="2511"/>
                </a:lnTo>
                <a:lnTo>
                  <a:pt x="1199" y="2480"/>
                </a:lnTo>
                <a:lnTo>
                  <a:pt x="1191" y="2433"/>
                </a:lnTo>
                <a:lnTo>
                  <a:pt x="1158" y="2378"/>
                </a:lnTo>
                <a:lnTo>
                  <a:pt x="1125" y="2339"/>
                </a:lnTo>
                <a:lnTo>
                  <a:pt x="1076" y="2331"/>
                </a:lnTo>
                <a:lnTo>
                  <a:pt x="1076" y="2292"/>
                </a:lnTo>
                <a:lnTo>
                  <a:pt x="1044" y="2276"/>
                </a:lnTo>
                <a:lnTo>
                  <a:pt x="1011" y="2307"/>
                </a:lnTo>
                <a:lnTo>
                  <a:pt x="1019" y="2346"/>
                </a:lnTo>
                <a:lnTo>
                  <a:pt x="995" y="2409"/>
                </a:lnTo>
                <a:lnTo>
                  <a:pt x="962" y="2394"/>
                </a:lnTo>
                <a:lnTo>
                  <a:pt x="930" y="2409"/>
                </a:lnTo>
                <a:lnTo>
                  <a:pt x="921" y="2362"/>
                </a:lnTo>
                <a:lnTo>
                  <a:pt x="905" y="2323"/>
                </a:lnTo>
                <a:lnTo>
                  <a:pt x="873" y="2292"/>
                </a:lnTo>
                <a:lnTo>
                  <a:pt x="864" y="2221"/>
                </a:lnTo>
                <a:lnTo>
                  <a:pt x="889" y="2174"/>
                </a:lnTo>
                <a:lnTo>
                  <a:pt x="864" y="2135"/>
                </a:lnTo>
                <a:lnTo>
                  <a:pt x="832" y="2111"/>
                </a:lnTo>
                <a:lnTo>
                  <a:pt x="799" y="2080"/>
                </a:lnTo>
                <a:lnTo>
                  <a:pt x="767" y="2064"/>
                </a:lnTo>
                <a:lnTo>
                  <a:pt x="734" y="2056"/>
                </a:lnTo>
                <a:lnTo>
                  <a:pt x="718" y="2009"/>
                </a:lnTo>
                <a:lnTo>
                  <a:pt x="685" y="1993"/>
                </a:lnTo>
                <a:lnTo>
                  <a:pt x="652" y="1985"/>
                </a:lnTo>
                <a:lnTo>
                  <a:pt x="661" y="1931"/>
                </a:lnTo>
                <a:lnTo>
                  <a:pt x="693" y="1907"/>
                </a:lnTo>
                <a:lnTo>
                  <a:pt x="709" y="1860"/>
                </a:lnTo>
                <a:lnTo>
                  <a:pt x="718" y="1821"/>
                </a:lnTo>
                <a:lnTo>
                  <a:pt x="750" y="1821"/>
                </a:lnTo>
                <a:lnTo>
                  <a:pt x="750" y="1813"/>
                </a:lnTo>
                <a:close/>
                <a:moveTo>
                  <a:pt x="399" y="1766"/>
                </a:moveTo>
                <a:lnTo>
                  <a:pt x="432" y="1758"/>
                </a:lnTo>
                <a:lnTo>
                  <a:pt x="465" y="1750"/>
                </a:lnTo>
                <a:lnTo>
                  <a:pt x="481" y="1805"/>
                </a:lnTo>
                <a:lnTo>
                  <a:pt x="440" y="1821"/>
                </a:lnTo>
                <a:lnTo>
                  <a:pt x="489" y="1852"/>
                </a:lnTo>
                <a:lnTo>
                  <a:pt x="522" y="1899"/>
                </a:lnTo>
                <a:lnTo>
                  <a:pt x="489" y="1915"/>
                </a:lnTo>
                <a:lnTo>
                  <a:pt x="440" y="1899"/>
                </a:lnTo>
                <a:lnTo>
                  <a:pt x="408" y="1883"/>
                </a:lnTo>
                <a:lnTo>
                  <a:pt x="367" y="1883"/>
                </a:lnTo>
                <a:lnTo>
                  <a:pt x="351" y="1836"/>
                </a:lnTo>
                <a:lnTo>
                  <a:pt x="391" y="1836"/>
                </a:lnTo>
                <a:lnTo>
                  <a:pt x="399" y="1766"/>
                </a:lnTo>
                <a:close/>
                <a:moveTo>
                  <a:pt x="1786" y="267"/>
                </a:moveTo>
                <a:lnTo>
                  <a:pt x="1721" y="251"/>
                </a:lnTo>
                <a:lnTo>
                  <a:pt x="1639" y="228"/>
                </a:lnTo>
                <a:lnTo>
                  <a:pt x="1582" y="259"/>
                </a:lnTo>
                <a:lnTo>
                  <a:pt x="1533" y="228"/>
                </a:lnTo>
                <a:lnTo>
                  <a:pt x="1509" y="188"/>
                </a:lnTo>
                <a:lnTo>
                  <a:pt x="1443" y="196"/>
                </a:lnTo>
                <a:lnTo>
                  <a:pt x="1411" y="220"/>
                </a:lnTo>
                <a:lnTo>
                  <a:pt x="1370" y="220"/>
                </a:lnTo>
                <a:lnTo>
                  <a:pt x="1337" y="267"/>
                </a:lnTo>
                <a:lnTo>
                  <a:pt x="1297" y="282"/>
                </a:lnTo>
                <a:cubicBezTo>
                  <a:pt x="1288" y="290"/>
                  <a:pt x="1215" y="314"/>
                  <a:pt x="1215" y="314"/>
                </a:cubicBezTo>
                <a:lnTo>
                  <a:pt x="1133" y="330"/>
                </a:lnTo>
                <a:lnTo>
                  <a:pt x="1101" y="353"/>
                </a:lnTo>
                <a:lnTo>
                  <a:pt x="1052" y="384"/>
                </a:lnTo>
                <a:lnTo>
                  <a:pt x="930" y="400"/>
                </a:lnTo>
                <a:lnTo>
                  <a:pt x="938" y="471"/>
                </a:lnTo>
                <a:lnTo>
                  <a:pt x="897" y="502"/>
                </a:lnTo>
                <a:cubicBezTo>
                  <a:pt x="897" y="502"/>
                  <a:pt x="799" y="518"/>
                  <a:pt x="783" y="518"/>
                </a:cubicBezTo>
                <a:lnTo>
                  <a:pt x="742" y="526"/>
                </a:lnTo>
                <a:lnTo>
                  <a:pt x="709" y="534"/>
                </a:lnTo>
                <a:lnTo>
                  <a:pt x="660" y="557"/>
                </a:lnTo>
                <a:lnTo>
                  <a:pt x="652" y="596"/>
                </a:lnTo>
                <a:lnTo>
                  <a:pt x="611" y="643"/>
                </a:lnTo>
                <a:lnTo>
                  <a:pt x="571" y="667"/>
                </a:lnTo>
                <a:lnTo>
                  <a:pt x="522" y="667"/>
                </a:lnTo>
                <a:lnTo>
                  <a:pt x="489" y="683"/>
                </a:lnTo>
                <a:lnTo>
                  <a:pt x="448" y="691"/>
                </a:lnTo>
                <a:lnTo>
                  <a:pt x="416" y="698"/>
                </a:lnTo>
                <a:lnTo>
                  <a:pt x="375" y="706"/>
                </a:lnTo>
                <a:lnTo>
                  <a:pt x="399" y="769"/>
                </a:lnTo>
                <a:cubicBezTo>
                  <a:pt x="399" y="769"/>
                  <a:pt x="408" y="840"/>
                  <a:pt x="399" y="824"/>
                </a:cubicBezTo>
                <a:lnTo>
                  <a:pt x="367" y="855"/>
                </a:lnTo>
                <a:lnTo>
                  <a:pt x="342" y="918"/>
                </a:lnTo>
                <a:lnTo>
                  <a:pt x="326" y="989"/>
                </a:lnTo>
                <a:lnTo>
                  <a:pt x="285" y="1052"/>
                </a:lnTo>
                <a:lnTo>
                  <a:pt x="220" y="1091"/>
                </a:lnTo>
                <a:cubicBezTo>
                  <a:pt x="220" y="1091"/>
                  <a:pt x="228" y="1193"/>
                  <a:pt x="236" y="1232"/>
                </a:cubicBezTo>
                <a:lnTo>
                  <a:pt x="220" y="1263"/>
                </a:lnTo>
                <a:lnTo>
                  <a:pt x="212" y="1318"/>
                </a:lnTo>
                <a:lnTo>
                  <a:pt x="236" y="1358"/>
                </a:lnTo>
                <a:lnTo>
                  <a:pt x="269" y="1413"/>
                </a:lnTo>
                <a:lnTo>
                  <a:pt x="302" y="1389"/>
                </a:lnTo>
                <a:lnTo>
                  <a:pt x="334" y="1405"/>
                </a:lnTo>
                <a:lnTo>
                  <a:pt x="350" y="1460"/>
                </a:lnTo>
                <a:lnTo>
                  <a:pt x="383" y="1499"/>
                </a:lnTo>
                <a:lnTo>
                  <a:pt x="432" y="1507"/>
                </a:lnTo>
                <a:lnTo>
                  <a:pt x="481" y="1491"/>
                </a:lnTo>
                <a:lnTo>
                  <a:pt x="514" y="1499"/>
                </a:lnTo>
                <a:lnTo>
                  <a:pt x="546" y="1483"/>
                </a:lnTo>
                <a:lnTo>
                  <a:pt x="587" y="1483"/>
                </a:lnTo>
                <a:lnTo>
                  <a:pt x="579" y="1530"/>
                </a:lnTo>
                <a:lnTo>
                  <a:pt x="546" y="1546"/>
                </a:lnTo>
                <a:lnTo>
                  <a:pt x="514" y="1530"/>
                </a:lnTo>
                <a:lnTo>
                  <a:pt x="481" y="1530"/>
                </a:lnTo>
                <a:lnTo>
                  <a:pt x="448" y="1562"/>
                </a:lnTo>
                <a:lnTo>
                  <a:pt x="424" y="1609"/>
                </a:lnTo>
                <a:lnTo>
                  <a:pt x="391" y="1648"/>
                </a:lnTo>
                <a:lnTo>
                  <a:pt x="399" y="1695"/>
                </a:lnTo>
                <a:lnTo>
                  <a:pt x="448" y="1679"/>
                </a:lnTo>
                <a:lnTo>
                  <a:pt x="448" y="1640"/>
                </a:lnTo>
                <a:lnTo>
                  <a:pt x="465" y="1601"/>
                </a:lnTo>
                <a:lnTo>
                  <a:pt x="514" y="1624"/>
                </a:lnTo>
                <a:lnTo>
                  <a:pt x="546" y="1656"/>
                </a:lnTo>
                <a:lnTo>
                  <a:pt x="587" y="1695"/>
                </a:lnTo>
                <a:lnTo>
                  <a:pt x="595" y="1750"/>
                </a:lnTo>
                <a:lnTo>
                  <a:pt x="644" y="1781"/>
                </a:lnTo>
                <a:lnTo>
                  <a:pt x="701" y="1726"/>
                </a:lnTo>
                <a:lnTo>
                  <a:pt x="750" y="1758"/>
                </a:lnTo>
                <a:lnTo>
                  <a:pt x="791" y="1734"/>
                </a:lnTo>
                <a:cubicBezTo>
                  <a:pt x="791" y="1734"/>
                  <a:pt x="872" y="1719"/>
                  <a:pt x="897" y="1703"/>
                </a:cubicBezTo>
                <a:lnTo>
                  <a:pt x="954" y="1719"/>
                </a:lnTo>
                <a:lnTo>
                  <a:pt x="1003" y="1711"/>
                </a:lnTo>
                <a:lnTo>
                  <a:pt x="1052" y="1687"/>
                </a:lnTo>
                <a:lnTo>
                  <a:pt x="1084" y="1679"/>
                </a:lnTo>
                <a:lnTo>
                  <a:pt x="1117" y="1703"/>
                </a:lnTo>
                <a:lnTo>
                  <a:pt x="1158" y="1672"/>
                </a:lnTo>
                <a:lnTo>
                  <a:pt x="1190" y="1703"/>
                </a:lnTo>
                <a:lnTo>
                  <a:pt x="1248" y="1726"/>
                </a:lnTo>
                <a:lnTo>
                  <a:pt x="1288" y="1711"/>
                </a:lnTo>
                <a:lnTo>
                  <a:pt x="1321" y="1711"/>
                </a:lnTo>
                <a:lnTo>
                  <a:pt x="1337" y="1758"/>
                </a:lnTo>
                <a:lnTo>
                  <a:pt x="1305" y="1766"/>
                </a:lnTo>
                <a:lnTo>
                  <a:pt x="1272" y="1797"/>
                </a:lnTo>
                <a:lnTo>
                  <a:pt x="1305" y="1829"/>
                </a:lnTo>
                <a:lnTo>
                  <a:pt x="1337" y="1829"/>
                </a:lnTo>
                <a:lnTo>
                  <a:pt x="1370" y="1821"/>
                </a:lnTo>
                <a:lnTo>
                  <a:pt x="1419" y="1797"/>
                </a:lnTo>
                <a:lnTo>
                  <a:pt x="1451" y="1774"/>
                </a:lnTo>
                <a:lnTo>
                  <a:pt x="1500" y="1781"/>
                </a:lnTo>
                <a:lnTo>
                  <a:pt x="1468" y="1829"/>
                </a:lnTo>
                <a:lnTo>
                  <a:pt x="1500" y="1797"/>
                </a:lnTo>
                <a:lnTo>
                  <a:pt x="1533" y="1797"/>
                </a:lnTo>
                <a:lnTo>
                  <a:pt x="1525" y="1758"/>
                </a:lnTo>
                <a:lnTo>
                  <a:pt x="1557" y="1797"/>
                </a:lnTo>
                <a:lnTo>
                  <a:pt x="1590" y="1836"/>
                </a:lnTo>
                <a:lnTo>
                  <a:pt x="1623" y="1836"/>
                </a:lnTo>
                <a:lnTo>
                  <a:pt x="1655" y="1860"/>
                </a:lnTo>
                <a:lnTo>
                  <a:pt x="1688" y="1883"/>
                </a:lnTo>
                <a:lnTo>
                  <a:pt x="1712" y="1844"/>
                </a:lnTo>
                <a:lnTo>
                  <a:pt x="1696" y="1805"/>
                </a:lnTo>
                <a:lnTo>
                  <a:pt x="1663" y="1766"/>
                </a:lnTo>
                <a:lnTo>
                  <a:pt x="1647" y="1719"/>
                </a:lnTo>
                <a:lnTo>
                  <a:pt x="1631" y="1672"/>
                </a:lnTo>
                <a:lnTo>
                  <a:pt x="1623" y="1624"/>
                </a:lnTo>
                <a:lnTo>
                  <a:pt x="1574" y="1617"/>
                </a:lnTo>
                <a:lnTo>
                  <a:pt x="1525" y="1585"/>
                </a:lnTo>
                <a:lnTo>
                  <a:pt x="1582" y="1577"/>
                </a:lnTo>
                <a:lnTo>
                  <a:pt x="1631" y="1601"/>
                </a:lnTo>
                <a:lnTo>
                  <a:pt x="1680" y="1640"/>
                </a:lnTo>
                <a:lnTo>
                  <a:pt x="1688" y="1679"/>
                </a:lnTo>
                <a:lnTo>
                  <a:pt x="1745" y="1695"/>
                </a:lnTo>
                <a:lnTo>
                  <a:pt x="1745" y="1734"/>
                </a:lnTo>
                <a:lnTo>
                  <a:pt x="1778" y="1726"/>
                </a:lnTo>
                <a:lnTo>
                  <a:pt x="1810" y="1719"/>
                </a:lnTo>
                <a:lnTo>
                  <a:pt x="1843" y="1703"/>
                </a:lnTo>
                <a:lnTo>
                  <a:pt x="1843" y="1664"/>
                </a:lnTo>
                <a:lnTo>
                  <a:pt x="1786" y="1624"/>
                </a:lnTo>
                <a:lnTo>
                  <a:pt x="1753" y="1640"/>
                </a:lnTo>
                <a:lnTo>
                  <a:pt x="1721" y="1617"/>
                </a:lnTo>
                <a:lnTo>
                  <a:pt x="1680" y="1577"/>
                </a:lnTo>
                <a:lnTo>
                  <a:pt x="1663" y="1515"/>
                </a:lnTo>
                <a:lnTo>
                  <a:pt x="1647" y="1475"/>
                </a:lnTo>
                <a:lnTo>
                  <a:pt x="1615" y="1444"/>
                </a:lnTo>
                <a:lnTo>
                  <a:pt x="1566" y="1452"/>
                </a:lnTo>
                <a:lnTo>
                  <a:pt x="1517" y="1460"/>
                </a:lnTo>
                <a:lnTo>
                  <a:pt x="1468" y="1436"/>
                </a:lnTo>
                <a:lnTo>
                  <a:pt x="1419" y="1420"/>
                </a:lnTo>
                <a:lnTo>
                  <a:pt x="1362" y="1397"/>
                </a:lnTo>
                <a:lnTo>
                  <a:pt x="1345" y="1358"/>
                </a:lnTo>
                <a:lnTo>
                  <a:pt x="1313" y="1350"/>
                </a:lnTo>
                <a:lnTo>
                  <a:pt x="1280" y="1358"/>
                </a:lnTo>
                <a:lnTo>
                  <a:pt x="1248" y="1381"/>
                </a:lnTo>
                <a:lnTo>
                  <a:pt x="1223" y="1420"/>
                </a:lnTo>
                <a:lnTo>
                  <a:pt x="1272" y="1436"/>
                </a:lnTo>
                <a:lnTo>
                  <a:pt x="1321" y="1460"/>
                </a:lnTo>
                <a:lnTo>
                  <a:pt x="1362" y="1468"/>
                </a:lnTo>
                <a:lnTo>
                  <a:pt x="1427" y="1522"/>
                </a:lnTo>
                <a:lnTo>
                  <a:pt x="1460" y="1546"/>
                </a:lnTo>
                <a:cubicBezTo>
                  <a:pt x="1460" y="1546"/>
                  <a:pt x="1394" y="1562"/>
                  <a:pt x="1386" y="1562"/>
                </a:cubicBezTo>
                <a:lnTo>
                  <a:pt x="1354" y="1546"/>
                </a:lnTo>
                <a:lnTo>
                  <a:pt x="1337" y="1507"/>
                </a:lnTo>
                <a:lnTo>
                  <a:pt x="1305" y="1507"/>
                </a:lnTo>
                <a:lnTo>
                  <a:pt x="1272" y="1515"/>
                </a:lnTo>
                <a:lnTo>
                  <a:pt x="1239" y="1499"/>
                </a:lnTo>
                <a:lnTo>
                  <a:pt x="1207" y="1483"/>
                </a:lnTo>
                <a:lnTo>
                  <a:pt x="1174" y="1475"/>
                </a:lnTo>
                <a:lnTo>
                  <a:pt x="1093" y="1475"/>
                </a:lnTo>
                <a:lnTo>
                  <a:pt x="1060" y="1468"/>
                </a:lnTo>
                <a:lnTo>
                  <a:pt x="1101" y="1444"/>
                </a:lnTo>
                <a:lnTo>
                  <a:pt x="1133" y="1452"/>
                </a:lnTo>
                <a:lnTo>
                  <a:pt x="1166" y="1436"/>
                </a:lnTo>
                <a:lnTo>
                  <a:pt x="1207" y="1397"/>
                </a:lnTo>
                <a:lnTo>
                  <a:pt x="1199" y="1350"/>
                </a:lnTo>
                <a:lnTo>
                  <a:pt x="1166" y="1311"/>
                </a:lnTo>
                <a:lnTo>
                  <a:pt x="1125" y="1303"/>
                </a:lnTo>
                <a:lnTo>
                  <a:pt x="1142" y="1271"/>
                </a:lnTo>
                <a:lnTo>
                  <a:pt x="1190" y="1240"/>
                </a:lnTo>
                <a:lnTo>
                  <a:pt x="1231" y="1256"/>
                </a:lnTo>
                <a:lnTo>
                  <a:pt x="1272" y="1279"/>
                </a:lnTo>
                <a:lnTo>
                  <a:pt x="1264" y="1318"/>
                </a:lnTo>
                <a:lnTo>
                  <a:pt x="1296" y="1295"/>
                </a:lnTo>
                <a:lnTo>
                  <a:pt x="1280" y="1240"/>
                </a:lnTo>
                <a:lnTo>
                  <a:pt x="1248" y="1201"/>
                </a:lnTo>
                <a:lnTo>
                  <a:pt x="1199" y="1169"/>
                </a:lnTo>
                <a:lnTo>
                  <a:pt x="1158" y="1154"/>
                </a:lnTo>
                <a:lnTo>
                  <a:pt x="1142" y="1122"/>
                </a:lnTo>
                <a:lnTo>
                  <a:pt x="1109" y="1091"/>
                </a:lnTo>
                <a:lnTo>
                  <a:pt x="1101" y="1052"/>
                </a:lnTo>
                <a:lnTo>
                  <a:pt x="1052" y="1028"/>
                </a:lnTo>
                <a:lnTo>
                  <a:pt x="1027" y="989"/>
                </a:lnTo>
                <a:lnTo>
                  <a:pt x="995" y="973"/>
                </a:lnTo>
                <a:lnTo>
                  <a:pt x="962" y="942"/>
                </a:lnTo>
                <a:lnTo>
                  <a:pt x="962" y="895"/>
                </a:lnTo>
                <a:lnTo>
                  <a:pt x="970" y="855"/>
                </a:lnTo>
                <a:lnTo>
                  <a:pt x="970" y="816"/>
                </a:lnTo>
                <a:lnTo>
                  <a:pt x="962" y="761"/>
                </a:lnTo>
                <a:lnTo>
                  <a:pt x="1003" y="722"/>
                </a:lnTo>
                <a:lnTo>
                  <a:pt x="1044" y="698"/>
                </a:lnTo>
                <a:lnTo>
                  <a:pt x="1068" y="738"/>
                </a:lnTo>
                <a:lnTo>
                  <a:pt x="1052" y="793"/>
                </a:lnTo>
                <a:lnTo>
                  <a:pt x="1101" y="808"/>
                </a:lnTo>
                <a:lnTo>
                  <a:pt x="1142" y="832"/>
                </a:lnTo>
                <a:lnTo>
                  <a:pt x="1182" y="832"/>
                </a:lnTo>
                <a:lnTo>
                  <a:pt x="1223" y="871"/>
                </a:lnTo>
                <a:lnTo>
                  <a:pt x="1231" y="926"/>
                </a:lnTo>
                <a:lnTo>
                  <a:pt x="1264" y="942"/>
                </a:lnTo>
                <a:lnTo>
                  <a:pt x="1296" y="934"/>
                </a:lnTo>
                <a:lnTo>
                  <a:pt x="1337" y="950"/>
                </a:lnTo>
                <a:lnTo>
                  <a:pt x="1370" y="926"/>
                </a:lnTo>
                <a:lnTo>
                  <a:pt x="1329" y="910"/>
                </a:lnTo>
                <a:lnTo>
                  <a:pt x="1296" y="910"/>
                </a:lnTo>
                <a:lnTo>
                  <a:pt x="1256" y="879"/>
                </a:lnTo>
                <a:lnTo>
                  <a:pt x="1223" y="855"/>
                </a:lnTo>
                <a:lnTo>
                  <a:pt x="1231" y="816"/>
                </a:lnTo>
                <a:lnTo>
                  <a:pt x="1264" y="816"/>
                </a:lnTo>
                <a:lnTo>
                  <a:pt x="1313" y="816"/>
                </a:lnTo>
                <a:lnTo>
                  <a:pt x="1362" y="840"/>
                </a:lnTo>
                <a:lnTo>
                  <a:pt x="1386" y="887"/>
                </a:lnTo>
                <a:lnTo>
                  <a:pt x="1419" y="903"/>
                </a:lnTo>
                <a:lnTo>
                  <a:pt x="1451" y="918"/>
                </a:lnTo>
                <a:lnTo>
                  <a:pt x="1460" y="879"/>
                </a:lnTo>
                <a:lnTo>
                  <a:pt x="1435" y="832"/>
                </a:lnTo>
                <a:lnTo>
                  <a:pt x="1394" y="824"/>
                </a:lnTo>
                <a:lnTo>
                  <a:pt x="1346" y="769"/>
                </a:lnTo>
                <a:lnTo>
                  <a:pt x="1378" y="730"/>
                </a:lnTo>
                <a:lnTo>
                  <a:pt x="1427" y="761"/>
                </a:lnTo>
                <a:lnTo>
                  <a:pt x="1460" y="769"/>
                </a:lnTo>
                <a:lnTo>
                  <a:pt x="1492" y="761"/>
                </a:lnTo>
                <a:lnTo>
                  <a:pt x="1533" y="785"/>
                </a:lnTo>
                <a:lnTo>
                  <a:pt x="1558" y="816"/>
                </a:lnTo>
                <a:lnTo>
                  <a:pt x="1598" y="793"/>
                </a:lnTo>
                <a:lnTo>
                  <a:pt x="1566" y="777"/>
                </a:lnTo>
                <a:lnTo>
                  <a:pt x="1525" y="745"/>
                </a:lnTo>
                <a:lnTo>
                  <a:pt x="1468" y="730"/>
                </a:lnTo>
                <a:lnTo>
                  <a:pt x="1435" y="698"/>
                </a:lnTo>
                <a:lnTo>
                  <a:pt x="1403" y="730"/>
                </a:lnTo>
                <a:lnTo>
                  <a:pt x="1370" y="722"/>
                </a:lnTo>
                <a:lnTo>
                  <a:pt x="1354" y="651"/>
                </a:lnTo>
                <a:lnTo>
                  <a:pt x="1321" y="636"/>
                </a:lnTo>
                <a:lnTo>
                  <a:pt x="1313" y="596"/>
                </a:lnTo>
                <a:lnTo>
                  <a:pt x="1354" y="573"/>
                </a:lnTo>
                <a:lnTo>
                  <a:pt x="1394" y="573"/>
                </a:lnTo>
                <a:lnTo>
                  <a:pt x="1443" y="557"/>
                </a:lnTo>
                <a:lnTo>
                  <a:pt x="1476" y="534"/>
                </a:lnTo>
                <a:lnTo>
                  <a:pt x="1501" y="471"/>
                </a:lnTo>
                <a:lnTo>
                  <a:pt x="1549" y="471"/>
                </a:lnTo>
                <a:lnTo>
                  <a:pt x="1631" y="471"/>
                </a:lnTo>
                <a:lnTo>
                  <a:pt x="1672" y="447"/>
                </a:lnTo>
                <a:lnTo>
                  <a:pt x="1721" y="392"/>
                </a:lnTo>
                <a:lnTo>
                  <a:pt x="1761" y="416"/>
                </a:lnTo>
                <a:lnTo>
                  <a:pt x="1810" y="416"/>
                </a:lnTo>
                <a:lnTo>
                  <a:pt x="1843" y="424"/>
                </a:lnTo>
                <a:cubicBezTo>
                  <a:pt x="1843" y="424"/>
                  <a:pt x="1957" y="416"/>
                  <a:pt x="1973" y="408"/>
                </a:cubicBezTo>
                <a:lnTo>
                  <a:pt x="2022" y="400"/>
                </a:lnTo>
                <a:lnTo>
                  <a:pt x="2055" y="432"/>
                </a:lnTo>
                <a:lnTo>
                  <a:pt x="2104" y="432"/>
                </a:lnTo>
                <a:lnTo>
                  <a:pt x="2137" y="400"/>
                </a:lnTo>
                <a:lnTo>
                  <a:pt x="2177" y="345"/>
                </a:lnTo>
                <a:lnTo>
                  <a:pt x="2137" y="259"/>
                </a:lnTo>
                <a:lnTo>
                  <a:pt x="2145" y="204"/>
                </a:lnTo>
                <a:lnTo>
                  <a:pt x="2177" y="149"/>
                </a:lnTo>
                <a:lnTo>
                  <a:pt x="2234" y="141"/>
                </a:lnTo>
                <a:lnTo>
                  <a:pt x="2194" y="78"/>
                </a:lnTo>
                <a:lnTo>
                  <a:pt x="2177" y="39"/>
                </a:lnTo>
                <a:lnTo>
                  <a:pt x="2120" y="16"/>
                </a:lnTo>
                <a:lnTo>
                  <a:pt x="2080" y="8"/>
                </a:lnTo>
                <a:lnTo>
                  <a:pt x="2047" y="0"/>
                </a:lnTo>
                <a:lnTo>
                  <a:pt x="2006" y="16"/>
                </a:lnTo>
                <a:lnTo>
                  <a:pt x="2014" y="55"/>
                </a:lnTo>
                <a:lnTo>
                  <a:pt x="2047" y="94"/>
                </a:lnTo>
                <a:lnTo>
                  <a:pt x="2063" y="133"/>
                </a:lnTo>
                <a:lnTo>
                  <a:pt x="2031" y="180"/>
                </a:lnTo>
                <a:lnTo>
                  <a:pt x="1998" y="188"/>
                </a:lnTo>
                <a:lnTo>
                  <a:pt x="1957" y="212"/>
                </a:lnTo>
                <a:lnTo>
                  <a:pt x="1900" y="220"/>
                </a:lnTo>
                <a:lnTo>
                  <a:pt x="1851" y="235"/>
                </a:lnTo>
                <a:lnTo>
                  <a:pt x="1810" y="251"/>
                </a:lnTo>
                <a:lnTo>
                  <a:pt x="1786" y="267"/>
                </a:lnTo>
                <a:close/>
                <a:moveTo>
                  <a:pt x="2830" y="2025"/>
                </a:moveTo>
                <a:lnTo>
                  <a:pt x="2797" y="2025"/>
                </a:lnTo>
                <a:lnTo>
                  <a:pt x="2789" y="2064"/>
                </a:lnTo>
                <a:lnTo>
                  <a:pt x="2822" y="2088"/>
                </a:lnTo>
                <a:lnTo>
                  <a:pt x="2822" y="2048"/>
                </a:lnTo>
                <a:lnTo>
                  <a:pt x="2854" y="2033"/>
                </a:lnTo>
                <a:lnTo>
                  <a:pt x="2887" y="2025"/>
                </a:lnTo>
                <a:lnTo>
                  <a:pt x="2920" y="1993"/>
                </a:lnTo>
                <a:lnTo>
                  <a:pt x="2944" y="1954"/>
                </a:lnTo>
                <a:lnTo>
                  <a:pt x="2911" y="1962"/>
                </a:lnTo>
                <a:lnTo>
                  <a:pt x="2879" y="1978"/>
                </a:lnTo>
                <a:lnTo>
                  <a:pt x="2846" y="2017"/>
                </a:lnTo>
                <a:lnTo>
                  <a:pt x="2830" y="2025"/>
                </a:lnTo>
                <a:close/>
                <a:moveTo>
                  <a:pt x="2789" y="1938"/>
                </a:moveTo>
                <a:cubicBezTo>
                  <a:pt x="2765" y="1931"/>
                  <a:pt x="2732" y="1860"/>
                  <a:pt x="2797" y="1923"/>
                </a:cubicBezTo>
                <a:lnTo>
                  <a:pt x="2830" y="1931"/>
                </a:lnTo>
                <a:lnTo>
                  <a:pt x="2830" y="1970"/>
                </a:lnTo>
                <a:lnTo>
                  <a:pt x="2789" y="1962"/>
                </a:lnTo>
                <a:lnTo>
                  <a:pt x="2789" y="1938"/>
                </a:lnTo>
                <a:close/>
                <a:moveTo>
                  <a:pt x="3172" y="2221"/>
                </a:moveTo>
                <a:lnTo>
                  <a:pt x="3189" y="2182"/>
                </a:lnTo>
                <a:lnTo>
                  <a:pt x="3230" y="2142"/>
                </a:lnTo>
                <a:lnTo>
                  <a:pt x="3246" y="2103"/>
                </a:lnTo>
                <a:lnTo>
                  <a:pt x="3278" y="2095"/>
                </a:lnTo>
                <a:lnTo>
                  <a:pt x="3311" y="2064"/>
                </a:lnTo>
                <a:lnTo>
                  <a:pt x="3327" y="2127"/>
                </a:lnTo>
                <a:lnTo>
                  <a:pt x="3303" y="2182"/>
                </a:lnTo>
                <a:lnTo>
                  <a:pt x="3287" y="2245"/>
                </a:lnTo>
                <a:lnTo>
                  <a:pt x="3254" y="2292"/>
                </a:lnTo>
                <a:lnTo>
                  <a:pt x="3221" y="2339"/>
                </a:lnTo>
                <a:lnTo>
                  <a:pt x="3189" y="2315"/>
                </a:lnTo>
                <a:lnTo>
                  <a:pt x="3197" y="2276"/>
                </a:lnTo>
                <a:lnTo>
                  <a:pt x="3164" y="2245"/>
                </a:lnTo>
                <a:lnTo>
                  <a:pt x="3172" y="2221"/>
                </a:lnTo>
                <a:close/>
                <a:moveTo>
                  <a:pt x="3042" y="2598"/>
                </a:moveTo>
                <a:lnTo>
                  <a:pt x="3009" y="2574"/>
                </a:lnTo>
                <a:lnTo>
                  <a:pt x="3017" y="2535"/>
                </a:lnTo>
                <a:lnTo>
                  <a:pt x="3017" y="2417"/>
                </a:lnTo>
                <a:lnTo>
                  <a:pt x="3034" y="2456"/>
                </a:lnTo>
                <a:lnTo>
                  <a:pt x="3026" y="2496"/>
                </a:lnTo>
                <a:lnTo>
                  <a:pt x="3066" y="2527"/>
                </a:lnTo>
                <a:lnTo>
                  <a:pt x="3050" y="2566"/>
                </a:lnTo>
                <a:lnTo>
                  <a:pt x="3042" y="2598"/>
                </a:lnTo>
                <a:close/>
                <a:moveTo>
                  <a:pt x="2577" y="1640"/>
                </a:moveTo>
                <a:lnTo>
                  <a:pt x="2602" y="1609"/>
                </a:lnTo>
                <a:lnTo>
                  <a:pt x="2659" y="1617"/>
                </a:lnTo>
                <a:lnTo>
                  <a:pt x="2708" y="1601"/>
                </a:lnTo>
                <a:lnTo>
                  <a:pt x="2740" y="1624"/>
                </a:lnTo>
                <a:lnTo>
                  <a:pt x="2708" y="1656"/>
                </a:lnTo>
                <a:lnTo>
                  <a:pt x="2675" y="1687"/>
                </a:lnTo>
                <a:lnTo>
                  <a:pt x="2634" y="1679"/>
                </a:lnTo>
                <a:lnTo>
                  <a:pt x="2602" y="1672"/>
                </a:lnTo>
                <a:lnTo>
                  <a:pt x="2569" y="1672"/>
                </a:lnTo>
                <a:lnTo>
                  <a:pt x="2577" y="1640"/>
                </a:lnTo>
                <a:close/>
                <a:moveTo>
                  <a:pt x="2406" y="1797"/>
                </a:moveTo>
                <a:lnTo>
                  <a:pt x="2373" y="1781"/>
                </a:lnTo>
                <a:lnTo>
                  <a:pt x="2422" y="1727"/>
                </a:lnTo>
                <a:lnTo>
                  <a:pt x="2455" y="1727"/>
                </a:lnTo>
                <a:lnTo>
                  <a:pt x="2512" y="1703"/>
                </a:lnTo>
                <a:lnTo>
                  <a:pt x="2479" y="1742"/>
                </a:lnTo>
                <a:lnTo>
                  <a:pt x="2447" y="1766"/>
                </a:lnTo>
                <a:lnTo>
                  <a:pt x="2406" y="1797"/>
                </a:lnTo>
                <a:close/>
                <a:moveTo>
                  <a:pt x="1941" y="2190"/>
                </a:moveTo>
                <a:lnTo>
                  <a:pt x="1973" y="2197"/>
                </a:lnTo>
                <a:lnTo>
                  <a:pt x="1957" y="2244"/>
                </a:lnTo>
                <a:lnTo>
                  <a:pt x="1916" y="2276"/>
                </a:lnTo>
                <a:lnTo>
                  <a:pt x="1884" y="2284"/>
                </a:lnTo>
                <a:lnTo>
                  <a:pt x="1867" y="2244"/>
                </a:lnTo>
                <a:lnTo>
                  <a:pt x="1900" y="2237"/>
                </a:lnTo>
                <a:lnTo>
                  <a:pt x="1933" y="2205"/>
                </a:lnTo>
                <a:lnTo>
                  <a:pt x="1941" y="2190"/>
                </a:lnTo>
                <a:close/>
                <a:moveTo>
                  <a:pt x="2234" y="2033"/>
                </a:moveTo>
                <a:lnTo>
                  <a:pt x="2243" y="1993"/>
                </a:lnTo>
                <a:lnTo>
                  <a:pt x="2292" y="1970"/>
                </a:lnTo>
                <a:lnTo>
                  <a:pt x="2300" y="2009"/>
                </a:lnTo>
                <a:lnTo>
                  <a:pt x="2300" y="2056"/>
                </a:lnTo>
                <a:lnTo>
                  <a:pt x="2275" y="2088"/>
                </a:lnTo>
                <a:lnTo>
                  <a:pt x="2234" y="2072"/>
                </a:lnTo>
                <a:lnTo>
                  <a:pt x="2234" y="2033"/>
                </a:lnTo>
                <a:close/>
                <a:moveTo>
                  <a:pt x="2137" y="2072"/>
                </a:moveTo>
                <a:lnTo>
                  <a:pt x="2145" y="2033"/>
                </a:lnTo>
                <a:lnTo>
                  <a:pt x="2177" y="2009"/>
                </a:lnTo>
                <a:lnTo>
                  <a:pt x="2194" y="2048"/>
                </a:lnTo>
                <a:lnTo>
                  <a:pt x="2153" y="2088"/>
                </a:lnTo>
                <a:lnTo>
                  <a:pt x="2120" y="2111"/>
                </a:lnTo>
                <a:lnTo>
                  <a:pt x="2128" y="2072"/>
                </a:lnTo>
                <a:lnTo>
                  <a:pt x="2137" y="2072"/>
                </a:lnTo>
                <a:close/>
                <a:moveTo>
                  <a:pt x="1761" y="2825"/>
                </a:moveTo>
                <a:lnTo>
                  <a:pt x="1753" y="2778"/>
                </a:lnTo>
                <a:lnTo>
                  <a:pt x="1761" y="2739"/>
                </a:lnTo>
                <a:lnTo>
                  <a:pt x="1778" y="2786"/>
                </a:lnTo>
                <a:lnTo>
                  <a:pt x="1810" y="2802"/>
                </a:lnTo>
                <a:lnTo>
                  <a:pt x="1859" y="2794"/>
                </a:lnTo>
                <a:lnTo>
                  <a:pt x="1884" y="2762"/>
                </a:lnTo>
                <a:lnTo>
                  <a:pt x="1925" y="2755"/>
                </a:lnTo>
                <a:lnTo>
                  <a:pt x="1916" y="2794"/>
                </a:lnTo>
                <a:lnTo>
                  <a:pt x="1949" y="2794"/>
                </a:lnTo>
                <a:lnTo>
                  <a:pt x="1973" y="2833"/>
                </a:lnTo>
                <a:lnTo>
                  <a:pt x="2006" y="2833"/>
                </a:lnTo>
                <a:cubicBezTo>
                  <a:pt x="2022" y="2825"/>
                  <a:pt x="2104" y="2802"/>
                  <a:pt x="2104" y="2802"/>
                </a:cubicBezTo>
                <a:lnTo>
                  <a:pt x="2145" y="2778"/>
                </a:lnTo>
                <a:lnTo>
                  <a:pt x="2218" y="2762"/>
                </a:lnTo>
                <a:lnTo>
                  <a:pt x="2259" y="2755"/>
                </a:lnTo>
                <a:lnTo>
                  <a:pt x="2300" y="2794"/>
                </a:lnTo>
                <a:lnTo>
                  <a:pt x="2349" y="2786"/>
                </a:lnTo>
                <a:lnTo>
                  <a:pt x="2422" y="2778"/>
                </a:lnTo>
                <a:lnTo>
                  <a:pt x="2455" y="2755"/>
                </a:lnTo>
                <a:lnTo>
                  <a:pt x="2512" y="2739"/>
                </a:lnTo>
                <a:lnTo>
                  <a:pt x="2520" y="2794"/>
                </a:lnTo>
                <a:lnTo>
                  <a:pt x="2553" y="2817"/>
                </a:lnTo>
                <a:lnTo>
                  <a:pt x="2585" y="2794"/>
                </a:lnTo>
                <a:lnTo>
                  <a:pt x="2618" y="2770"/>
                </a:lnTo>
                <a:lnTo>
                  <a:pt x="2659" y="2762"/>
                </a:lnTo>
                <a:lnTo>
                  <a:pt x="2691" y="2731"/>
                </a:lnTo>
                <a:lnTo>
                  <a:pt x="2724" y="2708"/>
                </a:lnTo>
                <a:lnTo>
                  <a:pt x="2732" y="2763"/>
                </a:lnTo>
                <a:lnTo>
                  <a:pt x="2724" y="2802"/>
                </a:lnTo>
                <a:lnTo>
                  <a:pt x="2716" y="2833"/>
                </a:lnTo>
                <a:lnTo>
                  <a:pt x="2683" y="2849"/>
                </a:lnTo>
                <a:lnTo>
                  <a:pt x="2642" y="2841"/>
                </a:lnTo>
                <a:lnTo>
                  <a:pt x="2602" y="2857"/>
                </a:lnTo>
                <a:lnTo>
                  <a:pt x="2569" y="2880"/>
                </a:lnTo>
                <a:lnTo>
                  <a:pt x="2536" y="2880"/>
                </a:lnTo>
                <a:cubicBezTo>
                  <a:pt x="2487" y="2888"/>
                  <a:pt x="2422" y="2904"/>
                  <a:pt x="2422" y="2904"/>
                </a:cubicBezTo>
                <a:lnTo>
                  <a:pt x="2389" y="2919"/>
                </a:lnTo>
                <a:lnTo>
                  <a:pt x="2357" y="2935"/>
                </a:lnTo>
                <a:lnTo>
                  <a:pt x="2316" y="2959"/>
                </a:lnTo>
                <a:lnTo>
                  <a:pt x="2259" y="2967"/>
                </a:lnTo>
                <a:lnTo>
                  <a:pt x="2218" y="2974"/>
                </a:lnTo>
                <a:lnTo>
                  <a:pt x="2186" y="2982"/>
                </a:lnTo>
                <a:lnTo>
                  <a:pt x="2186" y="2927"/>
                </a:lnTo>
                <a:lnTo>
                  <a:pt x="2137" y="2919"/>
                </a:lnTo>
                <a:lnTo>
                  <a:pt x="2169" y="2912"/>
                </a:lnTo>
                <a:lnTo>
                  <a:pt x="2120" y="2919"/>
                </a:lnTo>
                <a:lnTo>
                  <a:pt x="2080" y="2927"/>
                </a:lnTo>
                <a:lnTo>
                  <a:pt x="2014" y="2904"/>
                </a:lnTo>
                <a:lnTo>
                  <a:pt x="1982" y="2912"/>
                </a:lnTo>
                <a:lnTo>
                  <a:pt x="1949" y="2912"/>
                </a:lnTo>
                <a:lnTo>
                  <a:pt x="1916" y="2919"/>
                </a:lnTo>
                <a:lnTo>
                  <a:pt x="1867" y="2927"/>
                </a:lnTo>
                <a:lnTo>
                  <a:pt x="1819" y="2912"/>
                </a:lnTo>
                <a:lnTo>
                  <a:pt x="1786" y="2935"/>
                </a:lnTo>
                <a:lnTo>
                  <a:pt x="1737" y="2927"/>
                </a:lnTo>
                <a:lnTo>
                  <a:pt x="1713" y="2872"/>
                </a:lnTo>
                <a:lnTo>
                  <a:pt x="1704" y="2833"/>
                </a:lnTo>
                <a:lnTo>
                  <a:pt x="1696" y="2802"/>
                </a:lnTo>
                <a:lnTo>
                  <a:pt x="1729" y="2825"/>
                </a:lnTo>
                <a:lnTo>
                  <a:pt x="1761" y="2825"/>
                </a:lnTo>
                <a:close/>
                <a:moveTo>
                  <a:pt x="489" y="1978"/>
                </a:moveTo>
                <a:lnTo>
                  <a:pt x="522" y="1993"/>
                </a:lnTo>
                <a:lnTo>
                  <a:pt x="554" y="2009"/>
                </a:lnTo>
                <a:lnTo>
                  <a:pt x="603" y="2033"/>
                </a:lnTo>
                <a:lnTo>
                  <a:pt x="587" y="2072"/>
                </a:lnTo>
                <a:lnTo>
                  <a:pt x="554" y="2088"/>
                </a:lnTo>
                <a:lnTo>
                  <a:pt x="514" y="2056"/>
                </a:lnTo>
                <a:lnTo>
                  <a:pt x="481" y="2033"/>
                </a:lnTo>
                <a:lnTo>
                  <a:pt x="481" y="1993"/>
                </a:lnTo>
                <a:lnTo>
                  <a:pt x="489" y="1978"/>
                </a:lnTo>
                <a:close/>
                <a:moveTo>
                  <a:pt x="90" y="1263"/>
                </a:moveTo>
                <a:lnTo>
                  <a:pt x="106" y="1334"/>
                </a:lnTo>
                <a:lnTo>
                  <a:pt x="155" y="1358"/>
                </a:lnTo>
                <a:lnTo>
                  <a:pt x="196" y="1405"/>
                </a:lnTo>
                <a:lnTo>
                  <a:pt x="147" y="1389"/>
                </a:lnTo>
                <a:lnTo>
                  <a:pt x="114" y="1365"/>
                </a:lnTo>
                <a:lnTo>
                  <a:pt x="81" y="1358"/>
                </a:lnTo>
                <a:lnTo>
                  <a:pt x="73" y="1318"/>
                </a:lnTo>
                <a:lnTo>
                  <a:pt x="0" y="1279"/>
                </a:lnTo>
                <a:lnTo>
                  <a:pt x="8" y="1240"/>
                </a:lnTo>
                <a:lnTo>
                  <a:pt x="57" y="1216"/>
                </a:lnTo>
                <a:lnTo>
                  <a:pt x="90" y="1232"/>
                </a:lnTo>
                <a:lnTo>
                  <a:pt x="90" y="1263"/>
                </a:ln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84" name="Freeform 176">
            <a:extLst>
              <a:ext uri="{FF2B5EF4-FFF2-40B4-BE49-F238E27FC236}">
                <a16:creationId xmlns:a16="http://schemas.microsoft.com/office/drawing/2014/main" id="{D649404C-30B1-B4C6-F979-0DEF98C4BA0F}"/>
              </a:ext>
            </a:extLst>
          </p:cNvPr>
          <p:cNvSpPr>
            <a:spLocks noChangeArrowheads="1"/>
          </p:cNvSpPr>
          <p:nvPr>
            <p:custDataLst>
              <p:tags r:id="rId175"/>
            </p:custDataLst>
          </p:nvPr>
        </p:nvSpPr>
        <p:spPr bwMode="auto">
          <a:xfrm>
            <a:off x="9577741" y="5928113"/>
            <a:ext cx="3622" cy="19924"/>
          </a:xfrm>
          <a:custGeom>
            <a:avLst/>
            <a:gdLst>
              <a:gd name="T0" fmla="*/ 0 w 10"/>
              <a:gd name="T1" fmla="*/ 0 h 48"/>
              <a:gd name="T2" fmla="*/ 9 w 10"/>
              <a:gd name="T3" fmla="*/ 47 h 48"/>
              <a:gd name="T4" fmla="*/ 0 w 10"/>
              <a:gd name="T5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" h="48">
                <a:moveTo>
                  <a:pt x="0" y="0"/>
                </a:moveTo>
                <a:lnTo>
                  <a:pt x="9" y="47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85" name="Freeform 177">
            <a:extLst>
              <a:ext uri="{FF2B5EF4-FFF2-40B4-BE49-F238E27FC236}">
                <a16:creationId xmlns:a16="http://schemas.microsoft.com/office/drawing/2014/main" id="{8DB2D937-E247-CE7C-AF63-21F0A8AC1174}"/>
              </a:ext>
            </a:extLst>
          </p:cNvPr>
          <p:cNvSpPr>
            <a:spLocks noChangeArrowheads="1"/>
          </p:cNvSpPr>
          <p:nvPr>
            <p:custDataLst>
              <p:tags r:id="rId176"/>
            </p:custDataLst>
          </p:nvPr>
        </p:nvSpPr>
        <p:spPr bwMode="auto">
          <a:xfrm>
            <a:off x="9719016" y="6255944"/>
            <a:ext cx="30790" cy="12678"/>
          </a:xfrm>
          <a:custGeom>
            <a:avLst/>
            <a:gdLst>
              <a:gd name="T0" fmla="*/ 8 w 74"/>
              <a:gd name="T1" fmla="*/ 0 h 33"/>
              <a:gd name="T2" fmla="*/ 0 w 74"/>
              <a:gd name="T3" fmla="*/ 32 h 33"/>
              <a:gd name="T4" fmla="*/ 33 w 74"/>
              <a:gd name="T5" fmla="*/ 32 h 33"/>
              <a:gd name="T6" fmla="*/ 73 w 74"/>
              <a:gd name="T7" fmla="*/ 0 h 33"/>
              <a:gd name="T8" fmla="*/ 8 w 74"/>
              <a:gd name="T9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" h="33">
                <a:moveTo>
                  <a:pt x="8" y="0"/>
                </a:moveTo>
                <a:lnTo>
                  <a:pt x="0" y="32"/>
                </a:lnTo>
                <a:lnTo>
                  <a:pt x="33" y="32"/>
                </a:lnTo>
                <a:lnTo>
                  <a:pt x="73" y="0"/>
                </a:lnTo>
                <a:lnTo>
                  <a:pt x="8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86" name="Freeform 178">
            <a:extLst>
              <a:ext uri="{FF2B5EF4-FFF2-40B4-BE49-F238E27FC236}">
                <a16:creationId xmlns:a16="http://schemas.microsoft.com/office/drawing/2014/main" id="{20C516BE-7A41-3988-7252-1DB040B32814}"/>
              </a:ext>
            </a:extLst>
          </p:cNvPr>
          <p:cNvSpPr>
            <a:spLocks noChangeArrowheads="1"/>
          </p:cNvSpPr>
          <p:nvPr>
            <p:custDataLst>
              <p:tags r:id="rId177"/>
            </p:custDataLst>
          </p:nvPr>
        </p:nvSpPr>
        <p:spPr bwMode="auto">
          <a:xfrm>
            <a:off x="9440089" y="6047653"/>
            <a:ext cx="18112" cy="16302"/>
          </a:xfrm>
          <a:custGeom>
            <a:avLst/>
            <a:gdLst>
              <a:gd name="T0" fmla="*/ 0 w 42"/>
              <a:gd name="T1" fmla="*/ 8 h 40"/>
              <a:gd name="T2" fmla="*/ 33 w 42"/>
              <a:gd name="T3" fmla="*/ 39 h 40"/>
              <a:gd name="T4" fmla="*/ 41 w 42"/>
              <a:gd name="T5" fmla="*/ 0 h 40"/>
              <a:gd name="T6" fmla="*/ 0 w 42"/>
              <a:gd name="T7" fmla="*/ 8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2" h="40">
                <a:moveTo>
                  <a:pt x="0" y="8"/>
                </a:moveTo>
                <a:lnTo>
                  <a:pt x="33" y="39"/>
                </a:lnTo>
                <a:lnTo>
                  <a:pt x="41" y="0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87" name="Freeform 179">
            <a:extLst>
              <a:ext uri="{FF2B5EF4-FFF2-40B4-BE49-F238E27FC236}">
                <a16:creationId xmlns:a16="http://schemas.microsoft.com/office/drawing/2014/main" id="{5639EA5E-5B5F-AF32-2505-70E61C079BE2}"/>
              </a:ext>
            </a:extLst>
          </p:cNvPr>
          <p:cNvSpPr>
            <a:spLocks noChangeArrowheads="1"/>
          </p:cNvSpPr>
          <p:nvPr>
            <p:custDataLst>
              <p:tags r:id="rId178"/>
            </p:custDataLst>
          </p:nvPr>
        </p:nvSpPr>
        <p:spPr bwMode="auto">
          <a:xfrm>
            <a:off x="9447334" y="6121914"/>
            <a:ext cx="27168" cy="19923"/>
          </a:xfrm>
          <a:custGeom>
            <a:avLst/>
            <a:gdLst>
              <a:gd name="T0" fmla="*/ 0 w 66"/>
              <a:gd name="T1" fmla="*/ 23 h 48"/>
              <a:gd name="T2" fmla="*/ 33 w 66"/>
              <a:gd name="T3" fmla="*/ 47 h 48"/>
              <a:gd name="T4" fmla="*/ 65 w 66"/>
              <a:gd name="T5" fmla="*/ 39 h 48"/>
              <a:gd name="T6" fmla="*/ 33 w 66"/>
              <a:gd name="T7" fmla="*/ 0 h 48"/>
              <a:gd name="T8" fmla="*/ 0 w 66"/>
              <a:gd name="T9" fmla="*/ 8 h 48"/>
              <a:gd name="T10" fmla="*/ 0 w 66"/>
              <a:gd name="T11" fmla="*/ 23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6" h="48">
                <a:moveTo>
                  <a:pt x="0" y="23"/>
                </a:moveTo>
                <a:lnTo>
                  <a:pt x="33" y="47"/>
                </a:lnTo>
                <a:lnTo>
                  <a:pt x="65" y="39"/>
                </a:lnTo>
                <a:lnTo>
                  <a:pt x="33" y="0"/>
                </a:lnTo>
                <a:lnTo>
                  <a:pt x="0" y="8"/>
                </a:lnTo>
                <a:lnTo>
                  <a:pt x="0" y="23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88" name="Freeform 180">
            <a:extLst>
              <a:ext uri="{FF2B5EF4-FFF2-40B4-BE49-F238E27FC236}">
                <a16:creationId xmlns:a16="http://schemas.microsoft.com/office/drawing/2014/main" id="{E1C6D2E4-2212-F85A-D510-E31466ABA319}"/>
              </a:ext>
            </a:extLst>
          </p:cNvPr>
          <p:cNvSpPr>
            <a:spLocks noChangeArrowheads="1"/>
          </p:cNvSpPr>
          <p:nvPr>
            <p:custDataLst>
              <p:tags r:id="rId179"/>
            </p:custDataLst>
          </p:nvPr>
        </p:nvSpPr>
        <p:spPr bwMode="auto">
          <a:xfrm>
            <a:off x="9376696" y="6105612"/>
            <a:ext cx="1812" cy="1812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89" name="Freeform 181">
            <a:extLst>
              <a:ext uri="{FF2B5EF4-FFF2-40B4-BE49-F238E27FC236}">
                <a16:creationId xmlns:a16="http://schemas.microsoft.com/office/drawing/2014/main" id="{3FECD983-F44E-1D22-3EFF-52F6869D1AC4}"/>
              </a:ext>
            </a:extLst>
          </p:cNvPr>
          <p:cNvSpPr>
            <a:spLocks noChangeArrowheads="1"/>
          </p:cNvSpPr>
          <p:nvPr>
            <p:custDataLst>
              <p:tags r:id="rId180"/>
            </p:custDataLst>
          </p:nvPr>
        </p:nvSpPr>
        <p:spPr bwMode="auto">
          <a:xfrm>
            <a:off x="9400242" y="6082067"/>
            <a:ext cx="14490" cy="16300"/>
          </a:xfrm>
          <a:custGeom>
            <a:avLst/>
            <a:gdLst>
              <a:gd name="T0" fmla="*/ 16 w 34"/>
              <a:gd name="T1" fmla="*/ 39 h 40"/>
              <a:gd name="T2" fmla="*/ 33 w 34"/>
              <a:gd name="T3" fmla="*/ 0 h 40"/>
              <a:gd name="T4" fmla="*/ 0 w 34"/>
              <a:gd name="T5" fmla="*/ 23 h 40"/>
              <a:gd name="T6" fmla="*/ 16 w 34"/>
              <a:gd name="T7" fmla="*/ 39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4" h="40">
                <a:moveTo>
                  <a:pt x="16" y="39"/>
                </a:moveTo>
                <a:lnTo>
                  <a:pt x="33" y="0"/>
                </a:lnTo>
                <a:lnTo>
                  <a:pt x="0" y="23"/>
                </a:lnTo>
                <a:lnTo>
                  <a:pt x="16" y="39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90" name="Freeform 182">
            <a:extLst>
              <a:ext uri="{FF2B5EF4-FFF2-40B4-BE49-F238E27FC236}">
                <a16:creationId xmlns:a16="http://schemas.microsoft.com/office/drawing/2014/main" id="{8C529380-FC4E-73DA-E1A1-DC87B9352666}"/>
              </a:ext>
            </a:extLst>
          </p:cNvPr>
          <p:cNvSpPr>
            <a:spLocks noChangeArrowheads="1"/>
          </p:cNvSpPr>
          <p:nvPr>
            <p:custDataLst>
              <p:tags r:id="rId181"/>
            </p:custDataLst>
          </p:nvPr>
        </p:nvSpPr>
        <p:spPr bwMode="auto">
          <a:xfrm>
            <a:off x="9427410" y="6069388"/>
            <a:ext cx="14490" cy="19924"/>
          </a:xfrm>
          <a:custGeom>
            <a:avLst/>
            <a:gdLst>
              <a:gd name="T0" fmla="*/ 0 w 34"/>
              <a:gd name="T1" fmla="*/ 0 h 48"/>
              <a:gd name="T2" fmla="*/ 0 w 34"/>
              <a:gd name="T3" fmla="*/ 39 h 48"/>
              <a:gd name="T4" fmla="*/ 33 w 34"/>
              <a:gd name="T5" fmla="*/ 47 h 48"/>
              <a:gd name="T6" fmla="*/ 33 w 34"/>
              <a:gd name="T7" fmla="*/ 0 h 48"/>
              <a:gd name="T8" fmla="*/ 0 w 34"/>
              <a:gd name="T9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" h="48">
                <a:moveTo>
                  <a:pt x="0" y="0"/>
                </a:moveTo>
                <a:lnTo>
                  <a:pt x="0" y="39"/>
                </a:lnTo>
                <a:lnTo>
                  <a:pt x="33" y="47"/>
                </a:lnTo>
                <a:lnTo>
                  <a:pt x="33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91" name="Freeform 183">
            <a:extLst>
              <a:ext uri="{FF2B5EF4-FFF2-40B4-BE49-F238E27FC236}">
                <a16:creationId xmlns:a16="http://schemas.microsoft.com/office/drawing/2014/main" id="{B6209869-73D9-07F4-13AC-806D44A50DC6}"/>
              </a:ext>
            </a:extLst>
          </p:cNvPr>
          <p:cNvSpPr>
            <a:spLocks noChangeArrowheads="1"/>
          </p:cNvSpPr>
          <p:nvPr>
            <p:custDataLst>
              <p:tags r:id="rId182"/>
            </p:custDataLst>
          </p:nvPr>
        </p:nvSpPr>
        <p:spPr bwMode="auto">
          <a:xfrm>
            <a:off x="9324171" y="6047653"/>
            <a:ext cx="19923" cy="27169"/>
          </a:xfrm>
          <a:custGeom>
            <a:avLst/>
            <a:gdLst>
              <a:gd name="T0" fmla="*/ 17 w 50"/>
              <a:gd name="T1" fmla="*/ 24 h 64"/>
              <a:gd name="T2" fmla="*/ 33 w 50"/>
              <a:gd name="T3" fmla="*/ 63 h 64"/>
              <a:gd name="T4" fmla="*/ 49 w 50"/>
              <a:gd name="T5" fmla="*/ 8 h 64"/>
              <a:gd name="T6" fmla="*/ 0 w 50"/>
              <a:gd name="T7" fmla="*/ 0 h 64"/>
              <a:gd name="T8" fmla="*/ 17 w 50"/>
              <a:gd name="T9" fmla="*/ 2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64">
                <a:moveTo>
                  <a:pt x="17" y="24"/>
                </a:moveTo>
                <a:lnTo>
                  <a:pt x="33" y="63"/>
                </a:lnTo>
                <a:lnTo>
                  <a:pt x="49" y="8"/>
                </a:lnTo>
                <a:lnTo>
                  <a:pt x="0" y="0"/>
                </a:lnTo>
                <a:lnTo>
                  <a:pt x="17" y="24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92" name="Freeform 184">
            <a:extLst>
              <a:ext uri="{FF2B5EF4-FFF2-40B4-BE49-F238E27FC236}">
                <a16:creationId xmlns:a16="http://schemas.microsoft.com/office/drawing/2014/main" id="{05A2090A-873B-85FE-C673-DD267D4C188D}"/>
              </a:ext>
            </a:extLst>
          </p:cNvPr>
          <p:cNvSpPr>
            <a:spLocks noChangeArrowheads="1"/>
          </p:cNvSpPr>
          <p:nvPr>
            <p:custDataLst>
              <p:tags r:id="rId183"/>
            </p:custDataLst>
          </p:nvPr>
        </p:nvSpPr>
        <p:spPr bwMode="auto">
          <a:xfrm>
            <a:off x="9280702" y="6018674"/>
            <a:ext cx="18112" cy="23546"/>
          </a:xfrm>
          <a:custGeom>
            <a:avLst/>
            <a:gdLst>
              <a:gd name="T0" fmla="*/ 25 w 42"/>
              <a:gd name="T1" fmla="*/ 55 h 56"/>
              <a:gd name="T2" fmla="*/ 41 w 42"/>
              <a:gd name="T3" fmla="*/ 0 h 56"/>
              <a:gd name="T4" fmla="*/ 0 w 42"/>
              <a:gd name="T5" fmla="*/ 7 h 56"/>
              <a:gd name="T6" fmla="*/ 25 w 42"/>
              <a:gd name="T7" fmla="*/ 55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2" h="56">
                <a:moveTo>
                  <a:pt x="25" y="55"/>
                </a:moveTo>
                <a:lnTo>
                  <a:pt x="41" y="0"/>
                </a:lnTo>
                <a:lnTo>
                  <a:pt x="0" y="7"/>
                </a:lnTo>
                <a:lnTo>
                  <a:pt x="25" y="55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93" name="Freeform 185">
            <a:extLst>
              <a:ext uri="{FF2B5EF4-FFF2-40B4-BE49-F238E27FC236}">
                <a16:creationId xmlns:a16="http://schemas.microsoft.com/office/drawing/2014/main" id="{5C2958A6-A790-A736-0C24-80A777D7257B}"/>
              </a:ext>
            </a:extLst>
          </p:cNvPr>
          <p:cNvSpPr>
            <a:spLocks noChangeArrowheads="1"/>
          </p:cNvSpPr>
          <p:nvPr>
            <p:custDataLst>
              <p:tags r:id="rId184"/>
            </p:custDataLst>
          </p:nvPr>
        </p:nvSpPr>
        <p:spPr bwMode="auto">
          <a:xfrm>
            <a:off x="9266212" y="5978827"/>
            <a:ext cx="7245" cy="19924"/>
          </a:xfrm>
          <a:custGeom>
            <a:avLst/>
            <a:gdLst>
              <a:gd name="T0" fmla="*/ 0 w 17"/>
              <a:gd name="T1" fmla="*/ 0 h 48"/>
              <a:gd name="T2" fmla="*/ 16 w 17"/>
              <a:gd name="T3" fmla="*/ 47 h 48"/>
              <a:gd name="T4" fmla="*/ 0 w 17"/>
              <a:gd name="T5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48">
                <a:moveTo>
                  <a:pt x="0" y="0"/>
                </a:moveTo>
                <a:lnTo>
                  <a:pt x="16" y="47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94" name="Freeform 186">
            <a:extLst>
              <a:ext uri="{FF2B5EF4-FFF2-40B4-BE49-F238E27FC236}">
                <a16:creationId xmlns:a16="http://schemas.microsoft.com/office/drawing/2014/main" id="{7A9D8D40-F16B-EC15-18E3-203D89EF587F}"/>
              </a:ext>
            </a:extLst>
          </p:cNvPr>
          <p:cNvSpPr>
            <a:spLocks noChangeArrowheads="1"/>
          </p:cNvSpPr>
          <p:nvPr>
            <p:custDataLst>
              <p:tags r:id="rId185"/>
            </p:custDataLst>
          </p:nvPr>
        </p:nvSpPr>
        <p:spPr bwMode="auto">
          <a:xfrm>
            <a:off x="9333227" y="5960715"/>
            <a:ext cx="18112" cy="19924"/>
          </a:xfrm>
          <a:custGeom>
            <a:avLst/>
            <a:gdLst>
              <a:gd name="T0" fmla="*/ 16 w 42"/>
              <a:gd name="T1" fmla="*/ 0 h 48"/>
              <a:gd name="T2" fmla="*/ 0 w 42"/>
              <a:gd name="T3" fmla="*/ 47 h 48"/>
              <a:gd name="T4" fmla="*/ 41 w 42"/>
              <a:gd name="T5" fmla="*/ 32 h 48"/>
              <a:gd name="T6" fmla="*/ 16 w 42"/>
              <a:gd name="T7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2" h="48">
                <a:moveTo>
                  <a:pt x="16" y="0"/>
                </a:moveTo>
                <a:lnTo>
                  <a:pt x="0" y="47"/>
                </a:lnTo>
                <a:lnTo>
                  <a:pt x="41" y="32"/>
                </a:lnTo>
                <a:lnTo>
                  <a:pt x="16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95" name="Freeform 187">
            <a:extLst>
              <a:ext uri="{FF2B5EF4-FFF2-40B4-BE49-F238E27FC236}">
                <a16:creationId xmlns:a16="http://schemas.microsoft.com/office/drawing/2014/main" id="{986B1548-9D51-03F7-C62D-B767701D5AD9}"/>
              </a:ext>
            </a:extLst>
          </p:cNvPr>
          <p:cNvSpPr>
            <a:spLocks noChangeArrowheads="1"/>
          </p:cNvSpPr>
          <p:nvPr>
            <p:custDataLst>
              <p:tags r:id="rId186"/>
            </p:custDataLst>
          </p:nvPr>
        </p:nvSpPr>
        <p:spPr bwMode="auto">
          <a:xfrm>
            <a:off x="9088713" y="6210663"/>
            <a:ext cx="36224" cy="36224"/>
          </a:xfrm>
          <a:custGeom>
            <a:avLst/>
            <a:gdLst>
              <a:gd name="T0" fmla="*/ 16 w 90"/>
              <a:gd name="T1" fmla="*/ 48 h 88"/>
              <a:gd name="T2" fmla="*/ 40 w 90"/>
              <a:gd name="T3" fmla="*/ 87 h 88"/>
              <a:gd name="T4" fmla="*/ 73 w 90"/>
              <a:gd name="T5" fmla="*/ 87 h 88"/>
              <a:gd name="T6" fmla="*/ 89 w 90"/>
              <a:gd name="T7" fmla="*/ 40 h 88"/>
              <a:gd name="T8" fmla="*/ 32 w 90"/>
              <a:gd name="T9" fmla="*/ 16 h 88"/>
              <a:gd name="T10" fmla="*/ 0 w 90"/>
              <a:gd name="T11" fmla="*/ 0 h 88"/>
              <a:gd name="T12" fmla="*/ 16 w 90"/>
              <a:gd name="T13" fmla="*/ 4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" h="88">
                <a:moveTo>
                  <a:pt x="16" y="48"/>
                </a:moveTo>
                <a:lnTo>
                  <a:pt x="40" y="87"/>
                </a:lnTo>
                <a:lnTo>
                  <a:pt x="73" y="87"/>
                </a:lnTo>
                <a:lnTo>
                  <a:pt x="89" y="40"/>
                </a:lnTo>
                <a:lnTo>
                  <a:pt x="32" y="16"/>
                </a:lnTo>
                <a:lnTo>
                  <a:pt x="0" y="0"/>
                </a:lnTo>
                <a:lnTo>
                  <a:pt x="16" y="4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96" name="Freeform 188">
            <a:extLst>
              <a:ext uri="{FF2B5EF4-FFF2-40B4-BE49-F238E27FC236}">
                <a16:creationId xmlns:a16="http://schemas.microsoft.com/office/drawing/2014/main" id="{8425896F-B557-7603-75FA-0AD8F9D03A72}"/>
              </a:ext>
            </a:extLst>
          </p:cNvPr>
          <p:cNvSpPr>
            <a:spLocks noChangeArrowheads="1"/>
          </p:cNvSpPr>
          <p:nvPr>
            <p:custDataLst>
              <p:tags r:id="rId187"/>
            </p:custDataLst>
          </p:nvPr>
        </p:nvSpPr>
        <p:spPr bwMode="auto">
          <a:xfrm>
            <a:off x="9427410" y="5734313"/>
            <a:ext cx="70638" cy="74259"/>
          </a:xfrm>
          <a:custGeom>
            <a:avLst/>
            <a:gdLst>
              <a:gd name="T0" fmla="*/ 131 w 173"/>
              <a:gd name="T1" fmla="*/ 126 h 181"/>
              <a:gd name="T2" fmla="*/ 115 w 173"/>
              <a:gd name="T3" fmla="*/ 173 h 181"/>
              <a:gd name="T4" fmla="*/ 66 w 173"/>
              <a:gd name="T5" fmla="*/ 180 h 181"/>
              <a:gd name="T6" fmla="*/ 57 w 173"/>
              <a:gd name="T7" fmla="*/ 141 h 181"/>
              <a:gd name="T8" fmla="*/ 82 w 173"/>
              <a:gd name="T9" fmla="*/ 94 h 181"/>
              <a:gd name="T10" fmla="*/ 49 w 173"/>
              <a:gd name="T11" fmla="*/ 78 h 181"/>
              <a:gd name="T12" fmla="*/ 17 w 173"/>
              <a:gd name="T13" fmla="*/ 71 h 181"/>
              <a:gd name="T14" fmla="*/ 0 w 173"/>
              <a:gd name="T15" fmla="*/ 31 h 181"/>
              <a:gd name="T16" fmla="*/ 33 w 173"/>
              <a:gd name="T17" fmla="*/ 0 h 181"/>
              <a:gd name="T18" fmla="*/ 74 w 173"/>
              <a:gd name="T19" fmla="*/ 0 h 181"/>
              <a:gd name="T20" fmla="*/ 106 w 173"/>
              <a:gd name="T21" fmla="*/ 8 h 181"/>
              <a:gd name="T22" fmla="*/ 139 w 173"/>
              <a:gd name="T23" fmla="*/ 8 h 181"/>
              <a:gd name="T24" fmla="*/ 172 w 173"/>
              <a:gd name="T25" fmla="*/ 23 h 181"/>
              <a:gd name="T26" fmla="*/ 131 w 173"/>
              <a:gd name="T27" fmla="*/ 39 h 181"/>
              <a:gd name="T28" fmla="*/ 98 w 173"/>
              <a:gd name="T29" fmla="*/ 47 h 181"/>
              <a:gd name="T30" fmla="*/ 131 w 173"/>
              <a:gd name="T31" fmla="*/ 86 h 181"/>
              <a:gd name="T32" fmla="*/ 131 w 173"/>
              <a:gd name="T33" fmla="*/ 126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3" h="181">
                <a:moveTo>
                  <a:pt x="131" y="126"/>
                </a:moveTo>
                <a:lnTo>
                  <a:pt x="115" y="173"/>
                </a:lnTo>
                <a:lnTo>
                  <a:pt x="66" y="180"/>
                </a:lnTo>
                <a:lnTo>
                  <a:pt x="57" y="141"/>
                </a:lnTo>
                <a:lnTo>
                  <a:pt x="82" y="94"/>
                </a:lnTo>
                <a:lnTo>
                  <a:pt x="49" y="78"/>
                </a:lnTo>
                <a:lnTo>
                  <a:pt x="17" y="71"/>
                </a:lnTo>
                <a:lnTo>
                  <a:pt x="0" y="31"/>
                </a:lnTo>
                <a:lnTo>
                  <a:pt x="33" y="0"/>
                </a:lnTo>
                <a:lnTo>
                  <a:pt x="74" y="0"/>
                </a:lnTo>
                <a:lnTo>
                  <a:pt x="106" y="8"/>
                </a:lnTo>
                <a:lnTo>
                  <a:pt x="139" y="8"/>
                </a:lnTo>
                <a:lnTo>
                  <a:pt x="172" y="23"/>
                </a:lnTo>
                <a:lnTo>
                  <a:pt x="131" y="39"/>
                </a:lnTo>
                <a:lnTo>
                  <a:pt x="98" y="47"/>
                </a:lnTo>
                <a:lnTo>
                  <a:pt x="131" y="86"/>
                </a:lnTo>
                <a:lnTo>
                  <a:pt x="131" y="12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97" name="Freeform 189">
            <a:extLst>
              <a:ext uri="{FF2B5EF4-FFF2-40B4-BE49-F238E27FC236}">
                <a16:creationId xmlns:a16="http://schemas.microsoft.com/office/drawing/2014/main" id="{FC2BB354-66D2-AE82-8012-1C47031010AD}"/>
              </a:ext>
            </a:extLst>
          </p:cNvPr>
          <p:cNvSpPr>
            <a:spLocks noChangeArrowheads="1"/>
          </p:cNvSpPr>
          <p:nvPr>
            <p:custDataLst>
              <p:tags r:id="rId188"/>
            </p:custDataLst>
          </p:nvPr>
        </p:nvSpPr>
        <p:spPr bwMode="auto">
          <a:xfrm>
            <a:off x="9396620" y="5944414"/>
            <a:ext cx="30790" cy="10867"/>
          </a:xfrm>
          <a:custGeom>
            <a:avLst/>
            <a:gdLst>
              <a:gd name="T0" fmla="*/ 24 w 74"/>
              <a:gd name="T1" fmla="*/ 0 h 25"/>
              <a:gd name="T2" fmla="*/ 73 w 74"/>
              <a:gd name="T3" fmla="*/ 8 h 25"/>
              <a:gd name="T4" fmla="*/ 33 w 74"/>
              <a:gd name="T5" fmla="*/ 24 h 25"/>
              <a:gd name="T6" fmla="*/ 0 w 74"/>
              <a:gd name="T7" fmla="*/ 16 h 25"/>
              <a:gd name="T8" fmla="*/ 24 w 74"/>
              <a:gd name="T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" h="25">
                <a:moveTo>
                  <a:pt x="24" y="0"/>
                </a:moveTo>
                <a:lnTo>
                  <a:pt x="73" y="8"/>
                </a:lnTo>
                <a:lnTo>
                  <a:pt x="33" y="24"/>
                </a:lnTo>
                <a:lnTo>
                  <a:pt x="0" y="16"/>
                </a:lnTo>
                <a:lnTo>
                  <a:pt x="24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98" name="Freeform 190">
            <a:extLst>
              <a:ext uri="{FF2B5EF4-FFF2-40B4-BE49-F238E27FC236}">
                <a16:creationId xmlns:a16="http://schemas.microsoft.com/office/drawing/2014/main" id="{22053CFE-2183-252B-8E34-FAF15A26CDAF}"/>
              </a:ext>
            </a:extLst>
          </p:cNvPr>
          <p:cNvSpPr>
            <a:spLocks noChangeArrowheads="1"/>
          </p:cNvSpPr>
          <p:nvPr>
            <p:custDataLst>
              <p:tags r:id="rId189"/>
            </p:custDataLst>
          </p:nvPr>
        </p:nvSpPr>
        <p:spPr bwMode="auto">
          <a:xfrm>
            <a:off x="9394808" y="5593038"/>
            <a:ext cx="128597" cy="65204"/>
          </a:xfrm>
          <a:custGeom>
            <a:avLst/>
            <a:gdLst>
              <a:gd name="T0" fmla="*/ 171 w 311"/>
              <a:gd name="T1" fmla="*/ 70 h 158"/>
              <a:gd name="T2" fmla="*/ 130 w 311"/>
              <a:gd name="T3" fmla="*/ 94 h 158"/>
              <a:gd name="T4" fmla="*/ 98 w 311"/>
              <a:gd name="T5" fmla="*/ 125 h 158"/>
              <a:gd name="T6" fmla="*/ 65 w 311"/>
              <a:gd name="T7" fmla="*/ 125 h 158"/>
              <a:gd name="T8" fmla="*/ 32 w 311"/>
              <a:gd name="T9" fmla="*/ 117 h 158"/>
              <a:gd name="T10" fmla="*/ 0 w 311"/>
              <a:gd name="T11" fmla="*/ 94 h 158"/>
              <a:gd name="T12" fmla="*/ 32 w 311"/>
              <a:gd name="T13" fmla="*/ 78 h 158"/>
              <a:gd name="T14" fmla="*/ 65 w 311"/>
              <a:gd name="T15" fmla="*/ 62 h 158"/>
              <a:gd name="T16" fmla="*/ 98 w 311"/>
              <a:gd name="T17" fmla="*/ 39 h 158"/>
              <a:gd name="T18" fmla="*/ 130 w 311"/>
              <a:gd name="T19" fmla="*/ 0 h 158"/>
              <a:gd name="T20" fmla="*/ 196 w 311"/>
              <a:gd name="T21" fmla="*/ 23 h 158"/>
              <a:gd name="T22" fmla="*/ 236 w 311"/>
              <a:gd name="T23" fmla="*/ 62 h 158"/>
              <a:gd name="T24" fmla="*/ 269 w 311"/>
              <a:gd name="T25" fmla="*/ 70 h 158"/>
              <a:gd name="T26" fmla="*/ 310 w 311"/>
              <a:gd name="T27" fmla="*/ 86 h 158"/>
              <a:gd name="T28" fmla="*/ 302 w 311"/>
              <a:gd name="T29" fmla="*/ 125 h 158"/>
              <a:gd name="T30" fmla="*/ 261 w 311"/>
              <a:gd name="T31" fmla="*/ 117 h 158"/>
              <a:gd name="T32" fmla="*/ 261 w 311"/>
              <a:gd name="T33" fmla="*/ 157 h 158"/>
              <a:gd name="T34" fmla="*/ 155 w 311"/>
              <a:gd name="T35" fmla="*/ 157 h 158"/>
              <a:gd name="T36" fmla="*/ 138 w 311"/>
              <a:gd name="T37" fmla="*/ 125 h 158"/>
              <a:gd name="T38" fmla="*/ 171 w 311"/>
              <a:gd name="T39" fmla="*/ 94 h 158"/>
              <a:gd name="T40" fmla="*/ 171 w 311"/>
              <a:gd name="T41" fmla="*/ 70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11" h="158">
                <a:moveTo>
                  <a:pt x="171" y="70"/>
                </a:moveTo>
                <a:lnTo>
                  <a:pt x="130" y="94"/>
                </a:lnTo>
                <a:lnTo>
                  <a:pt x="98" y="125"/>
                </a:lnTo>
                <a:lnTo>
                  <a:pt x="65" y="125"/>
                </a:lnTo>
                <a:lnTo>
                  <a:pt x="32" y="117"/>
                </a:lnTo>
                <a:lnTo>
                  <a:pt x="0" y="94"/>
                </a:lnTo>
                <a:lnTo>
                  <a:pt x="32" y="78"/>
                </a:lnTo>
                <a:lnTo>
                  <a:pt x="65" y="62"/>
                </a:lnTo>
                <a:lnTo>
                  <a:pt x="98" y="39"/>
                </a:lnTo>
                <a:lnTo>
                  <a:pt x="130" y="0"/>
                </a:lnTo>
                <a:lnTo>
                  <a:pt x="196" y="23"/>
                </a:lnTo>
                <a:lnTo>
                  <a:pt x="236" y="62"/>
                </a:lnTo>
                <a:lnTo>
                  <a:pt x="269" y="70"/>
                </a:lnTo>
                <a:lnTo>
                  <a:pt x="310" y="86"/>
                </a:lnTo>
                <a:lnTo>
                  <a:pt x="302" y="125"/>
                </a:lnTo>
                <a:lnTo>
                  <a:pt x="261" y="117"/>
                </a:lnTo>
                <a:lnTo>
                  <a:pt x="261" y="157"/>
                </a:lnTo>
                <a:lnTo>
                  <a:pt x="155" y="157"/>
                </a:lnTo>
                <a:lnTo>
                  <a:pt x="138" y="125"/>
                </a:lnTo>
                <a:lnTo>
                  <a:pt x="171" y="94"/>
                </a:lnTo>
                <a:lnTo>
                  <a:pt x="171" y="7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199" name="Freeform 191">
            <a:extLst>
              <a:ext uri="{FF2B5EF4-FFF2-40B4-BE49-F238E27FC236}">
                <a16:creationId xmlns:a16="http://schemas.microsoft.com/office/drawing/2014/main" id="{E77CB799-5E1B-16E9-C918-D93EF04206A7}"/>
              </a:ext>
            </a:extLst>
          </p:cNvPr>
          <p:cNvSpPr>
            <a:spLocks noChangeArrowheads="1"/>
          </p:cNvSpPr>
          <p:nvPr>
            <p:custDataLst>
              <p:tags r:id="rId190"/>
            </p:custDataLst>
          </p:nvPr>
        </p:nvSpPr>
        <p:spPr bwMode="auto">
          <a:xfrm>
            <a:off x="9376696" y="5750614"/>
            <a:ext cx="30791" cy="10867"/>
          </a:xfrm>
          <a:custGeom>
            <a:avLst/>
            <a:gdLst>
              <a:gd name="T0" fmla="*/ 0 w 74"/>
              <a:gd name="T1" fmla="*/ 8 h 25"/>
              <a:gd name="T2" fmla="*/ 33 w 74"/>
              <a:gd name="T3" fmla="*/ 0 h 25"/>
              <a:gd name="T4" fmla="*/ 73 w 74"/>
              <a:gd name="T5" fmla="*/ 16 h 25"/>
              <a:gd name="T6" fmla="*/ 41 w 74"/>
              <a:gd name="T7" fmla="*/ 24 h 25"/>
              <a:gd name="T8" fmla="*/ 0 w 74"/>
              <a:gd name="T9" fmla="*/ 16 h 25"/>
              <a:gd name="T10" fmla="*/ 0 w 74"/>
              <a:gd name="T11" fmla="*/ 8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4" h="25">
                <a:moveTo>
                  <a:pt x="0" y="8"/>
                </a:moveTo>
                <a:lnTo>
                  <a:pt x="33" y="0"/>
                </a:lnTo>
                <a:lnTo>
                  <a:pt x="73" y="16"/>
                </a:lnTo>
                <a:lnTo>
                  <a:pt x="41" y="24"/>
                </a:lnTo>
                <a:lnTo>
                  <a:pt x="0" y="16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00" name="Freeform 192">
            <a:extLst>
              <a:ext uri="{FF2B5EF4-FFF2-40B4-BE49-F238E27FC236}">
                <a16:creationId xmlns:a16="http://schemas.microsoft.com/office/drawing/2014/main" id="{80A4165A-B1A4-B2DD-EAC8-9CAFEA0704A6}"/>
              </a:ext>
            </a:extLst>
          </p:cNvPr>
          <p:cNvSpPr>
            <a:spLocks noChangeArrowheads="1"/>
          </p:cNvSpPr>
          <p:nvPr>
            <p:custDataLst>
              <p:tags r:id="rId191"/>
            </p:custDataLst>
          </p:nvPr>
        </p:nvSpPr>
        <p:spPr bwMode="auto">
          <a:xfrm>
            <a:off x="9340471" y="5920868"/>
            <a:ext cx="39847" cy="19924"/>
          </a:xfrm>
          <a:custGeom>
            <a:avLst/>
            <a:gdLst>
              <a:gd name="T0" fmla="*/ 17 w 99"/>
              <a:gd name="T1" fmla="*/ 0 h 48"/>
              <a:gd name="T2" fmla="*/ 49 w 99"/>
              <a:gd name="T3" fmla="*/ 16 h 48"/>
              <a:gd name="T4" fmla="*/ 90 w 99"/>
              <a:gd name="T5" fmla="*/ 8 h 48"/>
              <a:gd name="T6" fmla="*/ 98 w 99"/>
              <a:gd name="T7" fmla="*/ 47 h 48"/>
              <a:gd name="T8" fmla="*/ 57 w 99"/>
              <a:gd name="T9" fmla="*/ 47 h 48"/>
              <a:gd name="T10" fmla="*/ 0 w 99"/>
              <a:gd name="T11" fmla="*/ 8 h 48"/>
              <a:gd name="T12" fmla="*/ 17 w 99"/>
              <a:gd name="T1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48">
                <a:moveTo>
                  <a:pt x="17" y="0"/>
                </a:moveTo>
                <a:lnTo>
                  <a:pt x="49" y="16"/>
                </a:lnTo>
                <a:lnTo>
                  <a:pt x="90" y="8"/>
                </a:lnTo>
                <a:lnTo>
                  <a:pt x="98" y="47"/>
                </a:lnTo>
                <a:lnTo>
                  <a:pt x="57" y="47"/>
                </a:lnTo>
                <a:lnTo>
                  <a:pt x="0" y="8"/>
                </a:lnTo>
                <a:lnTo>
                  <a:pt x="17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01" name="Freeform 193">
            <a:extLst>
              <a:ext uri="{FF2B5EF4-FFF2-40B4-BE49-F238E27FC236}">
                <a16:creationId xmlns:a16="http://schemas.microsoft.com/office/drawing/2014/main" id="{0336E03D-6E01-574A-86E9-CEDECDEBB7B6}"/>
              </a:ext>
            </a:extLst>
          </p:cNvPr>
          <p:cNvSpPr>
            <a:spLocks noChangeArrowheads="1"/>
          </p:cNvSpPr>
          <p:nvPr>
            <p:custDataLst>
              <p:tags r:id="rId192"/>
            </p:custDataLst>
          </p:nvPr>
        </p:nvSpPr>
        <p:spPr bwMode="auto">
          <a:xfrm>
            <a:off x="9297002" y="5509722"/>
            <a:ext cx="19924" cy="41657"/>
          </a:xfrm>
          <a:custGeom>
            <a:avLst/>
            <a:gdLst>
              <a:gd name="T0" fmla="*/ 17 w 50"/>
              <a:gd name="T1" fmla="*/ 7 h 103"/>
              <a:gd name="T2" fmla="*/ 49 w 50"/>
              <a:gd name="T3" fmla="*/ 0 h 103"/>
              <a:gd name="T4" fmla="*/ 25 w 50"/>
              <a:gd name="T5" fmla="*/ 39 h 103"/>
              <a:gd name="T6" fmla="*/ 49 w 50"/>
              <a:gd name="T7" fmla="*/ 78 h 103"/>
              <a:gd name="T8" fmla="*/ 8 w 50"/>
              <a:gd name="T9" fmla="*/ 102 h 103"/>
              <a:gd name="T10" fmla="*/ 0 w 50"/>
              <a:gd name="T11" fmla="*/ 55 h 103"/>
              <a:gd name="T12" fmla="*/ 17 w 50"/>
              <a:gd name="T13" fmla="*/ 15 h 103"/>
              <a:gd name="T14" fmla="*/ 17 w 50"/>
              <a:gd name="T15" fmla="*/ 7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0" h="103">
                <a:moveTo>
                  <a:pt x="17" y="7"/>
                </a:moveTo>
                <a:lnTo>
                  <a:pt x="49" y="0"/>
                </a:lnTo>
                <a:lnTo>
                  <a:pt x="25" y="39"/>
                </a:lnTo>
                <a:lnTo>
                  <a:pt x="49" y="78"/>
                </a:lnTo>
                <a:lnTo>
                  <a:pt x="8" y="102"/>
                </a:lnTo>
                <a:lnTo>
                  <a:pt x="0" y="55"/>
                </a:lnTo>
                <a:lnTo>
                  <a:pt x="17" y="15"/>
                </a:lnTo>
                <a:lnTo>
                  <a:pt x="17" y="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02" name="Freeform 194">
            <a:extLst>
              <a:ext uri="{FF2B5EF4-FFF2-40B4-BE49-F238E27FC236}">
                <a16:creationId xmlns:a16="http://schemas.microsoft.com/office/drawing/2014/main" id="{F507F3AB-0756-109C-B7D5-D881A14EAA82}"/>
              </a:ext>
            </a:extLst>
          </p:cNvPr>
          <p:cNvSpPr>
            <a:spLocks noChangeArrowheads="1"/>
          </p:cNvSpPr>
          <p:nvPr>
            <p:custDataLst>
              <p:tags r:id="rId193"/>
            </p:custDataLst>
          </p:nvPr>
        </p:nvSpPr>
        <p:spPr bwMode="auto">
          <a:xfrm>
            <a:off x="9297002" y="5419161"/>
            <a:ext cx="43469" cy="19923"/>
          </a:xfrm>
          <a:custGeom>
            <a:avLst/>
            <a:gdLst>
              <a:gd name="T0" fmla="*/ 74 w 107"/>
              <a:gd name="T1" fmla="*/ 0 h 48"/>
              <a:gd name="T2" fmla="*/ 106 w 107"/>
              <a:gd name="T3" fmla="*/ 8 h 48"/>
              <a:gd name="T4" fmla="*/ 74 w 107"/>
              <a:gd name="T5" fmla="*/ 31 h 48"/>
              <a:gd name="T6" fmla="*/ 41 w 107"/>
              <a:gd name="T7" fmla="*/ 47 h 48"/>
              <a:gd name="T8" fmla="*/ 0 w 107"/>
              <a:gd name="T9" fmla="*/ 16 h 48"/>
              <a:gd name="T10" fmla="*/ 33 w 107"/>
              <a:gd name="T11" fmla="*/ 0 h 48"/>
              <a:gd name="T12" fmla="*/ 74 w 107"/>
              <a:gd name="T1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" h="48">
                <a:moveTo>
                  <a:pt x="74" y="0"/>
                </a:moveTo>
                <a:lnTo>
                  <a:pt x="106" y="8"/>
                </a:lnTo>
                <a:lnTo>
                  <a:pt x="74" y="31"/>
                </a:lnTo>
                <a:lnTo>
                  <a:pt x="41" y="47"/>
                </a:lnTo>
                <a:lnTo>
                  <a:pt x="0" y="16"/>
                </a:lnTo>
                <a:lnTo>
                  <a:pt x="33" y="0"/>
                </a:lnTo>
                <a:lnTo>
                  <a:pt x="74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03" name="Freeform 195">
            <a:extLst>
              <a:ext uri="{FF2B5EF4-FFF2-40B4-BE49-F238E27FC236}">
                <a16:creationId xmlns:a16="http://schemas.microsoft.com/office/drawing/2014/main" id="{0168ABB1-92E4-E610-39AA-F559F399D1A0}"/>
              </a:ext>
            </a:extLst>
          </p:cNvPr>
          <p:cNvSpPr>
            <a:spLocks noChangeArrowheads="1"/>
          </p:cNvSpPr>
          <p:nvPr>
            <p:custDataLst>
              <p:tags r:id="rId194"/>
            </p:custDataLst>
          </p:nvPr>
        </p:nvSpPr>
        <p:spPr bwMode="auto">
          <a:xfrm>
            <a:off x="9293380" y="5935358"/>
            <a:ext cx="14490" cy="12679"/>
          </a:xfrm>
          <a:custGeom>
            <a:avLst/>
            <a:gdLst>
              <a:gd name="T0" fmla="*/ 33 w 34"/>
              <a:gd name="T1" fmla="*/ 0 h 32"/>
              <a:gd name="T2" fmla="*/ 33 w 34"/>
              <a:gd name="T3" fmla="*/ 31 h 32"/>
              <a:gd name="T4" fmla="*/ 0 w 34"/>
              <a:gd name="T5" fmla="*/ 31 h 32"/>
              <a:gd name="T6" fmla="*/ 33 w 34"/>
              <a:gd name="T7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4" h="32">
                <a:moveTo>
                  <a:pt x="33" y="0"/>
                </a:moveTo>
                <a:lnTo>
                  <a:pt x="33" y="31"/>
                </a:lnTo>
                <a:lnTo>
                  <a:pt x="0" y="31"/>
                </a:lnTo>
                <a:lnTo>
                  <a:pt x="33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04" name="Freeform 196">
            <a:extLst>
              <a:ext uri="{FF2B5EF4-FFF2-40B4-BE49-F238E27FC236}">
                <a16:creationId xmlns:a16="http://schemas.microsoft.com/office/drawing/2014/main" id="{152EC41D-4BFB-8C2E-AA65-F57FF2708992}"/>
              </a:ext>
            </a:extLst>
          </p:cNvPr>
          <p:cNvSpPr>
            <a:spLocks noChangeArrowheads="1"/>
          </p:cNvSpPr>
          <p:nvPr>
            <p:custDataLst>
              <p:tags r:id="rId195"/>
            </p:custDataLst>
          </p:nvPr>
        </p:nvSpPr>
        <p:spPr bwMode="auto">
          <a:xfrm>
            <a:off x="9286135" y="5875588"/>
            <a:ext cx="50714" cy="45280"/>
          </a:xfrm>
          <a:custGeom>
            <a:avLst/>
            <a:gdLst>
              <a:gd name="T0" fmla="*/ 106 w 123"/>
              <a:gd name="T1" fmla="*/ 102 h 111"/>
              <a:gd name="T2" fmla="*/ 65 w 123"/>
              <a:gd name="T3" fmla="*/ 79 h 111"/>
              <a:gd name="T4" fmla="*/ 32 w 123"/>
              <a:gd name="T5" fmla="*/ 63 h 111"/>
              <a:gd name="T6" fmla="*/ 0 w 123"/>
              <a:gd name="T7" fmla="*/ 40 h 111"/>
              <a:gd name="T8" fmla="*/ 24 w 123"/>
              <a:gd name="T9" fmla="*/ 0 h 111"/>
              <a:gd name="T10" fmla="*/ 65 w 123"/>
              <a:gd name="T11" fmla="*/ 32 h 111"/>
              <a:gd name="T12" fmla="*/ 106 w 123"/>
              <a:gd name="T13" fmla="*/ 24 h 111"/>
              <a:gd name="T14" fmla="*/ 122 w 123"/>
              <a:gd name="T15" fmla="*/ 63 h 111"/>
              <a:gd name="T16" fmla="*/ 114 w 123"/>
              <a:gd name="T17" fmla="*/ 110 h 111"/>
              <a:gd name="T18" fmla="*/ 106 w 123"/>
              <a:gd name="T19" fmla="*/ 102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3" h="111">
                <a:moveTo>
                  <a:pt x="106" y="102"/>
                </a:moveTo>
                <a:lnTo>
                  <a:pt x="65" y="79"/>
                </a:lnTo>
                <a:lnTo>
                  <a:pt x="32" y="63"/>
                </a:lnTo>
                <a:lnTo>
                  <a:pt x="0" y="40"/>
                </a:lnTo>
                <a:lnTo>
                  <a:pt x="24" y="0"/>
                </a:lnTo>
                <a:lnTo>
                  <a:pt x="65" y="32"/>
                </a:lnTo>
                <a:lnTo>
                  <a:pt x="106" y="24"/>
                </a:lnTo>
                <a:lnTo>
                  <a:pt x="122" y="63"/>
                </a:lnTo>
                <a:lnTo>
                  <a:pt x="114" y="110"/>
                </a:lnTo>
                <a:lnTo>
                  <a:pt x="106" y="102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05" name="Freeform 197">
            <a:extLst>
              <a:ext uri="{FF2B5EF4-FFF2-40B4-BE49-F238E27FC236}">
                <a16:creationId xmlns:a16="http://schemas.microsoft.com/office/drawing/2014/main" id="{92E79085-0C56-2529-F5DA-F95227687677}"/>
              </a:ext>
            </a:extLst>
          </p:cNvPr>
          <p:cNvSpPr>
            <a:spLocks noChangeArrowheads="1"/>
          </p:cNvSpPr>
          <p:nvPr>
            <p:custDataLst>
              <p:tags r:id="rId196"/>
            </p:custDataLst>
          </p:nvPr>
        </p:nvSpPr>
        <p:spPr bwMode="auto">
          <a:xfrm>
            <a:off x="9266212" y="5605716"/>
            <a:ext cx="12678" cy="3622"/>
          </a:xfrm>
          <a:custGeom>
            <a:avLst/>
            <a:gdLst>
              <a:gd name="T0" fmla="*/ 0 w 33"/>
              <a:gd name="T1" fmla="*/ 8 h 9"/>
              <a:gd name="T2" fmla="*/ 32 w 33"/>
              <a:gd name="T3" fmla="*/ 0 h 9"/>
              <a:gd name="T4" fmla="*/ 0 w 33"/>
              <a:gd name="T5" fmla="*/ 8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3" h="9">
                <a:moveTo>
                  <a:pt x="0" y="8"/>
                </a:moveTo>
                <a:lnTo>
                  <a:pt x="32" y="0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06" name="Freeform 198">
            <a:extLst>
              <a:ext uri="{FF2B5EF4-FFF2-40B4-BE49-F238E27FC236}">
                <a16:creationId xmlns:a16="http://schemas.microsoft.com/office/drawing/2014/main" id="{AC19F45F-ED4D-3BC2-1B5C-6A3D14277919}"/>
              </a:ext>
            </a:extLst>
          </p:cNvPr>
          <p:cNvSpPr>
            <a:spLocks noChangeArrowheads="1"/>
          </p:cNvSpPr>
          <p:nvPr>
            <p:custDataLst>
              <p:tags r:id="rId197"/>
            </p:custDataLst>
          </p:nvPr>
        </p:nvSpPr>
        <p:spPr bwMode="auto">
          <a:xfrm>
            <a:off x="9253533" y="5511533"/>
            <a:ext cx="39847" cy="39847"/>
          </a:xfrm>
          <a:custGeom>
            <a:avLst/>
            <a:gdLst>
              <a:gd name="T0" fmla="*/ 98 w 99"/>
              <a:gd name="T1" fmla="*/ 40 h 96"/>
              <a:gd name="T2" fmla="*/ 65 w 99"/>
              <a:gd name="T3" fmla="*/ 79 h 96"/>
              <a:gd name="T4" fmla="*/ 25 w 99"/>
              <a:gd name="T5" fmla="*/ 95 h 96"/>
              <a:gd name="T6" fmla="*/ 0 w 99"/>
              <a:gd name="T7" fmla="*/ 48 h 96"/>
              <a:gd name="T8" fmla="*/ 25 w 99"/>
              <a:gd name="T9" fmla="*/ 8 h 96"/>
              <a:gd name="T10" fmla="*/ 57 w 99"/>
              <a:gd name="T11" fmla="*/ 0 h 96"/>
              <a:gd name="T12" fmla="*/ 98 w 99"/>
              <a:gd name="T13" fmla="*/ 24 h 96"/>
              <a:gd name="T14" fmla="*/ 98 w 99"/>
              <a:gd name="T15" fmla="*/ 4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9" h="96">
                <a:moveTo>
                  <a:pt x="98" y="40"/>
                </a:moveTo>
                <a:lnTo>
                  <a:pt x="65" y="79"/>
                </a:lnTo>
                <a:lnTo>
                  <a:pt x="25" y="95"/>
                </a:lnTo>
                <a:lnTo>
                  <a:pt x="0" y="48"/>
                </a:lnTo>
                <a:lnTo>
                  <a:pt x="25" y="8"/>
                </a:lnTo>
                <a:lnTo>
                  <a:pt x="57" y="0"/>
                </a:lnTo>
                <a:lnTo>
                  <a:pt x="98" y="24"/>
                </a:lnTo>
                <a:lnTo>
                  <a:pt x="98" y="4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07" name="Freeform 199">
            <a:extLst>
              <a:ext uri="{FF2B5EF4-FFF2-40B4-BE49-F238E27FC236}">
                <a16:creationId xmlns:a16="http://schemas.microsoft.com/office/drawing/2014/main" id="{3C247405-45C6-FA31-4668-99BE6C20280D}"/>
              </a:ext>
            </a:extLst>
          </p:cNvPr>
          <p:cNvSpPr>
            <a:spLocks noChangeArrowheads="1"/>
          </p:cNvSpPr>
          <p:nvPr>
            <p:custDataLst>
              <p:tags r:id="rId198"/>
            </p:custDataLst>
          </p:nvPr>
        </p:nvSpPr>
        <p:spPr bwMode="auto">
          <a:xfrm>
            <a:off x="9246288" y="5940792"/>
            <a:ext cx="14490" cy="32602"/>
          </a:xfrm>
          <a:custGeom>
            <a:avLst/>
            <a:gdLst>
              <a:gd name="T0" fmla="*/ 16 w 34"/>
              <a:gd name="T1" fmla="*/ 0 h 80"/>
              <a:gd name="T2" fmla="*/ 33 w 34"/>
              <a:gd name="T3" fmla="*/ 47 h 80"/>
              <a:gd name="T4" fmla="*/ 0 w 34"/>
              <a:gd name="T5" fmla="*/ 79 h 80"/>
              <a:gd name="T6" fmla="*/ 0 w 34"/>
              <a:gd name="T7" fmla="*/ 32 h 80"/>
              <a:gd name="T8" fmla="*/ 16 w 34"/>
              <a:gd name="T9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" h="80">
                <a:moveTo>
                  <a:pt x="16" y="0"/>
                </a:moveTo>
                <a:lnTo>
                  <a:pt x="33" y="47"/>
                </a:lnTo>
                <a:lnTo>
                  <a:pt x="0" y="79"/>
                </a:lnTo>
                <a:lnTo>
                  <a:pt x="0" y="32"/>
                </a:lnTo>
                <a:lnTo>
                  <a:pt x="16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08" name="Freeform 200">
            <a:extLst>
              <a:ext uri="{FF2B5EF4-FFF2-40B4-BE49-F238E27FC236}">
                <a16:creationId xmlns:a16="http://schemas.microsoft.com/office/drawing/2014/main" id="{73D5EC79-24CD-72A2-F191-11771454F3B5}"/>
              </a:ext>
            </a:extLst>
          </p:cNvPr>
          <p:cNvSpPr>
            <a:spLocks noChangeArrowheads="1"/>
          </p:cNvSpPr>
          <p:nvPr>
            <p:custDataLst>
              <p:tags r:id="rId199"/>
            </p:custDataLst>
          </p:nvPr>
        </p:nvSpPr>
        <p:spPr bwMode="auto">
          <a:xfrm>
            <a:off x="9219120" y="5712579"/>
            <a:ext cx="57959" cy="41657"/>
          </a:xfrm>
          <a:custGeom>
            <a:avLst/>
            <a:gdLst>
              <a:gd name="T0" fmla="*/ 24 w 139"/>
              <a:gd name="T1" fmla="*/ 16 h 103"/>
              <a:gd name="T2" fmla="*/ 57 w 139"/>
              <a:gd name="T3" fmla="*/ 78 h 103"/>
              <a:gd name="T4" fmla="*/ 16 w 139"/>
              <a:gd name="T5" fmla="*/ 47 h 103"/>
              <a:gd name="T6" fmla="*/ 0 w 139"/>
              <a:gd name="T7" fmla="*/ 0 h 103"/>
              <a:gd name="T8" fmla="*/ 24 w 139"/>
              <a:gd name="T9" fmla="*/ 16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9" h="103">
                <a:moveTo>
                  <a:pt x="24" y="16"/>
                </a:moveTo>
                <a:cubicBezTo>
                  <a:pt x="32" y="24"/>
                  <a:pt x="138" y="102"/>
                  <a:pt x="57" y="78"/>
                </a:cubicBezTo>
                <a:lnTo>
                  <a:pt x="16" y="47"/>
                </a:lnTo>
                <a:lnTo>
                  <a:pt x="0" y="0"/>
                </a:lnTo>
                <a:lnTo>
                  <a:pt x="24" y="1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09" name="Freeform 201">
            <a:extLst>
              <a:ext uri="{FF2B5EF4-FFF2-40B4-BE49-F238E27FC236}">
                <a16:creationId xmlns:a16="http://schemas.microsoft.com/office/drawing/2014/main" id="{EC497466-0516-CBFA-2448-3BA890F62F8F}"/>
              </a:ext>
            </a:extLst>
          </p:cNvPr>
          <p:cNvSpPr>
            <a:spLocks noChangeArrowheads="1"/>
          </p:cNvSpPr>
          <p:nvPr>
            <p:custDataLst>
              <p:tags r:id="rId200"/>
            </p:custDataLst>
          </p:nvPr>
        </p:nvSpPr>
        <p:spPr bwMode="auto">
          <a:xfrm>
            <a:off x="9159350" y="5395615"/>
            <a:ext cx="43469" cy="39847"/>
          </a:xfrm>
          <a:custGeom>
            <a:avLst/>
            <a:gdLst>
              <a:gd name="T0" fmla="*/ 90 w 107"/>
              <a:gd name="T1" fmla="*/ 16 h 95"/>
              <a:gd name="T2" fmla="*/ 106 w 107"/>
              <a:gd name="T3" fmla="*/ 71 h 95"/>
              <a:gd name="T4" fmla="*/ 65 w 107"/>
              <a:gd name="T5" fmla="*/ 86 h 95"/>
              <a:gd name="T6" fmla="*/ 32 w 107"/>
              <a:gd name="T7" fmla="*/ 94 h 95"/>
              <a:gd name="T8" fmla="*/ 0 w 107"/>
              <a:gd name="T9" fmla="*/ 71 h 95"/>
              <a:gd name="T10" fmla="*/ 8 w 107"/>
              <a:gd name="T11" fmla="*/ 23 h 95"/>
              <a:gd name="T12" fmla="*/ 41 w 107"/>
              <a:gd name="T13" fmla="*/ 0 h 95"/>
              <a:gd name="T14" fmla="*/ 73 w 107"/>
              <a:gd name="T15" fmla="*/ 0 h 95"/>
              <a:gd name="T16" fmla="*/ 90 w 107"/>
              <a:gd name="T17" fmla="*/ 16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7" h="95">
                <a:moveTo>
                  <a:pt x="90" y="16"/>
                </a:moveTo>
                <a:lnTo>
                  <a:pt x="106" y="71"/>
                </a:lnTo>
                <a:lnTo>
                  <a:pt x="65" y="86"/>
                </a:lnTo>
                <a:lnTo>
                  <a:pt x="32" y="94"/>
                </a:lnTo>
                <a:lnTo>
                  <a:pt x="0" y="71"/>
                </a:lnTo>
                <a:lnTo>
                  <a:pt x="8" y="23"/>
                </a:lnTo>
                <a:lnTo>
                  <a:pt x="41" y="0"/>
                </a:lnTo>
                <a:lnTo>
                  <a:pt x="73" y="0"/>
                </a:lnTo>
                <a:lnTo>
                  <a:pt x="90" y="1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10" name="Freeform 202">
            <a:extLst>
              <a:ext uri="{FF2B5EF4-FFF2-40B4-BE49-F238E27FC236}">
                <a16:creationId xmlns:a16="http://schemas.microsoft.com/office/drawing/2014/main" id="{48A6162B-3838-C3F1-6D11-8A9014660CC8}"/>
              </a:ext>
            </a:extLst>
          </p:cNvPr>
          <p:cNvSpPr>
            <a:spLocks noChangeArrowheads="1"/>
          </p:cNvSpPr>
          <p:nvPr>
            <p:custDataLst>
              <p:tags r:id="rId201"/>
            </p:custDataLst>
          </p:nvPr>
        </p:nvSpPr>
        <p:spPr bwMode="auto">
          <a:xfrm>
            <a:off x="9143049" y="5663675"/>
            <a:ext cx="14490" cy="1812"/>
          </a:xfrm>
          <a:custGeom>
            <a:avLst/>
            <a:gdLst>
              <a:gd name="T0" fmla="*/ 0 w 34"/>
              <a:gd name="T1" fmla="*/ 0 h 1"/>
              <a:gd name="T2" fmla="*/ 33 w 34"/>
              <a:gd name="T3" fmla="*/ 0 h 1"/>
              <a:gd name="T4" fmla="*/ 0 w 34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4" h="1">
                <a:moveTo>
                  <a:pt x="0" y="0"/>
                </a:moveTo>
                <a:lnTo>
                  <a:pt x="33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11" name="Freeform 203">
            <a:extLst>
              <a:ext uri="{FF2B5EF4-FFF2-40B4-BE49-F238E27FC236}">
                <a16:creationId xmlns:a16="http://schemas.microsoft.com/office/drawing/2014/main" id="{414C35B5-2ACB-EFCB-2C44-206556FC9201}"/>
              </a:ext>
            </a:extLst>
          </p:cNvPr>
          <p:cNvSpPr>
            <a:spLocks noChangeArrowheads="1"/>
          </p:cNvSpPr>
          <p:nvPr>
            <p:custDataLst>
              <p:tags r:id="rId202"/>
            </p:custDataLst>
          </p:nvPr>
        </p:nvSpPr>
        <p:spPr bwMode="auto">
          <a:xfrm>
            <a:off x="9128560" y="5672732"/>
            <a:ext cx="14490" cy="16300"/>
          </a:xfrm>
          <a:custGeom>
            <a:avLst/>
            <a:gdLst>
              <a:gd name="T0" fmla="*/ 0 w 34"/>
              <a:gd name="T1" fmla="*/ 39 h 40"/>
              <a:gd name="T2" fmla="*/ 33 w 34"/>
              <a:gd name="T3" fmla="*/ 0 h 40"/>
              <a:gd name="T4" fmla="*/ 0 w 34"/>
              <a:gd name="T5" fmla="*/ 39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4" h="40">
                <a:moveTo>
                  <a:pt x="0" y="39"/>
                </a:moveTo>
                <a:lnTo>
                  <a:pt x="33" y="0"/>
                </a:lnTo>
                <a:lnTo>
                  <a:pt x="0" y="39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12" name="Freeform 204">
            <a:extLst>
              <a:ext uri="{FF2B5EF4-FFF2-40B4-BE49-F238E27FC236}">
                <a16:creationId xmlns:a16="http://schemas.microsoft.com/office/drawing/2014/main" id="{8C762012-2415-CCF1-56A6-C8CE52CDB0FA}"/>
              </a:ext>
            </a:extLst>
          </p:cNvPr>
          <p:cNvSpPr>
            <a:spLocks noChangeArrowheads="1"/>
          </p:cNvSpPr>
          <p:nvPr>
            <p:custDataLst>
              <p:tags r:id="rId203"/>
            </p:custDataLst>
          </p:nvPr>
        </p:nvSpPr>
        <p:spPr bwMode="auto">
          <a:xfrm>
            <a:off x="9095958" y="5705334"/>
            <a:ext cx="18112" cy="12678"/>
          </a:xfrm>
          <a:custGeom>
            <a:avLst/>
            <a:gdLst>
              <a:gd name="T0" fmla="*/ 33 w 42"/>
              <a:gd name="T1" fmla="*/ 0 h 33"/>
              <a:gd name="T2" fmla="*/ 41 w 42"/>
              <a:gd name="T3" fmla="*/ 32 h 33"/>
              <a:gd name="T4" fmla="*/ 0 w 42"/>
              <a:gd name="T5" fmla="*/ 0 h 33"/>
              <a:gd name="T6" fmla="*/ 33 w 42"/>
              <a:gd name="T7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2" h="33">
                <a:moveTo>
                  <a:pt x="33" y="0"/>
                </a:moveTo>
                <a:lnTo>
                  <a:pt x="41" y="32"/>
                </a:lnTo>
                <a:lnTo>
                  <a:pt x="0" y="0"/>
                </a:lnTo>
                <a:lnTo>
                  <a:pt x="33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13" name="Freeform 205">
            <a:extLst>
              <a:ext uri="{FF2B5EF4-FFF2-40B4-BE49-F238E27FC236}">
                <a16:creationId xmlns:a16="http://schemas.microsoft.com/office/drawing/2014/main" id="{9C77650F-F171-32A6-3989-3A724B76FF20}"/>
              </a:ext>
            </a:extLst>
          </p:cNvPr>
          <p:cNvSpPr>
            <a:spLocks noChangeArrowheads="1"/>
          </p:cNvSpPr>
          <p:nvPr>
            <p:custDataLst>
              <p:tags r:id="rId204"/>
            </p:custDataLst>
          </p:nvPr>
        </p:nvSpPr>
        <p:spPr bwMode="auto">
          <a:xfrm>
            <a:off x="9061544" y="5705334"/>
            <a:ext cx="14490" cy="7245"/>
          </a:xfrm>
          <a:custGeom>
            <a:avLst/>
            <a:gdLst>
              <a:gd name="T0" fmla="*/ 0 w 34"/>
              <a:gd name="T1" fmla="*/ 8 h 17"/>
              <a:gd name="T2" fmla="*/ 33 w 34"/>
              <a:gd name="T3" fmla="*/ 0 h 17"/>
              <a:gd name="T4" fmla="*/ 0 w 34"/>
              <a:gd name="T5" fmla="*/ 16 h 17"/>
              <a:gd name="T6" fmla="*/ 0 w 34"/>
              <a:gd name="T7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4" h="17">
                <a:moveTo>
                  <a:pt x="0" y="8"/>
                </a:moveTo>
                <a:lnTo>
                  <a:pt x="33" y="0"/>
                </a:lnTo>
                <a:lnTo>
                  <a:pt x="0" y="16"/>
                </a:lnTo>
                <a:lnTo>
                  <a:pt x="0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14" name="Freeform 206">
            <a:extLst>
              <a:ext uri="{FF2B5EF4-FFF2-40B4-BE49-F238E27FC236}">
                <a16:creationId xmlns:a16="http://schemas.microsoft.com/office/drawing/2014/main" id="{7B15CECE-4ECA-0BE4-37FB-785CD211EB97}"/>
              </a:ext>
            </a:extLst>
          </p:cNvPr>
          <p:cNvSpPr>
            <a:spLocks noChangeArrowheads="1"/>
          </p:cNvSpPr>
          <p:nvPr>
            <p:custDataLst>
              <p:tags r:id="rId205"/>
            </p:custDataLst>
          </p:nvPr>
        </p:nvSpPr>
        <p:spPr bwMode="auto">
          <a:xfrm>
            <a:off x="8780806" y="5895511"/>
            <a:ext cx="353187" cy="318774"/>
          </a:xfrm>
          <a:custGeom>
            <a:avLst/>
            <a:gdLst>
              <a:gd name="T0" fmla="*/ 147 w 858"/>
              <a:gd name="T1" fmla="*/ 95 h 778"/>
              <a:gd name="T2" fmla="*/ 196 w 858"/>
              <a:gd name="T3" fmla="*/ 24 h 778"/>
              <a:gd name="T4" fmla="*/ 286 w 858"/>
              <a:gd name="T5" fmla="*/ 16 h 778"/>
              <a:gd name="T6" fmla="*/ 351 w 858"/>
              <a:gd name="T7" fmla="*/ 40 h 778"/>
              <a:gd name="T8" fmla="*/ 449 w 858"/>
              <a:gd name="T9" fmla="*/ 55 h 778"/>
              <a:gd name="T10" fmla="*/ 539 w 858"/>
              <a:gd name="T11" fmla="*/ 71 h 778"/>
              <a:gd name="T12" fmla="*/ 636 w 858"/>
              <a:gd name="T13" fmla="*/ 95 h 778"/>
              <a:gd name="T14" fmla="*/ 718 w 858"/>
              <a:gd name="T15" fmla="*/ 134 h 778"/>
              <a:gd name="T16" fmla="*/ 759 w 858"/>
              <a:gd name="T17" fmla="*/ 220 h 778"/>
              <a:gd name="T18" fmla="*/ 824 w 858"/>
              <a:gd name="T19" fmla="*/ 197 h 778"/>
              <a:gd name="T20" fmla="*/ 857 w 858"/>
              <a:gd name="T21" fmla="*/ 236 h 778"/>
              <a:gd name="T22" fmla="*/ 800 w 858"/>
              <a:gd name="T23" fmla="*/ 306 h 778"/>
              <a:gd name="T24" fmla="*/ 742 w 858"/>
              <a:gd name="T25" fmla="*/ 385 h 778"/>
              <a:gd name="T26" fmla="*/ 710 w 858"/>
              <a:gd name="T27" fmla="*/ 299 h 778"/>
              <a:gd name="T28" fmla="*/ 636 w 858"/>
              <a:gd name="T29" fmla="*/ 275 h 778"/>
              <a:gd name="T30" fmla="*/ 620 w 858"/>
              <a:gd name="T31" fmla="*/ 338 h 778"/>
              <a:gd name="T32" fmla="*/ 669 w 858"/>
              <a:gd name="T33" fmla="*/ 416 h 778"/>
              <a:gd name="T34" fmla="*/ 726 w 858"/>
              <a:gd name="T35" fmla="*/ 487 h 778"/>
              <a:gd name="T36" fmla="*/ 767 w 858"/>
              <a:gd name="T37" fmla="*/ 581 h 778"/>
              <a:gd name="T38" fmla="*/ 783 w 858"/>
              <a:gd name="T39" fmla="*/ 652 h 778"/>
              <a:gd name="T40" fmla="*/ 824 w 858"/>
              <a:gd name="T41" fmla="*/ 730 h 778"/>
              <a:gd name="T42" fmla="*/ 759 w 858"/>
              <a:gd name="T43" fmla="*/ 722 h 778"/>
              <a:gd name="T44" fmla="*/ 694 w 858"/>
              <a:gd name="T45" fmla="*/ 644 h 778"/>
              <a:gd name="T46" fmla="*/ 645 w 858"/>
              <a:gd name="T47" fmla="*/ 597 h 778"/>
              <a:gd name="T48" fmla="*/ 596 w 858"/>
              <a:gd name="T49" fmla="*/ 652 h 778"/>
              <a:gd name="T50" fmla="*/ 596 w 858"/>
              <a:gd name="T51" fmla="*/ 738 h 778"/>
              <a:gd name="T52" fmla="*/ 547 w 858"/>
              <a:gd name="T53" fmla="*/ 746 h 778"/>
              <a:gd name="T54" fmla="*/ 506 w 858"/>
              <a:gd name="T55" fmla="*/ 644 h 778"/>
              <a:gd name="T56" fmla="*/ 424 w 858"/>
              <a:gd name="T57" fmla="*/ 597 h 778"/>
              <a:gd name="T58" fmla="*/ 392 w 858"/>
              <a:gd name="T59" fmla="*/ 542 h 778"/>
              <a:gd name="T60" fmla="*/ 367 w 858"/>
              <a:gd name="T61" fmla="*/ 612 h 778"/>
              <a:gd name="T62" fmla="*/ 310 w 858"/>
              <a:gd name="T63" fmla="*/ 660 h 778"/>
              <a:gd name="T64" fmla="*/ 269 w 858"/>
              <a:gd name="T65" fmla="*/ 628 h 778"/>
              <a:gd name="T66" fmla="*/ 221 w 858"/>
              <a:gd name="T67" fmla="*/ 558 h 778"/>
              <a:gd name="T68" fmla="*/ 237 w 858"/>
              <a:gd name="T69" fmla="*/ 440 h 778"/>
              <a:gd name="T70" fmla="*/ 180 w 858"/>
              <a:gd name="T71" fmla="*/ 377 h 778"/>
              <a:gd name="T72" fmla="*/ 115 w 858"/>
              <a:gd name="T73" fmla="*/ 330 h 778"/>
              <a:gd name="T74" fmla="*/ 66 w 858"/>
              <a:gd name="T75" fmla="*/ 275 h 778"/>
              <a:gd name="T76" fmla="*/ 0 w 858"/>
              <a:gd name="T77" fmla="*/ 251 h 778"/>
              <a:gd name="T78" fmla="*/ 41 w 858"/>
              <a:gd name="T79" fmla="*/ 173 h 778"/>
              <a:gd name="T80" fmla="*/ 66 w 858"/>
              <a:gd name="T81" fmla="*/ 87 h 778"/>
              <a:gd name="T82" fmla="*/ 98 w 858"/>
              <a:gd name="T83" fmla="*/ 79 h 7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58" h="778">
                <a:moveTo>
                  <a:pt x="98" y="79"/>
                </a:moveTo>
                <a:lnTo>
                  <a:pt x="147" y="95"/>
                </a:lnTo>
                <a:lnTo>
                  <a:pt x="172" y="55"/>
                </a:lnTo>
                <a:lnTo>
                  <a:pt x="196" y="24"/>
                </a:lnTo>
                <a:lnTo>
                  <a:pt x="237" y="0"/>
                </a:lnTo>
                <a:lnTo>
                  <a:pt x="286" y="16"/>
                </a:lnTo>
                <a:lnTo>
                  <a:pt x="318" y="32"/>
                </a:lnTo>
                <a:lnTo>
                  <a:pt x="351" y="40"/>
                </a:lnTo>
                <a:lnTo>
                  <a:pt x="384" y="40"/>
                </a:lnTo>
                <a:lnTo>
                  <a:pt x="449" y="55"/>
                </a:lnTo>
                <a:lnTo>
                  <a:pt x="498" y="63"/>
                </a:lnTo>
                <a:lnTo>
                  <a:pt x="539" y="71"/>
                </a:lnTo>
                <a:lnTo>
                  <a:pt x="596" y="102"/>
                </a:lnTo>
                <a:lnTo>
                  <a:pt x="636" y="95"/>
                </a:lnTo>
                <a:lnTo>
                  <a:pt x="677" y="142"/>
                </a:lnTo>
                <a:lnTo>
                  <a:pt x="718" y="134"/>
                </a:lnTo>
                <a:lnTo>
                  <a:pt x="751" y="173"/>
                </a:lnTo>
                <a:lnTo>
                  <a:pt x="759" y="220"/>
                </a:lnTo>
                <a:lnTo>
                  <a:pt x="791" y="204"/>
                </a:lnTo>
                <a:lnTo>
                  <a:pt x="824" y="197"/>
                </a:lnTo>
                <a:lnTo>
                  <a:pt x="824" y="244"/>
                </a:lnTo>
                <a:lnTo>
                  <a:pt x="857" y="236"/>
                </a:lnTo>
                <a:lnTo>
                  <a:pt x="848" y="283"/>
                </a:lnTo>
                <a:lnTo>
                  <a:pt x="800" y="306"/>
                </a:lnTo>
                <a:lnTo>
                  <a:pt x="767" y="346"/>
                </a:lnTo>
                <a:lnTo>
                  <a:pt x="742" y="385"/>
                </a:lnTo>
                <a:lnTo>
                  <a:pt x="726" y="338"/>
                </a:lnTo>
                <a:lnTo>
                  <a:pt x="710" y="299"/>
                </a:lnTo>
                <a:lnTo>
                  <a:pt x="677" y="283"/>
                </a:lnTo>
                <a:lnTo>
                  <a:pt x="636" y="275"/>
                </a:lnTo>
                <a:lnTo>
                  <a:pt x="596" y="283"/>
                </a:lnTo>
                <a:lnTo>
                  <a:pt x="620" y="338"/>
                </a:lnTo>
                <a:lnTo>
                  <a:pt x="645" y="377"/>
                </a:lnTo>
                <a:lnTo>
                  <a:pt x="669" y="416"/>
                </a:lnTo>
                <a:lnTo>
                  <a:pt x="694" y="455"/>
                </a:lnTo>
                <a:lnTo>
                  <a:pt x="726" y="487"/>
                </a:lnTo>
                <a:lnTo>
                  <a:pt x="751" y="542"/>
                </a:lnTo>
                <a:lnTo>
                  <a:pt x="767" y="581"/>
                </a:lnTo>
                <a:lnTo>
                  <a:pt x="759" y="620"/>
                </a:lnTo>
                <a:lnTo>
                  <a:pt x="783" y="652"/>
                </a:lnTo>
                <a:lnTo>
                  <a:pt x="816" y="675"/>
                </a:lnTo>
                <a:lnTo>
                  <a:pt x="824" y="730"/>
                </a:lnTo>
                <a:lnTo>
                  <a:pt x="791" y="722"/>
                </a:lnTo>
                <a:lnTo>
                  <a:pt x="759" y="722"/>
                </a:lnTo>
                <a:lnTo>
                  <a:pt x="742" y="683"/>
                </a:lnTo>
                <a:lnTo>
                  <a:pt x="694" y="644"/>
                </a:lnTo>
                <a:lnTo>
                  <a:pt x="677" y="605"/>
                </a:lnTo>
                <a:lnTo>
                  <a:pt x="645" y="597"/>
                </a:lnTo>
                <a:lnTo>
                  <a:pt x="612" y="620"/>
                </a:lnTo>
                <a:lnTo>
                  <a:pt x="596" y="652"/>
                </a:lnTo>
                <a:lnTo>
                  <a:pt x="588" y="699"/>
                </a:lnTo>
                <a:lnTo>
                  <a:pt x="596" y="738"/>
                </a:lnTo>
                <a:lnTo>
                  <a:pt x="579" y="777"/>
                </a:lnTo>
                <a:lnTo>
                  <a:pt x="547" y="746"/>
                </a:lnTo>
                <a:lnTo>
                  <a:pt x="539" y="699"/>
                </a:lnTo>
                <a:lnTo>
                  <a:pt x="506" y="644"/>
                </a:lnTo>
                <a:lnTo>
                  <a:pt x="473" y="605"/>
                </a:lnTo>
                <a:lnTo>
                  <a:pt x="424" y="597"/>
                </a:lnTo>
                <a:lnTo>
                  <a:pt x="424" y="558"/>
                </a:lnTo>
                <a:lnTo>
                  <a:pt x="392" y="542"/>
                </a:lnTo>
                <a:lnTo>
                  <a:pt x="359" y="573"/>
                </a:lnTo>
                <a:lnTo>
                  <a:pt x="367" y="612"/>
                </a:lnTo>
                <a:lnTo>
                  <a:pt x="343" y="675"/>
                </a:lnTo>
                <a:lnTo>
                  <a:pt x="310" y="660"/>
                </a:lnTo>
                <a:lnTo>
                  <a:pt x="278" y="675"/>
                </a:lnTo>
                <a:lnTo>
                  <a:pt x="269" y="628"/>
                </a:lnTo>
                <a:lnTo>
                  <a:pt x="253" y="589"/>
                </a:lnTo>
                <a:lnTo>
                  <a:pt x="221" y="558"/>
                </a:lnTo>
                <a:lnTo>
                  <a:pt x="212" y="487"/>
                </a:lnTo>
                <a:lnTo>
                  <a:pt x="237" y="440"/>
                </a:lnTo>
                <a:lnTo>
                  <a:pt x="212" y="401"/>
                </a:lnTo>
                <a:lnTo>
                  <a:pt x="180" y="377"/>
                </a:lnTo>
                <a:lnTo>
                  <a:pt x="147" y="346"/>
                </a:lnTo>
                <a:lnTo>
                  <a:pt x="115" y="330"/>
                </a:lnTo>
                <a:lnTo>
                  <a:pt x="82" y="322"/>
                </a:lnTo>
                <a:lnTo>
                  <a:pt x="66" y="275"/>
                </a:lnTo>
                <a:lnTo>
                  <a:pt x="33" y="259"/>
                </a:lnTo>
                <a:lnTo>
                  <a:pt x="0" y="251"/>
                </a:lnTo>
                <a:lnTo>
                  <a:pt x="9" y="197"/>
                </a:lnTo>
                <a:lnTo>
                  <a:pt x="41" y="173"/>
                </a:lnTo>
                <a:lnTo>
                  <a:pt x="57" y="126"/>
                </a:lnTo>
                <a:lnTo>
                  <a:pt x="66" y="87"/>
                </a:lnTo>
                <a:lnTo>
                  <a:pt x="98" y="87"/>
                </a:lnTo>
                <a:lnTo>
                  <a:pt x="98" y="79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15" name="Freeform 207">
            <a:extLst>
              <a:ext uri="{FF2B5EF4-FFF2-40B4-BE49-F238E27FC236}">
                <a16:creationId xmlns:a16="http://schemas.microsoft.com/office/drawing/2014/main" id="{573DA411-2552-687C-1562-B7EA0C9509CA}"/>
              </a:ext>
            </a:extLst>
          </p:cNvPr>
          <p:cNvSpPr>
            <a:spLocks noChangeArrowheads="1"/>
          </p:cNvSpPr>
          <p:nvPr>
            <p:custDataLst>
              <p:tags r:id="rId206"/>
            </p:custDataLst>
          </p:nvPr>
        </p:nvSpPr>
        <p:spPr bwMode="auto">
          <a:xfrm>
            <a:off x="8657643" y="5902756"/>
            <a:ext cx="70637" cy="68826"/>
          </a:xfrm>
          <a:custGeom>
            <a:avLst/>
            <a:gdLst>
              <a:gd name="T0" fmla="*/ 48 w 172"/>
              <a:gd name="T1" fmla="*/ 16 h 166"/>
              <a:gd name="T2" fmla="*/ 81 w 172"/>
              <a:gd name="T3" fmla="*/ 8 h 166"/>
              <a:gd name="T4" fmla="*/ 114 w 172"/>
              <a:gd name="T5" fmla="*/ 0 h 166"/>
              <a:gd name="T6" fmla="*/ 130 w 172"/>
              <a:gd name="T7" fmla="*/ 55 h 166"/>
              <a:gd name="T8" fmla="*/ 89 w 172"/>
              <a:gd name="T9" fmla="*/ 71 h 166"/>
              <a:gd name="T10" fmla="*/ 138 w 172"/>
              <a:gd name="T11" fmla="*/ 102 h 166"/>
              <a:gd name="T12" fmla="*/ 171 w 172"/>
              <a:gd name="T13" fmla="*/ 149 h 166"/>
              <a:gd name="T14" fmla="*/ 138 w 172"/>
              <a:gd name="T15" fmla="*/ 165 h 166"/>
              <a:gd name="T16" fmla="*/ 89 w 172"/>
              <a:gd name="T17" fmla="*/ 149 h 166"/>
              <a:gd name="T18" fmla="*/ 57 w 172"/>
              <a:gd name="T19" fmla="*/ 133 h 166"/>
              <a:gd name="T20" fmla="*/ 16 w 172"/>
              <a:gd name="T21" fmla="*/ 133 h 166"/>
              <a:gd name="T22" fmla="*/ 0 w 172"/>
              <a:gd name="T23" fmla="*/ 86 h 166"/>
              <a:gd name="T24" fmla="*/ 40 w 172"/>
              <a:gd name="T25" fmla="*/ 86 h 166"/>
              <a:gd name="T26" fmla="*/ 48 w 172"/>
              <a:gd name="T27" fmla="*/ 16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2" h="166">
                <a:moveTo>
                  <a:pt x="48" y="16"/>
                </a:moveTo>
                <a:lnTo>
                  <a:pt x="81" y="8"/>
                </a:lnTo>
                <a:lnTo>
                  <a:pt x="114" y="0"/>
                </a:lnTo>
                <a:lnTo>
                  <a:pt x="130" y="55"/>
                </a:lnTo>
                <a:lnTo>
                  <a:pt x="89" y="71"/>
                </a:lnTo>
                <a:lnTo>
                  <a:pt x="138" y="102"/>
                </a:lnTo>
                <a:lnTo>
                  <a:pt x="171" y="149"/>
                </a:lnTo>
                <a:lnTo>
                  <a:pt x="138" y="165"/>
                </a:lnTo>
                <a:lnTo>
                  <a:pt x="89" y="149"/>
                </a:lnTo>
                <a:lnTo>
                  <a:pt x="57" y="133"/>
                </a:lnTo>
                <a:lnTo>
                  <a:pt x="16" y="133"/>
                </a:lnTo>
                <a:lnTo>
                  <a:pt x="0" y="86"/>
                </a:lnTo>
                <a:lnTo>
                  <a:pt x="40" y="86"/>
                </a:lnTo>
                <a:lnTo>
                  <a:pt x="48" y="16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16" name="Freeform 208">
            <a:extLst>
              <a:ext uri="{FF2B5EF4-FFF2-40B4-BE49-F238E27FC236}">
                <a16:creationId xmlns:a16="http://schemas.microsoft.com/office/drawing/2014/main" id="{B5AF0D8F-28D5-A220-DE6D-4F3179314B1A}"/>
              </a:ext>
            </a:extLst>
          </p:cNvPr>
          <p:cNvSpPr>
            <a:spLocks noChangeArrowheads="1"/>
          </p:cNvSpPr>
          <p:nvPr>
            <p:custDataLst>
              <p:tags r:id="rId207"/>
            </p:custDataLst>
          </p:nvPr>
        </p:nvSpPr>
        <p:spPr bwMode="auto">
          <a:xfrm>
            <a:off x="8599684" y="5183703"/>
            <a:ext cx="831348" cy="773389"/>
          </a:xfrm>
          <a:custGeom>
            <a:avLst/>
            <a:gdLst>
              <a:gd name="T0" fmla="*/ 1321 w 2023"/>
              <a:gd name="T1" fmla="*/ 228 h 1884"/>
              <a:gd name="T2" fmla="*/ 1125 w 2023"/>
              <a:gd name="T3" fmla="*/ 267 h 1884"/>
              <a:gd name="T4" fmla="*/ 840 w 2023"/>
              <a:gd name="T5" fmla="*/ 384 h 1884"/>
              <a:gd name="T6" fmla="*/ 530 w 2023"/>
              <a:gd name="T7" fmla="*/ 526 h 1884"/>
              <a:gd name="T8" fmla="*/ 359 w 2023"/>
              <a:gd name="T9" fmla="*/ 667 h 1884"/>
              <a:gd name="T10" fmla="*/ 163 w 2023"/>
              <a:gd name="T11" fmla="*/ 706 h 1884"/>
              <a:gd name="T12" fmla="*/ 114 w 2023"/>
              <a:gd name="T13" fmla="*/ 989 h 1884"/>
              <a:gd name="T14" fmla="*/ 0 w 2023"/>
              <a:gd name="T15" fmla="*/ 1318 h 1884"/>
              <a:gd name="T16" fmla="*/ 138 w 2023"/>
              <a:gd name="T17" fmla="*/ 1460 h 1884"/>
              <a:gd name="T18" fmla="*/ 334 w 2023"/>
              <a:gd name="T19" fmla="*/ 1483 h 1884"/>
              <a:gd name="T20" fmla="*/ 269 w 2023"/>
              <a:gd name="T21" fmla="*/ 1530 h 1884"/>
              <a:gd name="T22" fmla="*/ 236 w 2023"/>
              <a:gd name="T23" fmla="*/ 1679 h 1884"/>
              <a:gd name="T24" fmla="*/ 375 w 2023"/>
              <a:gd name="T25" fmla="*/ 1695 h 1884"/>
              <a:gd name="T26" fmla="*/ 579 w 2023"/>
              <a:gd name="T27" fmla="*/ 1734 h 1884"/>
              <a:gd name="T28" fmla="*/ 872 w 2023"/>
              <a:gd name="T29" fmla="*/ 1679 h 1884"/>
              <a:gd name="T30" fmla="*/ 1076 w 2023"/>
              <a:gd name="T31" fmla="*/ 1711 h 1884"/>
              <a:gd name="T32" fmla="*/ 1093 w 2023"/>
              <a:gd name="T33" fmla="*/ 1829 h 1884"/>
              <a:gd name="T34" fmla="*/ 1288 w 2023"/>
              <a:gd name="T35" fmla="*/ 1781 h 1884"/>
              <a:gd name="T36" fmla="*/ 1345 w 2023"/>
              <a:gd name="T37" fmla="*/ 1797 h 1884"/>
              <a:gd name="T38" fmla="*/ 1500 w 2023"/>
              <a:gd name="T39" fmla="*/ 1844 h 1884"/>
              <a:gd name="T40" fmla="*/ 1411 w 2023"/>
              <a:gd name="T41" fmla="*/ 1624 h 1884"/>
              <a:gd name="T42" fmla="*/ 1468 w 2023"/>
              <a:gd name="T43" fmla="*/ 1640 h 1884"/>
              <a:gd name="T44" fmla="*/ 1598 w 2023"/>
              <a:gd name="T45" fmla="*/ 1719 h 1884"/>
              <a:gd name="T46" fmla="*/ 1509 w 2023"/>
              <a:gd name="T47" fmla="*/ 1617 h 1884"/>
              <a:gd name="T48" fmla="*/ 1354 w 2023"/>
              <a:gd name="T49" fmla="*/ 1452 h 1884"/>
              <a:gd name="T50" fmla="*/ 1133 w 2023"/>
              <a:gd name="T51" fmla="*/ 1358 h 1884"/>
              <a:gd name="T52" fmla="*/ 1060 w 2023"/>
              <a:gd name="T53" fmla="*/ 1436 h 1884"/>
              <a:gd name="T54" fmla="*/ 1174 w 2023"/>
              <a:gd name="T55" fmla="*/ 1562 h 1884"/>
              <a:gd name="T56" fmla="*/ 1027 w 2023"/>
              <a:gd name="T57" fmla="*/ 1499 h 1884"/>
              <a:gd name="T58" fmla="*/ 889 w 2023"/>
              <a:gd name="T59" fmla="*/ 1444 h 1884"/>
              <a:gd name="T60" fmla="*/ 954 w 2023"/>
              <a:gd name="T61" fmla="*/ 1311 h 1884"/>
              <a:gd name="T62" fmla="*/ 1060 w 2023"/>
              <a:gd name="T63" fmla="*/ 1279 h 1884"/>
              <a:gd name="T64" fmla="*/ 987 w 2023"/>
              <a:gd name="T65" fmla="*/ 1169 h 1884"/>
              <a:gd name="T66" fmla="*/ 840 w 2023"/>
              <a:gd name="T67" fmla="*/ 1028 h 1884"/>
              <a:gd name="T68" fmla="*/ 758 w 2023"/>
              <a:gd name="T69" fmla="*/ 855 h 1884"/>
              <a:gd name="T70" fmla="*/ 856 w 2023"/>
              <a:gd name="T71" fmla="*/ 738 h 1884"/>
              <a:gd name="T72" fmla="*/ 1011 w 2023"/>
              <a:gd name="T73" fmla="*/ 871 h 1884"/>
              <a:gd name="T74" fmla="*/ 1158 w 2023"/>
              <a:gd name="T75" fmla="*/ 926 h 1884"/>
              <a:gd name="T76" fmla="*/ 1019 w 2023"/>
              <a:gd name="T77" fmla="*/ 816 h 1884"/>
              <a:gd name="T78" fmla="*/ 1207 w 2023"/>
              <a:gd name="T79" fmla="*/ 903 h 1884"/>
              <a:gd name="T80" fmla="*/ 1134 w 2023"/>
              <a:gd name="T81" fmla="*/ 769 h 1884"/>
              <a:gd name="T82" fmla="*/ 1321 w 2023"/>
              <a:gd name="T83" fmla="*/ 785 h 1884"/>
              <a:gd name="T84" fmla="*/ 1256 w 2023"/>
              <a:gd name="T85" fmla="*/ 730 h 1884"/>
              <a:gd name="T86" fmla="*/ 1109 w 2023"/>
              <a:gd name="T87" fmla="*/ 636 h 1884"/>
              <a:gd name="T88" fmla="*/ 1264 w 2023"/>
              <a:gd name="T89" fmla="*/ 534 h 1884"/>
              <a:gd name="T90" fmla="*/ 1509 w 2023"/>
              <a:gd name="T91" fmla="*/ 392 h 1884"/>
              <a:gd name="T92" fmla="*/ 1810 w 2023"/>
              <a:gd name="T93" fmla="*/ 400 h 1884"/>
              <a:gd name="T94" fmla="*/ 1925 w 2023"/>
              <a:gd name="T95" fmla="*/ 259 h 1884"/>
              <a:gd name="T96" fmla="*/ 1965 w 2023"/>
              <a:gd name="T97" fmla="*/ 39 h 1884"/>
              <a:gd name="T98" fmla="*/ 1802 w 2023"/>
              <a:gd name="T99" fmla="*/ 55 h 1884"/>
              <a:gd name="T100" fmla="*/ 1745 w 2023"/>
              <a:gd name="T101" fmla="*/ 212 h 1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23" h="1884">
                <a:moveTo>
                  <a:pt x="1574" y="267"/>
                </a:moveTo>
                <a:lnTo>
                  <a:pt x="1509" y="251"/>
                </a:lnTo>
                <a:lnTo>
                  <a:pt x="1427" y="228"/>
                </a:lnTo>
                <a:lnTo>
                  <a:pt x="1370" y="259"/>
                </a:lnTo>
                <a:lnTo>
                  <a:pt x="1321" y="228"/>
                </a:lnTo>
                <a:lnTo>
                  <a:pt x="1297" y="188"/>
                </a:lnTo>
                <a:lnTo>
                  <a:pt x="1231" y="196"/>
                </a:lnTo>
                <a:lnTo>
                  <a:pt x="1199" y="220"/>
                </a:lnTo>
                <a:lnTo>
                  <a:pt x="1158" y="220"/>
                </a:lnTo>
                <a:lnTo>
                  <a:pt x="1125" y="267"/>
                </a:lnTo>
                <a:lnTo>
                  <a:pt x="1085" y="282"/>
                </a:lnTo>
                <a:cubicBezTo>
                  <a:pt x="1076" y="290"/>
                  <a:pt x="1003" y="314"/>
                  <a:pt x="1003" y="314"/>
                </a:cubicBezTo>
                <a:lnTo>
                  <a:pt x="921" y="330"/>
                </a:lnTo>
                <a:lnTo>
                  <a:pt x="889" y="353"/>
                </a:lnTo>
                <a:lnTo>
                  <a:pt x="840" y="384"/>
                </a:lnTo>
                <a:lnTo>
                  <a:pt x="718" y="400"/>
                </a:lnTo>
                <a:lnTo>
                  <a:pt x="726" y="471"/>
                </a:lnTo>
                <a:lnTo>
                  <a:pt x="685" y="502"/>
                </a:lnTo>
                <a:cubicBezTo>
                  <a:pt x="685" y="502"/>
                  <a:pt x="587" y="518"/>
                  <a:pt x="571" y="518"/>
                </a:cubicBezTo>
                <a:lnTo>
                  <a:pt x="530" y="526"/>
                </a:lnTo>
                <a:lnTo>
                  <a:pt x="497" y="534"/>
                </a:lnTo>
                <a:lnTo>
                  <a:pt x="448" y="557"/>
                </a:lnTo>
                <a:lnTo>
                  <a:pt x="440" y="596"/>
                </a:lnTo>
                <a:lnTo>
                  <a:pt x="399" y="643"/>
                </a:lnTo>
                <a:lnTo>
                  <a:pt x="359" y="667"/>
                </a:lnTo>
                <a:lnTo>
                  <a:pt x="310" y="667"/>
                </a:lnTo>
                <a:lnTo>
                  <a:pt x="277" y="683"/>
                </a:lnTo>
                <a:lnTo>
                  <a:pt x="236" y="691"/>
                </a:lnTo>
                <a:lnTo>
                  <a:pt x="204" y="698"/>
                </a:lnTo>
                <a:lnTo>
                  <a:pt x="163" y="706"/>
                </a:lnTo>
                <a:lnTo>
                  <a:pt x="187" y="769"/>
                </a:lnTo>
                <a:cubicBezTo>
                  <a:pt x="187" y="769"/>
                  <a:pt x="196" y="840"/>
                  <a:pt x="187" y="824"/>
                </a:cubicBezTo>
                <a:lnTo>
                  <a:pt x="155" y="855"/>
                </a:lnTo>
                <a:lnTo>
                  <a:pt x="130" y="918"/>
                </a:lnTo>
                <a:lnTo>
                  <a:pt x="114" y="989"/>
                </a:lnTo>
                <a:lnTo>
                  <a:pt x="73" y="1052"/>
                </a:lnTo>
                <a:lnTo>
                  <a:pt x="8" y="1091"/>
                </a:lnTo>
                <a:cubicBezTo>
                  <a:pt x="8" y="1091"/>
                  <a:pt x="16" y="1193"/>
                  <a:pt x="24" y="1232"/>
                </a:cubicBezTo>
                <a:lnTo>
                  <a:pt x="8" y="1263"/>
                </a:lnTo>
                <a:lnTo>
                  <a:pt x="0" y="1318"/>
                </a:lnTo>
                <a:lnTo>
                  <a:pt x="24" y="1358"/>
                </a:lnTo>
                <a:lnTo>
                  <a:pt x="57" y="1413"/>
                </a:lnTo>
                <a:lnTo>
                  <a:pt x="90" y="1389"/>
                </a:lnTo>
                <a:lnTo>
                  <a:pt x="122" y="1405"/>
                </a:lnTo>
                <a:lnTo>
                  <a:pt x="138" y="1460"/>
                </a:lnTo>
                <a:lnTo>
                  <a:pt x="171" y="1499"/>
                </a:lnTo>
                <a:lnTo>
                  <a:pt x="220" y="1507"/>
                </a:lnTo>
                <a:lnTo>
                  <a:pt x="269" y="1491"/>
                </a:lnTo>
                <a:lnTo>
                  <a:pt x="302" y="1499"/>
                </a:lnTo>
                <a:lnTo>
                  <a:pt x="334" y="1483"/>
                </a:lnTo>
                <a:lnTo>
                  <a:pt x="375" y="1483"/>
                </a:lnTo>
                <a:lnTo>
                  <a:pt x="367" y="1530"/>
                </a:lnTo>
                <a:lnTo>
                  <a:pt x="334" y="1546"/>
                </a:lnTo>
                <a:lnTo>
                  <a:pt x="302" y="1530"/>
                </a:lnTo>
                <a:lnTo>
                  <a:pt x="269" y="1530"/>
                </a:lnTo>
                <a:lnTo>
                  <a:pt x="236" y="1562"/>
                </a:lnTo>
                <a:lnTo>
                  <a:pt x="212" y="1609"/>
                </a:lnTo>
                <a:lnTo>
                  <a:pt x="179" y="1648"/>
                </a:lnTo>
                <a:lnTo>
                  <a:pt x="187" y="1695"/>
                </a:lnTo>
                <a:lnTo>
                  <a:pt x="236" y="1679"/>
                </a:lnTo>
                <a:lnTo>
                  <a:pt x="236" y="1640"/>
                </a:lnTo>
                <a:lnTo>
                  <a:pt x="253" y="1601"/>
                </a:lnTo>
                <a:lnTo>
                  <a:pt x="302" y="1624"/>
                </a:lnTo>
                <a:lnTo>
                  <a:pt x="334" y="1656"/>
                </a:lnTo>
                <a:lnTo>
                  <a:pt x="375" y="1695"/>
                </a:lnTo>
                <a:lnTo>
                  <a:pt x="383" y="1750"/>
                </a:lnTo>
                <a:lnTo>
                  <a:pt x="432" y="1781"/>
                </a:lnTo>
                <a:lnTo>
                  <a:pt x="489" y="1726"/>
                </a:lnTo>
                <a:lnTo>
                  <a:pt x="538" y="1758"/>
                </a:lnTo>
                <a:lnTo>
                  <a:pt x="579" y="1734"/>
                </a:lnTo>
                <a:cubicBezTo>
                  <a:pt x="579" y="1734"/>
                  <a:pt x="660" y="1719"/>
                  <a:pt x="685" y="1703"/>
                </a:cubicBezTo>
                <a:lnTo>
                  <a:pt x="742" y="1719"/>
                </a:lnTo>
                <a:lnTo>
                  <a:pt x="791" y="1711"/>
                </a:lnTo>
                <a:lnTo>
                  <a:pt x="840" y="1687"/>
                </a:lnTo>
                <a:lnTo>
                  <a:pt x="872" y="1679"/>
                </a:lnTo>
                <a:lnTo>
                  <a:pt x="905" y="1703"/>
                </a:lnTo>
                <a:lnTo>
                  <a:pt x="946" y="1672"/>
                </a:lnTo>
                <a:lnTo>
                  <a:pt x="978" y="1703"/>
                </a:lnTo>
                <a:lnTo>
                  <a:pt x="1036" y="1726"/>
                </a:lnTo>
                <a:lnTo>
                  <a:pt x="1076" y="1711"/>
                </a:lnTo>
                <a:lnTo>
                  <a:pt x="1109" y="1711"/>
                </a:lnTo>
                <a:lnTo>
                  <a:pt x="1125" y="1758"/>
                </a:lnTo>
                <a:lnTo>
                  <a:pt x="1093" y="1766"/>
                </a:lnTo>
                <a:lnTo>
                  <a:pt x="1060" y="1797"/>
                </a:lnTo>
                <a:lnTo>
                  <a:pt x="1093" y="1829"/>
                </a:lnTo>
                <a:lnTo>
                  <a:pt x="1125" y="1829"/>
                </a:lnTo>
                <a:lnTo>
                  <a:pt x="1158" y="1821"/>
                </a:lnTo>
                <a:lnTo>
                  <a:pt x="1207" y="1797"/>
                </a:lnTo>
                <a:lnTo>
                  <a:pt x="1239" y="1774"/>
                </a:lnTo>
                <a:lnTo>
                  <a:pt x="1288" y="1781"/>
                </a:lnTo>
                <a:lnTo>
                  <a:pt x="1256" y="1829"/>
                </a:lnTo>
                <a:lnTo>
                  <a:pt x="1288" y="1797"/>
                </a:lnTo>
                <a:lnTo>
                  <a:pt x="1321" y="1797"/>
                </a:lnTo>
                <a:lnTo>
                  <a:pt x="1313" y="1758"/>
                </a:lnTo>
                <a:lnTo>
                  <a:pt x="1345" y="1797"/>
                </a:lnTo>
                <a:lnTo>
                  <a:pt x="1378" y="1836"/>
                </a:lnTo>
                <a:lnTo>
                  <a:pt x="1411" y="1836"/>
                </a:lnTo>
                <a:lnTo>
                  <a:pt x="1443" y="1860"/>
                </a:lnTo>
                <a:lnTo>
                  <a:pt x="1476" y="1883"/>
                </a:lnTo>
                <a:lnTo>
                  <a:pt x="1500" y="1844"/>
                </a:lnTo>
                <a:lnTo>
                  <a:pt x="1484" y="1805"/>
                </a:lnTo>
                <a:lnTo>
                  <a:pt x="1451" y="1766"/>
                </a:lnTo>
                <a:lnTo>
                  <a:pt x="1435" y="1719"/>
                </a:lnTo>
                <a:lnTo>
                  <a:pt x="1419" y="1672"/>
                </a:lnTo>
                <a:lnTo>
                  <a:pt x="1411" y="1624"/>
                </a:lnTo>
                <a:lnTo>
                  <a:pt x="1362" y="1617"/>
                </a:lnTo>
                <a:lnTo>
                  <a:pt x="1313" y="1585"/>
                </a:lnTo>
                <a:lnTo>
                  <a:pt x="1370" y="1577"/>
                </a:lnTo>
                <a:lnTo>
                  <a:pt x="1419" y="1601"/>
                </a:lnTo>
                <a:lnTo>
                  <a:pt x="1468" y="1640"/>
                </a:lnTo>
                <a:lnTo>
                  <a:pt x="1476" y="1679"/>
                </a:lnTo>
                <a:lnTo>
                  <a:pt x="1533" y="1695"/>
                </a:lnTo>
                <a:lnTo>
                  <a:pt x="1533" y="1734"/>
                </a:lnTo>
                <a:lnTo>
                  <a:pt x="1566" y="1726"/>
                </a:lnTo>
                <a:lnTo>
                  <a:pt x="1598" y="1719"/>
                </a:lnTo>
                <a:lnTo>
                  <a:pt x="1631" y="1703"/>
                </a:lnTo>
                <a:lnTo>
                  <a:pt x="1631" y="1664"/>
                </a:lnTo>
                <a:lnTo>
                  <a:pt x="1574" y="1624"/>
                </a:lnTo>
                <a:lnTo>
                  <a:pt x="1541" y="1640"/>
                </a:lnTo>
                <a:lnTo>
                  <a:pt x="1509" y="1617"/>
                </a:lnTo>
                <a:lnTo>
                  <a:pt x="1468" y="1577"/>
                </a:lnTo>
                <a:lnTo>
                  <a:pt x="1451" y="1515"/>
                </a:lnTo>
                <a:lnTo>
                  <a:pt x="1435" y="1475"/>
                </a:lnTo>
                <a:lnTo>
                  <a:pt x="1403" y="1444"/>
                </a:lnTo>
                <a:lnTo>
                  <a:pt x="1354" y="1452"/>
                </a:lnTo>
                <a:lnTo>
                  <a:pt x="1305" y="1460"/>
                </a:lnTo>
                <a:lnTo>
                  <a:pt x="1256" y="1436"/>
                </a:lnTo>
                <a:lnTo>
                  <a:pt x="1207" y="1420"/>
                </a:lnTo>
                <a:lnTo>
                  <a:pt x="1150" y="1397"/>
                </a:lnTo>
                <a:lnTo>
                  <a:pt x="1133" y="1358"/>
                </a:lnTo>
                <a:lnTo>
                  <a:pt x="1101" y="1350"/>
                </a:lnTo>
                <a:lnTo>
                  <a:pt x="1068" y="1358"/>
                </a:lnTo>
                <a:lnTo>
                  <a:pt x="1036" y="1381"/>
                </a:lnTo>
                <a:lnTo>
                  <a:pt x="1011" y="1420"/>
                </a:lnTo>
                <a:lnTo>
                  <a:pt x="1060" y="1436"/>
                </a:lnTo>
                <a:lnTo>
                  <a:pt x="1109" y="1460"/>
                </a:lnTo>
                <a:lnTo>
                  <a:pt x="1150" y="1468"/>
                </a:lnTo>
                <a:lnTo>
                  <a:pt x="1215" y="1522"/>
                </a:lnTo>
                <a:lnTo>
                  <a:pt x="1248" y="1546"/>
                </a:lnTo>
                <a:cubicBezTo>
                  <a:pt x="1248" y="1546"/>
                  <a:pt x="1182" y="1562"/>
                  <a:pt x="1174" y="1562"/>
                </a:cubicBezTo>
                <a:lnTo>
                  <a:pt x="1142" y="1546"/>
                </a:lnTo>
                <a:lnTo>
                  <a:pt x="1125" y="1507"/>
                </a:lnTo>
                <a:lnTo>
                  <a:pt x="1093" y="1507"/>
                </a:lnTo>
                <a:lnTo>
                  <a:pt x="1060" y="1515"/>
                </a:lnTo>
                <a:lnTo>
                  <a:pt x="1027" y="1499"/>
                </a:lnTo>
                <a:lnTo>
                  <a:pt x="995" y="1483"/>
                </a:lnTo>
                <a:lnTo>
                  <a:pt x="962" y="1475"/>
                </a:lnTo>
                <a:lnTo>
                  <a:pt x="881" y="1475"/>
                </a:lnTo>
                <a:lnTo>
                  <a:pt x="848" y="1468"/>
                </a:lnTo>
                <a:lnTo>
                  <a:pt x="889" y="1444"/>
                </a:lnTo>
                <a:lnTo>
                  <a:pt x="921" y="1452"/>
                </a:lnTo>
                <a:lnTo>
                  <a:pt x="954" y="1436"/>
                </a:lnTo>
                <a:lnTo>
                  <a:pt x="995" y="1397"/>
                </a:lnTo>
                <a:lnTo>
                  <a:pt x="987" y="1350"/>
                </a:lnTo>
                <a:lnTo>
                  <a:pt x="954" y="1311"/>
                </a:lnTo>
                <a:lnTo>
                  <a:pt x="913" y="1303"/>
                </a:lnTo>
                <a:lnTo>
                  <a:pt x="930" y="1271"/>
                </a:lnTo>
                <a:lnTo>
                  <a:pt x="978" y="1240"/>
                </a:lnTo>
                <a:lnTo>
                  <a:pt x="1019" y="1256"/>
                </a:lnTo>
                <a:lnTo>
                  <a:pt x="1060" y="1279"/>
                </a:lnTo>
                <a:lnTo>
                  <a:pt x="1052" y="1318"/>
                </a:lnTo>
                <a:lnTo>
                  <a:pt x="1084" y="1295"/>
                </a:lnTo>
                <a:lnTo>
                  <a:pt x="1068" y="1240"/>
                </a:lnTo>
                <a:lnTo>
                  <a:pt x="1036" y="1201"/>
                </a:lnTo>
                <a:lnTo>
                  <a:pt x="987" y="1169"/>
                </a:lnTo>
                <a:lnTo>
                  <a:pt x="946" y="1154"/>
                </a:lnTo>
                <a:lnTo>
                  <a:pt x="930" y="1122"/>
                </a:lnTo>
                <a:lnTo>
                  <a:pt x="897" y="1091"/>
                </a:lnTo>
                <a:lnTo>
                  <a:pt x="889" y="1052"/>
                </a:lnTo>
                <a:lnTo>
                  <a:pt x="840" y="1028"/>
                </a:lnTo>
                <a:lnTo>
                  <a:pt x="815" y="989"/>
                </a:lnTo>
                <a:lnTo>
                  <a:pt x="783" y="973"/>
                </a:lnTo>
                <a:lnTo>
                  <a:pt x="750" y="942"/>
                </a:lnTo>
                <a:lnTo>
                  <a:pt x="750" y="895"/>
                </a:lnTo>
                <a:lnTo>
                  <a:pt x="758" y="855"/>
                </a:lnTo>
                <a:lnTo>
                  <a:pt x="758" y="816"/>
                </a:lnTo>
                <a:lnTo>
                  <a:pt x="750" y="761"/>
                </a:lnTo>
                <a:lnTo>
                  <a:pt x="791" y="722"/>
                </a:lnTo>
                <a:lnTo>
                  <a:pt x="832" y="698"/>
                </a:lnTo>
                <a:lnTo>
                  <a:pt x="856" y="738"/>
                </a:lnTo>
                <a:lnTo>
                  <a:pt x="840" y="793"/>
                </a:lnTo>
                <a:lnTo>
                  <a:pt x="889" y="808"/>
                </a:lnTo>
                <a:lnTo>
                  <a:pt x="930" y="832"/>
                </a:lnTo>
                <a:lnTo>
                  <a:pt x="970" y="832"/>
                </a:lnTo>
                <a:lnTo>
                  <a:pt x="1011" y="871"/>
                </a:lnTo>
                <a:lnTo>
                  <a:pt x="1019" y="926"/>
                </a:lnTo>
                <a:lnTo>
                  <a:pt x="1052" y="942"/>
                </a:lnTo>
                <a:lnTo>
                  <a:pt x="1084" y="934"/>
                </a:lnTo>
                <a:lnTo>
                  <a:pt x="1125" y="950"/>
                </a:lnTo>
                <a:lnTo>
                  <a:pt x="1158" y="926"/>
                </a:lnTo>
                <a:lnTo>
                  <a:pt x="1117" y="910"/>
                </a:lnTo>
                <a:lnTo>
                  <a:pt x="1084" y="910"/>
                </a:lnTo>
                <a:lnTo>
                  <a:pt x="1044" y="879"/>
                </a:lnTo>
                <a:lnTo>
                  <a:pt x="1011" y="855"/>
                </a:lnTo>
                <a:lnTo>
                  <a:pt x="1019" y="816"/>
                </a:lnTo>
                <a:lnTo>
                  <a:pt x="1052" y="816"/>
                </a:lnTo>
                <a:lnTo>
                  <a:pt x="1101" y="816"/>
                </a:lnTo>
                <a:lnTo>
                  <a:pt x="1150" y="840"/>
                </a:lnTo>
                <a:lnTo>
                  <a:pt x="1174" y="887"/>
                </a:lnTo>
                <a:lnTo>
                  <a:pt x="1207" y="903"/>
                </a:lnTo>
                <a:lnTo>
                  <a:pt x="1239" y="918"/>
                </a:lnTo>
                <a:lnTo>
                  <a:pt x="1248" y="879"/>
                </a:lnTo>
                <a:lnTo>
                  <a:pt x="1223" y="832"/>
                </a:lnTo>
                <a:lnTo>
                  <a:pt x="1182" y="824"/>
                </a:lnTo>
                <a:lnTo>
                  <a:pt x="1134" y="769"/>
                </a:lnTo>
                <a:lnTo>
                  <a:pt x="1166" y="730"/>
                </a:lnTo>
                <a:lnTo>
                  <a:pt x="1215" y="761"/>
                </a:lnTo>
                <a:lnTo>
                  <a:pt x="1248" y="769"/>
                </a:lnTo>
                <a:lnTo>
                  <a:pt x="1280" y="761"/>
                </a:lnTo>
                <a:lnTo>
                  <a:pt x="1321" y="785"/>
                </a:lnTo>
                <a:lnTo>
                  <a:pt x="1346" y="816"/>
                </a:lnTo>
                <a:lnTo>
                  <a:pt x="1386" y="793"/>
                </a:lnTo>
                <a:lnTo>
                  <a:pt x="1354" y="777"/>
                </a:lnTo>
                <a:lnTo>
                  <a:pt x="1313" y="745"/>
                </a:lnTo>
                <a:lnTo>
                  <a:pt x="1256" y="730"/>
                </a:lnTo>
                <a:lnTo>
                  <a:pt x="1223" y="698"/>
                </a:lnTo>
                <a:lnTo>
                  <a:pt x="1191" y="730"/>
                </a:lnTo>
                <a:lnTo>
                  <a:pt x="1158" y="722"/>
                </a:lnTo>
                <a:lnTo>
                  <a:pt x="1142" y="651"/>
                </a:lnTo>
                <a:lnTo>
                  <a:pt x="1109" y="636"/>
                </a:lnTo>
                <a:lnTo>
                  <a:pt x="1101" y="596"/>
                </a:lnTo>
                <a:lnTo>
                  <a:pt x="1142" y="573"/>
                </a:lnTo>
                <a:lnTo>
                  <a:pt x="1182" y="573"/>
                </a:lnTo>
                <a:lnTo>
                  <a:pt x="1231" y="557"/>
                </a:lnTo>
                <a:lnTo>
                  <a:pt x="1264" y="534"/>
                </a:lnTo>
                <a:lnTo>
                  <a:pt x="1289" y="471"/>
                </a:lnTo>
                <a:lnTo>
                  <a:pt x="1337" y="471"/>
                </a:lnTo>
                <a:lnTo>
                  <a:pt x="1419" y="471"/>
                </a:lnTo>
                <a:lnTo>
                  <a:pt x="1460" y="447"/>
                </a:lnTo>
                <a:lnTo>
                  <a:pt x="1509" y="392"/>
                </a:lnTo>
                <a:lnTo>
                  <a:pt x="1549" y="416"/>
                </a:lnTo>
                <a:lnTo>
                  <a:pt x="1598" y="416"/>
                </a:lnTo>
                <a:lnTo>
                  <a:pt x="1631" y="424"/>
                </a:lnTo>
                <a:cubicBezTo>
                  <a:pt x="1631" y="424"/>
                  <a:pt x="1745" y="416"/>
                  <a:pt x="1761" y="408"/>
                </a:cubicBezTo>
                <a:lnTo>
                  <a:pt x="1810" y="400"/>
                </a:lnTo>
                <a:lnTo>
                  <a:pt x="1843" y="432"/>
                </a:lnTo>
                <a:lnTo>
                  <a:pt x="1892" y="432"/>
                </a:lnTo>
                <a:lnTo>
                  <a:pt x="1925" y="400"/>
                </a:lnTo>
                <a:lnTo>
                  <a:pt x="1965" y="345"/>
                </a:lnTo>
                <a:lnTo>
                  <a:pt x="1925" y="259"/>
                </a:lnTo>
                <a:lnTo>
                  <a:pt x="1933" y="204"/>
                </a:lnTo>
                <a:lnTo>
                  <a:pt x="1965" y="149"/>
                </a:lnTo>
                <a:lnTo>
                  <a:pt x="2022" y="141"/>
                </a:lnTo>
                <a:lnTo>
                  <a:pt x="1982" y="78"/>
                </a:lnTo>
                <a:lnTo>
                  <a:pt x="1965" y="39"/>
                </a:lnTo>
                <a:lnTo>
                  <a:pt x="1908" y="16"/>
                </a:lnTo>
                <a:lnTo>
                  <a:pt x="1868" y="8"/>
                </a:lnTo>
                <a:lnTo>
                  <a:pt x="1835" y="0"/>
                </a:lnTo>
                <a:lnTo>
                  <a:pt x="1794" y="16"/>
                </a:lnTo>
                <a:lnTo>
                  <a:pt x="1802" y="55"/>
                </a:lnTo>
                <a:lnTo>
                  <a:pt x="1835" y="94"/>
                </a:lnTo>
                <a:lnTo>
                  <a:pt x="1851" y="133"/>
                </a:lnTo>
                <a:lnTo>
                  <a:pt x="1819" y="180"/>
                </a:lnTo>
                <a:lnTo>
                  <a:pt x="1786" y="188"/>
                </a:lnTo>
                <a:lnTo>
                  <a:pt x="1745" y="212"/>
                </a:lnTo>
                <a:lnTo>
                  <a:pt x="1688" y="220"/>
                </a:lnTo>
                <a:lnTo>
                  <a:pt x="1639" y="235"/>
                </a:lnTo>
                <a:lnTo>
                  <a:pt x="1598" y="251"/>
                </a:lnTo>
                <a:lnTo>
                  <a:pt x="1574" y="26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17" name="Freeform 209">
            <a:extLst>
              <a:ext uri="{FF2B5EF4-FFF2-40B4-BE49-F238E27FC236}">
                <a16:creationId xmlns:a16="http://schemas.microsoft.com/office/drawing/2014/main" id="{CF9FC7FC-7FD8-7540-23DD-07492757DCC7}"/>
              </a:ext>
            </a:extLst>
          </p:cNvPr>
          <p:cNvSpPr>
            <a:spLocks noChangeArrowheads="1"/>
          </p:cNvSpPr>
          <p:nvPr>
            <p:custDataLst>
              <p:tags r:id="rId208"/>
            </p:custDataLst>
          </p:nvPr>
        </p:nvSpPr>
        <p:spPr bwMode="auto">
          <a:xfrm>
            <a:off x="9659246" y="5986072"/>
            <a:ext cx="63393" cy="56148"/>
          </a:xfrm>
          <a:custGeom>
            <a:avLst/>
            <a:gdLst>
              <a:gd name="T0" fmla="*/ 41 w 156"/>
              <a:gd name="T1" fmla="*/ 71 h 135"/>
              <a:gd name="T2" fmla="*/ 8 w 156"/>
              <a:gd name="T3" fmla="*/ 71 h 135"/>
              <a:gd name="T4" fmla="*/ 0 w 156"/>
              <a:gd name="T5" fmla="*/ 110 h 135"/>
              <a:gd name="T6" fmla="*/ 33 w 156"/>
              <a:gd name="T7" fmla="*/ 134 h 135"/>
              <a:gd name="T8" fmla="*/ 33 w 156"/>
              <a:gd name="T9" fmla="*/ 94 h 135"/>
              <a:gd name="T10" fmla="*/ 65 w 156"/>
              <a:gd name="T11" fmla="*/ 79 h 135"/>
              <a:gd name="T12" fmla="*/ 98 w 156"/>
              <a:gd name="T13" fmla="*/ 71 h 135"/>
              <a:gd name="T14" fmla="*/ 131 w 156"/>
              <a:gd name="T15" fmla="*/ 39 h 135"/>
              <a:gd name="T16" fmla="*/ 155 w 156"/>
              <a:gd name="T17" fmla="*/ 0 h 135"/>
              <a:gd name="T18" fmla="*/ 122 w 156"/>
              <a:gd name="T19" fmla="*/ 8 h 135"/>
              <a:gd name="T20" fmla="*/ 90 w 156"/>
              <a:gd name="T21" fmla="*/ 24 h 135"/>
              <a:gd name="T22" fmla="*/ 57 w 156"/>
              <a:gd name="T23" fmla="*/ 63 h 135"/>
              <a:gd name="T24" fmla="*/ 41 w 156"/>
              <a:gd name="T25" fmla="*/ 71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56" h="135">
                <a:moveTo>
                  <a:pt x="41" y="71"/>
                </a:moveTo>
                <a:lnTo>
                  <a:pt x="8" y="71"/>
                </a:lnTo>
                <a:lnTo>
                  <a:pt x="0" y="110"/>
                </a:lnTo>
                <a:lnTo>
                  <a:pt x="33" y="134"/>
                </a:lnTo>
                <a:lnTo>
                  <a:pt x="33" y="94"/>
                </a:lnTo>
                <a:lnTo>
                  <a:pt x="65" y="79"/>
                </a:lnTo>
                <a:lnTo>
                  <a:pt x="98" y="71"/>
                </a:lnTo>
                <a:lnTo>
                  <a:pt x="131" y="39"/>
                </a:lnTo>
                <a:lnTo>
                  <a:pt x="155" y="0"/>
                </a:lnTo>
                <a:lnTo>
                  <a:pt x="122" y="8"/>
                </a:lnTo>
                <a:lnTo>
                  <a:pt x="90" y="24"/>
                </a:lnTo>
                <a:lnTo>
                  <a:pt x="57" y="63"/>
                </a:lnTo>
                <a:lnTo>
                  <a:pt x="41" y="71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18" name="Freeform 210">
            <a:extLst>
              <a:ext uri="{FF2B5EF4-FFF2-40B4-BE49-F238E27FC236}">
                <a16:creationId xmlns:a16="http://schemas.microsoft.com/office/drawing/2014/main" id="{E532B591-B9ED-6CE7-19B0-AE4AF553891D}"/>
              </a:ext>
            </a:extLst>
          </p:cNvPr>
          <p:cNvSpPr>
            <a:spLocks noChangeArrowheads="1"/>
          </p:cNvSpPr>
          <p:nvPr>
            <p:custDataLst>
              <p:tags r:id="rId209"/>
            </p:custDataLst>
          </p:nvPr>
        </p:nvSpPr>
        <p:spPr bwMode="auto">
          <a:xfrm>
            <a:off x="9635700" y="5948037"/>
            <a:ext cx="39847" cy="45280"/>
          </a:xfrm>
          <a:custGeom>
            <a:avLst/>
            <a:gdLst>
              <a:gd name="T0" fmla="*/ 57 w 99"/>
              <a:gd name="T1" fmla="*/ 78 h 111"/>
              <a:gd name="T2" fmla="*/ 65 w 99"/>
              <a:gd name="T3" fmla="*/ 63 h 111"/>
              <a:gd name="T4" fmla="*/ 98 w 99"/>
              <a:gd name="T5" fmla="*/ 71 h 111"/>
              <a:gd name="T6" fmla="*/ 98 w 99"/>
              <a:gd name="T7" fmla="*/ 110 h 111"/>
              <a:gd name="T8" fmla="*/ 57 w 99"/>
              <a:gd name="T9" fmla="*/ 102 h 111"/>
              <a:gd name="T10" fmla="*/ 57 w 99"/>
              <a:gd name="T11" fmla="*/ 78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9" h="111">
                <a:moveTo>
                  <a:pt x="57" y="78"/>
                </a:moveTo>
                <a:cubicBezTo>
                  <a:pt x="33" y="71"/>
                  <a:pt x="0" y="0"/>
                  <a:pt x="65" y="63"/>
                </a:cubicBezTo>
                <a:lnTo>
                  <a:pt x="98" y="71"/>
                </a:lnTo>
                <a:lnTo>
                  <a:pt x="98" y="110"/>
                </a:lnTo>
                <a:lnTo>
                  <a:pt x="57" y="102"/>
                </a:lnTo>
                <a:lnTo>
                  <a:pt x="57" y="7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19" name="Freeform 211">
            <a:extLst>
              <a:ext uri="{FF2B5EF4-FFF2-40B4-BE49-F238E27FC236}">
                <a16:creationId xmlns:a16="http://schemas.microsoft.com/office/drawing/2014/main" id="{093C795C-A0E2-4676-C14C-C25B6E4D0A87}"/>
              </a:ext>
            </a:extLst>
          </p:cNvPr>
          <p:cNvSpPr>
            <a:spLocks noChangeArrowheads="1"/>
          </p:cNvSpPr>
          <p:nvPr>
            <p:custDataLst>
              <p:tags r:id="rId210"/>
            </p:custDataLst>
          </p:nvPr>
        </p:nvSpPr>
        <p:spPr bwMode="auto">
          <a:xfrm>
            <a:off x="9813200" y="6031353"/>
            <a:ext cx="67014" cy="114106"/>
          </a:xfrm>
          <a:custGeom>
            <a:avLst/>
            <a:gdLst>
              <a:gd name="T0" fmla="*/ 8 w 164"/>
              <a:gd name="T1" fmla="*/ 157 h 276"/>
              <a:gd name="T2" fmla="*/ 25 w 164"/>
              <a:gd name="T3" fmla="*/ 118 h 276"/>
              <a:gd name="T4" fmla="*/ 66 w 164"/>
              <a:gd name="T5" fmla="*/ 78 h 276"/>
              <a:gd name="T6" fmla="*/ 82 w 164"/>
              <a:gd name="T7" fmla="*/ 39 h 276"/>
              <a:gd name="T8" fmla="*/ 114 w 164"/>
              <a:gd name="T9" fmla="*/ 31 h 276"/>
              <a:gd name="T10" fmla="*/ 147 w 164"/>
              <a:gd name="T11" fmla="*/ 0 h 276"/>
              <a:gd name="T12" fmla="*/ 163 w 164"/>
              <a:gd name="T13" fmla="*/ 63 h 276"/>
              <a:gd name="T14" fmla="*/ 139 w 164"/>
              <a:gd name="T15" fmla="*/ 118 h 276"/>
              <a:gd name="T16" fmla="*/ 123 w 164"/>
              <a:gd name="T17" fmla="*/ 181 h 276"/>
              <a:gd name="T18" fmla="*/ 90 w 164"/>
              <a:gd name="T19" fmla="*/ 228 h 276"/>
              <a:gd name="T20" fmla="*/ 57 w 164"/>
              <a:gd name="T21" fmla="*/ 275 h 276"/>
              <a:gd name="T22" fmla="*/ 25 w 164"/>
              <a:gd name="T23" fmla="*/ 251 h 276"/>
              <a:gd name="T24" fmla="*/ 33 w 164"/>
              <a:gd name="T25" fmla="*/ 212 h 276"/>
              <a:gd name="T26" fmla="*/ 0 w 164"/>
              <a:gd name="T27" fmla="*/ 181 h 276"/>
              <a:gd name="T28" fmla="*/ 8 w 164"/>
              <a:gd name="T29" fmla="*/ 157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4" h="276">
                <a:moveTo>
                  <a:pt x="8" y="157"/>
                </a:moveTo>
                <a:lnTo>
                  <a:pt x="25" y="118"/>
                </a:lnTo>
                <a:lnTo>
                  <a:pt x="66" y="78"/>
                </a:lnTo>
                <a:lnTo>
                  <a:pt x="82" y="39"/>
                </a:lnTo>
                <a:lnTo>
                  <a:pt x="114" y="31"/>
                </a:lnTo>
                <a:lnTo>
                  <a:pt x="147" y="0"/>
                </a:lnTo>
                <a:lnTo>
                  <a:pt x="163" y="63"/>
                </a:lnTo>
                <a:lnTo>
                  <a:pt x="139" y="118"/>
                </a:lnTo>
                <a:lnTo>
                  <a:pt x="123" y="181"/>
                </a:lnTo>
                <a:lnTo>
                  <a:pt x="90" y="228"/>
                </a:lnTo>
                <a:lnTo>
                  <a:pt x="57" y="275"/>
                </a:lnTo>
                <a:lnTo>
                  <a:pt x="25" y="251"/>
                </a:lnTo>
                <a:lnTo>
                  <a:pt x="33" y="212"/>
                </a:lnTo>
                <a:lnTo>
                  <a:pt x="0" y="181"/>
                </a:lnTo>
                <a:lnTo>
                  <a:pt x="8" y="15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20" name="Freeform 212">
            <a:extLst>
              <a:ext uri="{FF2B5EF4-FFF2-40B4-BE49-F238E27FC236}">
                <a16:creationId xmlns:a16="http://schemas.microsoft.com/office/drawing/2014/main" id="{F7CE6976-4F8C-E68E-C486-2CE31570D0B1}"/>
              </a:ext>
            </a:extLst>
          </p:cNvPr>
          <p:cNvSpPr>
            <a:spLocks noChangeArrowheads="1"/>
          </p:cNvSpPr>
          <p:nvPr>
            <p:custDataLst>
              <p:tags r:id="rId211"/>
            </p:custDataLst>
          </p:nvPr>
        </p:nvSpPr>
        <p:spPr bwMode="auto">
          <a:xfrm>
            <a:off x="9749806" y="6176250"/>
            <a:ext cx="23546" cy="74259"/>
          </a:xfrm>
          <a:custGeom>
            <a:avLst/>
            <a:gdLst>
              <a:gd name="T0" fmla="*/ 33 w 58"/>
              <a:gd name="T1" fmla="*/ 181 h 182"/>
              <a:gd name="T2" fmla="*/ 0 w 58"/>
              <a:gd name="T3" fmla="*/ 157 h 182"/>
              <a:gd name="T4" fmla="*/ 8 w 58"/>
              <a:gd name="T5" fmla="*/ 118 h 182"/>
              <a:gd name="T6" fmla="*/ 8 w 58"/>
              <a:gd name="T7" fmla="*/ 0 h 182"/>
              <a:gd name="T8" fmla="*/ 25 w 58"/>
              <a:gd name="T9" fmla="*/ 39 h 182"/>
              <a:gd name="T10" fmla="*/ 17 w 58"/>
              <a:gd name="T11" fmla="*/ 79 h 182"/>
              <a:gd name="T12" fmla="*/ 57 w 58"/>
              <a:gd name="T13" fmla="*/ 110 h 182"/>
              <a:gd name="T14" fmla="*/ 41 w 58"/>
              <a:gd name="T15" fmla="*/ 149 h 182"/>
              <a:gd name="T16" fmla="*/ 33 w 58"/>
              <a:gd name="T17" fmla="*/ 181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" h="182">
                <a:moveTo>
                  <a:pt x="33" y="181"/>
                </a:moveTo>
                <a:lnTo>
                  <a:pt x="0" y="157"/>
                </a:lnTo>
                <a:lnTo>
                  <a:pt x="8" y="118"/>
                </a:lnTo>
                <a:lnTo>
                  <a:pt x="8" y="0"/>
                </a:lnTo>
                <a:lnTo>
                  <a:pt x="25" y="39"/>
                </a:lnTo>
                <a:lnTo>
                  <a:pt x="17" y="79"/>
                </a:lnTo>
                <a:lnTo>
                  <a:pt x="57" y="110"/>
                </a:lnTo>
                <a:lnTo>
                  <a:pt x="41" y="149"/>
                </a:lnTo>
                <a:lnTo>
                  <a:pt x="33" y="181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21" name="Freeform 213">
            <a:extLst>
              <a:ext uri="{FF2B5EF4-FFF2-40B4-BE49-F238E27FC236}">
                <a16:creationId xmlns:a16="http://schemas.microsoft.com/office/drawing/2014/main" id="{DAAD4B4F-1944-171D-A40B-B61BE9FD6152}"/>
              </a:ext>
            </a:extLst>
          </p:cNvPr>
          <p:cNvSpPr>
            <a:spLocks noChangeArrowheads="1"/>
          </p:cNvSpPr>
          <p:nvPr>
            <p:custDataLst>
              <p:tags r:id="rId212"/>
            </p:custDataLst>
          </p:nvPr>
        </p:nvSpPr>
        <p:spPr bwMode="auto">
          <a:xfrm>
            <a:off x="9568685" y="5841174"/>
            <a:ext cx="70638" cy="36224"/>
          </a:xfrm>
          <a:custGeom>
            <a:avLst/>
            <a:gdLst>
              <a:gd name="T0" fmla="*/ 8 w 172"/>
              <a:gd name="T1" fmla="*/ 39 h 87"/>
              <a:gd name="T2" fmla="*/ 33 w 172"/>
              <a:gd name="T3" fmla="*/ 8 h 87"/>
              <a:gd name="T4" fmla="*/ 90 w 172"/>
              <a:gd name="T5" fmla="*/ 16 h 87"/>
              <a:gd name="T6" fmla="*/ 139 w 172"/>
              <a:gd name="T7" fmla="*/ 0 h 87"/>
              <a:gd name="T8" fmla="*/ 171 w 172"/>
              <a:gd name="T9" fmla="*/ 23 h 87"/>
              <a:gd name="T10" fmla="*/ 139 w 172"/>
              <a:gd name="T11" fmla="*/ 55 h 87"/>
              <a:gd name="T12" fmla="*/ 106 w 172"/>
              <a:gd name="T13" fmla="*/ 86 h 87"/>
              <a:gd name="T14" fmla="*/ 65 w 172"/>
              <a:gd name="T15" fmla="*/ 78 h 87"/>
              <a:gd name="T16" fmla="*/ 33 w 172"/>
              <a:gd name="T17" fmla="*/ 71 h 87"/>
              <a:gd name="T18" fmla="*/ 0 w 172"/>
              <a:gd name="T19" fmla="*/ 71 h 87"/>
              <a:gd name="T20" fmla="*/ 8 w 172"/>
              <a:gd name="T21" fmla="*/ 39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2" h="87">
                <a:moveTo>
                  <a:pt x="8" y="39"/>
                </a:moveTo>
                <a:lnTo>
                  <a:pt x="33" y="8"/>
                </a:lnTo>
                <a:lnTo>
                  <a:pt x="90" y="16"/>
                </a:lnTo>
                <a:lnTo>
                  <a:pt x="139" y="0"/>
                </a:lnTo>
                <a:lnTo>
                  <a:pt x="171" y="23"/>
                </a:lnTo>
                <a:lnTo>
                  <a:pt x="139" y="55"/>
                </a:lnTo>
                <a:lnTo>
                  <a:pt x="106" y="86"/>
                </a:lnTo>
                <a:lnTo>
                  <a:pt x="65" y="78"/>
                </a:lnTo>
                <a:lnTo>
                  <a:pt x="33" y="71"/>
                </a:lnTo>
                <a:lnTo>
                  <a:pt x="0" y="71"/>
                </a:lnTo>
                <a:lnTo>
                  <a:pt x="8" y="39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22" name="Freeform 214">
            <a:extLst>
              <a:ext uri="{FF2B5EF4-FFF2-40B4-BE49-F238E27FC236}">
                <a16:creationId xmlns:a16="http://schemas.microsoft.com/office/drawing/2014/main" id="{3FFBA7DE-C33B-5E9D-B992-94FE01D65AD1}"/>
              </a:ext>
            </a:extLst>
          </p:cNvPr>
          <p:cNvSpPr>
            <a:spLocks noChangeArrowheads="1"/>
          </p:cNvSpPr>
          <p:nvPr>
            <p:custDataLst>
              <p:tags r:id="rId213"/>
            </p:custDataLst>
          </p:nvPr>
        </p:nvSpPr>
        <p:spPr bwMode="auto">
          <a:xfrm>
            <a:off x="9487181" y="5882833"/>
            <a:ext cx="57959" cy="39847"/>
          </a:xfrm>
          <a:custGeom>
            <a:avLst/>
            <a:gdLst>
              <a:gd name="T0" fmla="*/ 33 w 140"/>
              <a:gd name="T1" fmla="*/ 94 h 95"/>
              <a:gd name="T2" fmla="*/ 0 w 140"/>
              <a:gd name="T3" fmla="*/ 78 h 95"/>
              <a:gd name="T4" fmla="*/ 49 w 140"/>
              <a:gd name="T5" fmla="*/ 24 h 95"/>
              <a:gd name="T6" fmla="*/ 82 w 140"/>
              <a:gd name="T7" fmla="*/ 24 h 95"/>
              <a:gd name="T8" fmla="*/ 139 w 140"/>
              <a:gd name="T9" fmla="*/ 0 h 95"/>
              <a:gd name="T10" fmla="*/ 106 w 140"/>
              <a:gd name="T11" fmla="*/ 39 h 95"/>
              <a:gd name="T12" fmla="*/ 74 w 140"/>
              <a:gd name="T13" fmla="*/ 63 h 95"/>
              <a:gd name="T14" fmla="*/ 33 w 140"/>
              <a:gd name="T15" fmla="*/ 9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0" h="95">
                <a:moveTo>
                  <a:pt x="33" y="94"/>
                </a:moveTo>
                <a:lnTo>
                  <a:pt x="0" y="78"/>
                </a:lnTo>
                <a:lnTo>
                  <a:pt x="49" y="24"/>
                </a:lnTo>
                <a:lnTo>
                  <a:pt x="82" y="24"/>
                </a:lnTo>
                <a:lnTo>
                  <a:pt x="139" y="0"/>
                </a:lnTo>
                <a:lnTo>
                  <a:pt x="106" y="39"/>
                </a:lnTo>
                <a:lnTo>
                  <a:pt x="74" y="63"/>
                </a:lnTo>
                <a:lnTo>
                  <a:pt x="33" y="94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23" name="Freeform 215">
            <a:extLst>
              <a:ext uri="{FF2B5EF4-FFF2-40B4-BE49-F238E27FC236}">
                <a16:creationId xmlns:a16="http://schemas.microsoft.com/office/drawing/2014/main" id="{6182A041-E7FD-D81D-AA47-B4B6BF6C2A45}"/>
              </a:ext>
            </a:extLst>
          </p:cNvPr>
          <p:cNvSpPr>
            <a:spLocks noChangeArrowheads="1"/>
          </p:cNvSpPr>
          <p:nvPr>
            <p:custDataLst>
              <p:tags r:id="rId214"/>
            </p:custDataLst>
          </p:nvPr>
        </p:nvSpPr>
        <p:spPr bwMode="auto">
          <a:xfrm>
            <a:off x="9280702" y="6082067"/>
            <a:ext cx="43469" cy="39847"/>
          </a:xfrm>
          <a:custGeom>
            <a:avLst/>
            <a:gdLst>
              <a:gd name="T0" fmla="*/ 74 w 107"/>
              <a:gd name="T1" fmla="*/ 0 h 95"/>
              <a:gd name="T2" fmla="*/ 106 w 107"/>
              <a:gd name="T3" fmla="*/ 7 h 95"/>
              <a:gd name="T4" fmla="*/ 90 w 107"/>
              <a:gd name="T5" fmla="*/ 54 h 95"/>
              <a:gd name="T6" fmla="*/ 49 w 107"/>
              <a:gd name="T7" fmla="*/ 86 h 95"/>
              <a:gd name="T8" fmla="*/ 17 w 107"/>
              <a:gd name="T9" fmla="*/ 94 h 95"/>
              <a:gd name="T10" fmla="*/ 0 w 107"/>
              <a:gd name="T11" fmla="*/ 54 h 95"/>
              <a:gd name="T12" fmla="*/ 33 w 107"/>
              <a:gd name="T13" fmla="*/ 47 h 95"/>
              <a:gd name="T14" fmla="*/ 66 w 107"/>
              <a:gd name="T15" fmla="*/ 15 h 95"/>
              <a:gd name="T16" fmla="*/ 74 w 107"/>
              <a:gd name="T17" fmla="*/ 0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7" h="95">
                <a:moveTo>
                  <a:pt x="74" y="0"/>
                </a:moveTo>
                <a:lnTo>
                  <a:pt x="106" y="7"/>
                </a:lnTo>
                <a:lnTo>
                  <a:pt x="90" y="54"/>
                </a:lnTo>
                <a:lnTo>
                  <a:pt x="49" y="86"/>
                </a:lnTo>
                <a:lnTo>
                  <a:pt x="17" y="94"/>
                </a:lnTo>
                <a:lnTo>
                  <a:pt x="0" y="54"/>
                </a:lnTo>
                <a:lnTo>
                  <a:pt x="33" y="47"/>
                </a:lnTo>
                <a:lnTo>
                  <a:pt x="66" y="15"/>
                </a:lnTo>
                <a:lnTo>
                  <a:pt x="74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24" name="Freeform 216">
            <a:extLst>
              <a:ext uri="{FF2B5EF4-FFF2-40B4-BE49-F238E27FC236}">
                <a16:creationId xmlns:a16="http://schemas.microsoft.com/office/drawing/2014/main" id="{D9AE772E-BB88-1B7F-8C4B-32725CF02592}"/>
              </a:ext>
            </a:extLst>
          </p:cNvPr>
          <p:cNvSpPr>
            <a:spLocks noChangeArrowheads="1"/>
          </p:cNvSpPr>
          <p:nvPr>
            <p:custDataLst>
              <p:tags r:id="rId215"/>
            </p:custDataLst>
          </p:nvPr>
        </p:nvSpPr>
        <p:spPr bwMode="auto">
          <a:xfrm>
            <a:off x="9431032" y="5993317"/>
            <a:ext cx="27169" cy="48903"/>
          </a:xfrm>
          <a:custGeom>
            <a:avLst/>
            <a:gdLst>
              <a:gd name="T0" fmla="*/ 0 w 67"/>
              <a:gd name="T1" fmla="*/ 63 h 119"/>
              <a:gd name="T2" fmla="*/ 9 w 67"/>
              <a:gd name="T3" fmla="*/ 23 h 119"/>
              <a:gd name="T4" fmla="*/ 58 w 67"/>
              <a:gd name="T5" fmla="*/ 0 h 119"/>
              <a:gd name="T6" fmla="*/ 66 w 67"/>
              <a:gd name="T7" fmla="*/ 39 h 119"/>
              <a:gd name="T8" fmla="*/ 66 w 67"/>
              <a:gd name="T9" fmla="*/ 86 h 119"/>
              <a:gd name="T10" fmla="*/ 41 w 67"/>
              <a:gd name="T11" fmla="*/ 118 h 119"/>
              <a:gd name="T12" fmla="*/ 0 w 67"/>
              <a:gd name="T13" fmla="*/ 102 h 119"/>
              <a:gd name="T14" fmla="*/ 0 w 67"/>
              <a:gd name="T15" fmla="*/ 63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7" h="119">
                <a:moveTo>
                  <a:pt x="0" y="63"/>
                </a:moveTo>
                <a:lnTo>
                  <a:pt x="9" y="23"/>
                </a:lnTo>
                <a:lnTo>
                  <a:pt x="58" y="0"/>
                </a:lnTo>
                <a:lnTo>
                  <a:pt x="66" y="39"/>
                </a:lnTo>
                <a:lnTo>
                  <a:pt x="66" y="86"/>
                </a:lnTo>
                <a:lnTo>
                  <a:pt x="41" y="118"/>
                </a:lnTo>
                <a:lnTo>
                  <a:pt x="0" y="102"/>
                </a:lnTo>
                <a:lnTo>
                  <a:pt x="0" y="63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25" name="Freeform 217">
            <a:extLst>
              <a:ext uri="{FF2B5EF4-FFF2-40B4-BE49-F238E27FC236}">
                <a16:creationId xmlns:a16="http://schemas.microsoft.com/office/drawing/2014/main" id="{A1447A89-CBC1-59A4-AD2C-CC8BFD3A7ED2}"/>
              </a:ext>
            </a:extLst>
          </p:cNvPr>
          <p:cNvSpPr>
            <a:spLocks noChangeArrowheads="1"/>
          </p:cNvSpPr>
          <p:nvPr>
            <p:custDataLst>
              <p:tags r:id="rId216"/>
            </p:custDataLst>
          </p:nvPr>
        </p:nvSpPr>
        <p:spPr bwMode="auto">
          <a:xfrm>
            <a:off x="9383941" y="6007806"/>
            <a:ext cx="30791" cy="41659"/>
          </a:xfrm>
          <a:custGeom>
            <a:avLst/>
            <a:gdLst>
              <a:gd name="T0" fmla="*/ 17 w 75"/>
              <a:gd name="T1" fmla="*/ 63 h 103"/>
              <a:gd name="T2" fmla="*/ 25 w 75"/>
              <a:gd name="T3" fmla="*/ 24 h 103"/>
              <a:gd name="T4" fmla="*/ 57 w 75"/>
              <a:gd name="T5" fmla="*/ 0 h 103"/>
              <a:gd name="T6" fmla="*/ 74 w 75"/>
              <a:gd name="T7" fmla="*/ 39 h 103"/>
              <a:gd name="T8" fmla="*/ 33 w 75"/>
              <a:gd name="T9" fmla="*/ 79 h 103"/>
              <a:gd name="T10" fmla="*/ 0 w 75"/>
              <a:gd name="T11" fmla="*/ 102 h 103"/>
              <a:gd name="T12" fmla="*/ 8 w 75"/>
              <a:gd name="T13" fmla="*/ 63 h 103"/>
              <a:gd name="T14" fmla="*/ 17 w 75"/>
              <a:gd name="T15" fmla="*/ 63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" h="103">
                <a:moveTo>
                  <a:pt x="17" y="63"/>
                </a:moveTo>
                <a:lnTo>
                  <a:pt x="25" y="24"/>
                </a:lnTo>
                <a:lnTo>
                  <a:pt x="57" y="0"/>
                </a:lnTo>
                <a:lnTo>
                  <a:pt x="74" y="39"/>
                </a:lnTo>
                <a:lnTo>
                  <a:pt x="33" y="79"/>
                </a:lnTo>
                <a:lnTo>
                  <a:pt x="0" y="102"/>
                </a:lnTo>
                <a:lnTo>
                  <a:pt x="8" y="63"/>
                </a:lnTo>
                <a:lnTo>
                  <a:pt x="17" y="63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26" name="Freeform 218">
            <a:extLst>
              <a:ext uri="{FF2B5EF4-FFF2-40B4-BE49-F238E27FC236}">
                <a16:creationId xmlns:a16="http://schemas.microsoft.com/office/drawing/2014/main" id="{D0C2E849-20A8-5D16-285E-C943C10FFD26}"/>
              </a:ext>
            </a:extLst>
          </p:cNvPr>
          <p:cNvSpPr>
            <a:spLocks noChangeArrowheads="1"/>
          </p:cNvSpPr>
          <p:nvPr>
            <p:custDataLst>
              <p:tags r:id="rId217"/>
            </p:custDataLst>
          </p:nvPr>
        </p:nvSpPr>
        <p:spPr bwMode="auto">
          <a:xfrm>
            <a:off x="9210064" y="6295791"/>
            <a:ext cx="425637" cy="112295"/>
          </a:xfrm>
          <a:custGeom>
            <a:avLst/>
            <a:gdLst>
              <a:gd name="T0" fmla="*/ 65 w 1037"/>
              <a:gd name="T1" fmla="*/ 117 h 275"/>
              <a:gd name="T2" fmla="*/ 57 w 1037"/>
              <a:gd name="T3" fmla="*/ 70 h 275"/>
              <a:gd name="T4" fmla="*/ 65 w 1037"/>
              <a:gd name="T5" fmla="*/ 31 h 275"/>
              <a:gd name="T6" fmla="*/ 82 w 1037"/>
              <a:gd name="T7" fmla="*/ 78 h 275"/>
              <a:gd name="T8" fmla="*/ 114 w 1037"/>
              <a:gd name="T9" fmla="*/ 94 h 275"/>
              <a:gd name="T10" fmla="*/ 163 w 1037"/>
              <a:gd name="T11" fmla="*/ 86 h 275"/>
              <a:gd name="T12" fmla="*/ 188 w 1037"/>
              <a:gd name="T13" fmla="*/ 54 h 275"/>
              <a:gd name="T14" fmla="*/ 229 w 1037"/>
              <a:gd name="T15" fmla="*/ 47 h 275"/>
              <a:gd name="T16" fmla="*/ 220 w 1037"/>
              <a:gd name="T17" fmla="*/ 86 h 275"/>
              <a:gd name="T18" fmla="*/ 253 w 1037"/>
              <a:gd name="T19" fmla="*/ 86 h 275"/>
              <a:gd name="T20" fmla="*/ 277 w 1037"/>
              <a:gd name="T21" fmla="*/ 125 h 275"/>
              <a:gd name="T22" fmla="*/ 310 w 1037"/>
              <a:gd name="T23" fmla="*/ 125 h 275"/>
              <a:gd name="T24" fmla="*/ 408 w 1037"/>
              <a:gd name="T25" fmla="*/ 94 h 275"/>
              <a:gd name="T26" fmla="*/ 449 w 1037"/>
              <a:gd name="T27" fmla="*/ 70 h 275"/>
              <a:gd name="T28" fmla="*/ 522 w 1037"/>
              <a:gd name="T29" fmla="*/ 54 h 275"/>
              <a:gd name="T30" fmla="*/ 563 w 1037"/>
              <a:gd name="T31" fmla="*/ 47 h 275"/>
              <a:gd name="T32" fmla="*/ 604 w 1037"/>
              <a:gd name="T33" fmla="*/ 86 h 275"/>
              <a:gd name="T34" fmla="*/ 653 w 1037"/>
              <a:gd name="T35" fmla="*/ 78 h 275"/>
              <a:gd name="T36" fmla="*/ 726 w 1037"/>
              <a:gd name="T37" fmla="*/ 70 h 275"/>
              <a:gd name="T38" fmla="*/ 759 w 1037"/>
              <a:gd name="T39" fmla="*/ 47 h 275"/>
              <a:gd name="T40" fmla="*/ 816 w 1037"/>
              <a:gd name="T41" fmla="*/ 31 h 275"/>
              <a:gd name="T42" fmla="*/ 824 w 1037"/>
              <a:gd name="T43" fmla="*/ 86 h 275"/>
              <a:gd name="T44" fmla="*/ 857 w 1037"/>
              <a:gd name="T45" fmla="*/ 109 h 275"/>
              <a:gd name="T46" fmla="*/ 889 w 1037"/>
              <a:gd name="T47" fmla="*/ 86 h 275"/>
              <a:gd name="T48" fmla="*/ 922 w 1037"/>
              <a:gd name="T49" fmla="*/ 62 h 275"/>
              <a:gd name="T50" fmla="*/ 963 w 1037"/>
              <a:gd name="T51" fmla="*/ 54 h 275"/>
              <a:gd name="T52" fmla="*/ 995 w 1037"/>
              <a:gd name="T53" fmla="*/ 23 h 275"/>
              <a:gd name="T54" fmla="*/ 1028 w 1037"/>
              <a:gd name="T55" fmla="*/ 0 h 275"/>
              <a:gd name="T56" fmla="*/ 1036 w 1037"/>
              <a:gd name="T57" fmla="*/ 55 h 275"/>
              <a:gd name="T58" fmla="*/ 1028 w 1037"/>
              <a:gd name="T59" fmla="*/ 94 h 275"/>
              <a:gd name="T60" fmla="*/ 1020 w 1037"/>
              <a:gd name="T61" fmla="*/ 125 h 275"/>
              <a:gd name="T62" fmla="*/ 987 w 1037"/>
              <a:gd name="T63" fmla="*/ 141 h 275"/>
              <a:gd name="T64" fmla="*/ 946 w 1037"/>
              <a:gd name="T65" fmla="*/ 133 h 275"/>
              <a:gd name="T66" fmla="*/ 906 w 1037"/>
              <a:gd name="T67" fmla="*/ 149 h 275"/>
              <a:gd name="T68" fmla="*/ 873 w 1037"/>
              <a:gd name="T69" fmla="*/ 172 h 275"/>
              <a:gd name="T70" fmla="*/ 840 w 1037"/>
              <a:gd name="T71" fmla="*/ 172 h 275"/>
              <a:gd name="T72" fmla="*/ 726 w 1037"/>
              <a:gd name="T73" fmla="*/ 196 h 275"/>
              <a:gd name="T74" fmla="*/ 693 w 1037"/>
              <a:gd name="T75" fmla="*/ 211 h 275"/>
              <a:gd name="T76" fmla="*/ 661 w 1037"/>
              <a:gd name="T77" fmla="*/ 227 h 275"/>
              <a:gd name="T78" fmla="*/ 620 w 1037"/>
              <a:gd name="T79" fmla="*/ 251 h 275"/>
              <a:gd name="T80" fmla="*/ 563 w 1037"/>
              <a:gd name="T81" fmla="*/ 259 h 275"/>
              <a:gd name="T82" fmla="*/ 522 w 1037"/>
              <a:gd name="T83" fmla="*/ 266 h 275"/>
              <a:gd name="T84" fmla="*/ 490 w 1037"/>
              <a:gd name="T85" fmla="*/ 274 h 275"/>
              <a:gd name="T86" fmla="*/ 490 w 1037"/>
              <a:gd name="T87" fmla="*/ 219 h 275"/>
              <a:gd name="T88" fmla="*/ 441 w 1037"/>
              <a:gd name="T89" fmla="*/ 211 h 275"/>
              <a:gd name="T90" fmla="*/ 473 w 1037"/>
              <a:gd name="T91" fmla="*/ 204 h 275"/>
              <a:gd name="T92" fmla="*/ 424 w 1037"/>
              <a:gd name="T93" fmla="*/ 211 h 275"/>
              <a:gd name="T94" fmla="*/ 384 w 1037"/>
              <a:gd name="T95" fmla="*/ 219 h 275"/>
              <a:gd name="T96" fmla="*/ 318 w 1037"/>
              <a:gd name="T97" fmla="*/ 196 h 275"/>
              <a:gd name="T98" fmla="*/ 286 w 1037"/>
              <a:gd name="T99" fmla="*/ 204 h 275"/>
              <a:gd name="T100" fmla="*/ 253 w 1037"/>
              <a:gd name="T101" fmla="*/ 204 h 275"/>
              <a:gd name="T102" fmla="*/ 220 w 1037"/>
              <a:gd name="T103" fmla="*/ 211 h 275"/>
              <a:gd name="T104" fmla="*/ 171 w 1037"/>
              <a:gd name="T105" fmla="*/ 219 h 275"/>
              <a:gd name="T106" fmla="*/ 123 w 1037"/>
              <a:gd name="T107" fmla="*/ 204 h 275"/>
              <a:gd name="T108" fmla="*/ 90 w 1037"/>
              <a:gd name="T109" fmla="*/ 227 h 275"/>
              <a:gd name="T110" fmla="*/ 41 w 1037"/>
              <a:gd name="T111" fmla="*/ 219 h 275"/>
              <a:gd name="T112" fmla="*/ 17 w 1037"/>
              <a:gd name="T113" fmla="*/ 164 h 275"/>
              <a:gd name="T114" fmla="*/ 8 w 1037"/>
              <a:gd name="T115" fmla="*/ 125 h 275"/>
              <a:gd name="T116" fmla="*/ 0 w 1037"/>
              <a:gd name="T117" fmla="*/ 94 h 275"/>
              <a:gd name="T118" fmla="*/ 33 w 1037"/>
              <a:gd name="T119" fmla="*/ 117 h 275"/>
              <a:gd name="T120" fmla="*/ 65 w 1037"/>
              <a:gd name="T121" fmla="*/ 117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37" h="275">
                <a:moveTo>
                  <a:pt x="65" y="117"/>
                </a:moveTo>
                <a:lnTo>
                  <a:pt x="57" y="70"/>
                </a:lnTo>
                <a:lnTo>
                  <a:pt x="65" y="31"/>
                </a:lnTo>
                <a:lnTo>
                  <a:pt x="82" y="78"/>
                </a:lnTo>
                <a:lnTo>
                  <a:pt x="114" y="94"/>
                </a:lnTo>
                <a:lnTo>
                  <a:pt x="163" y="86"/>
                </a:lnTo>
                <a:lnTo>
                  <a:pt x="188" y="54"/>
                </a:lnTo>
                <a:lnTo>
                  <a:pt x="229" y="47"/>
                </a:lnTo>
                <a:lnTo>
                  <a:pt x="220" y="86"/>
                </a:lnTo>
                <a:lnTo>
                  <a:pt x="253" y="86"/>
                </a:lnTo>
                <a:lnTo>
                  <a:pt x="277" y="125"/>
                </a:lnTo>
                <a:lnTo>
                  <a:pt x="310" y="125"/>
                </a:lnTo>
                <a:cubicBezTo>
                  <a:pt x="326" y="117"/>
                  <a:pt x="408" y="94"/>
                  <a:pt x="408" y="94"/>
                </a:cubicBezTo>
                <a:lnTo>
                  <a:pt x="449" y="70"/>
                </a:lnTo>
                <a:lnTo>
                  <a:pt x="522" y="54"/>
                </a:lnTo>
                <a:lnTo>
                  <a:pt x="563" y="47"/>
                </a:lnTo>
                <a:lnTo>
                  <a:pt x="604" y="86"/>
                </a:lnTo>
                <a:lnTo>
                  <a:pt x="653" y="78"/>
                </a:lnTo>
                <a:lnTo>
                  <a:pt x="726" y="70"/>
                </a:lnTo>
                <a:lnTo>
                  <a:pt x="759" y="47"/>
                </a:lnTo>
                <a:lnTo>
                  <a:pt x="816" y="31"/>
                </a:lnTo>
                <a:lnTo>
                  <a:pt x="824" y="86"/>
                </a:lnTo>
                <a:lnTo>
                  <a:pt x="857" y="109"/>
                </a:lnTo>
                <a:lnTo>
                  <a:pt x="889" y="86"/>
                </a:lnTo>
                <a:lnTo>
                  <a:pt x="922" y="62"/>
                </a:lnTo>
                <a:lnTo>
                  <a:pt x="963" y="54"/>
                </a:lnTo>
                <a:lnTo>
                  <a:pt x="995" y="23"/>
                </a:lnTo>
                <a:lnTo>
                  <a:pt x="1028" y="0"/>
                </a:lnTo>
                <a:lnTo>
                  <a:pt x="1036" y="55"/>
                </a:lnTo>
                <a:lnTo>
                  <a:pt x="1028" y="94"/>
                </a:lnTo>
                <a:lnTo>
                  <a:pt x="1020" y="125"/>
                </a:lnTo>
                <a:lnTo>
                  <a:pt x="987" y="141"/>
                </a:lnTo>
                <a:lnTo>
                  <a:pt x="946" y="133"/>
                </a:lnTo>
                <a:lnTo>
                  <a:pt x="906" y="149"/>
                </a:lnTo>
                <a:lnTo>
                  <a:pt x="873" y="172"/>
                </a:lnTo>
                <a:lnTo>
                  <a:pt x="840" y="172"/>
                </a:lnTo>
                <a:cubicBezTo>
                  <a:pt x="791" y="180"/>
                  <a:pt x="726" y="196"/>
                  <a:pt x="726" y="196"/>
                </a:cubicBezTo>
                <a:lnTo>
                  <a:pt x="693" y="211"/>
                </a:lnTo>
                <a:lnTo>
                  <a:pt x="661" y="227"/>
                </a:lnTo>
                <a:lnTo>
                  <a:pt x="620" y="251"/>
                </a:lnTo>
                <a:lnTo>
                  <a:pt x="563" y="259"/>
                </a:lnTo>
                <a:lnTo>
                  <a:pt x="522" y="266"/>
                </a:lnTo>
                <a:lnTo>
                  <a:pt x="490" y="274"/>
                </a:lnTo>
                <a:lnTo>
                  <a:pt x="490" y="219"/>
                </a:lnTo>
                <a:lnTo>
                  <a:pt x="441" y="211"/>
                </a:lnTo>
                <a:lnTo>
                  <a:pt x="473" y="204"/>
                </a:lnTo>
                <a:lnTo>
                  <a:pt x="424" y="211"/>
                </a:lnTo>
                <a:lnTo>
                  <a:pt x="384" y="219"/>
                </a:lnTo>
                <a:lnTo>
                  <a:pt x="318" y="196"/>
                </a:lnTo>
                <a:lnTo>
                  <a:pt x="286" y="204"/>
                </a:lnTo>
                <a:lnTo>
                  <a:pt x="253" y="204"/>
                </a:lnTo>
                <a:lnTo>
                  <a:pt x="220" y="211"/>
                </a:lnTo>
                <a:lnTo>
                  <a:pt x="171" y="219"/>
                </a:lnTo>
                <a:lnTo>
                  <a:pt x="123" y="204"/>
                </a:lnTo>
                <a:lnTo>
                  <a:pt x="90" y="227"/>
                </a:lnTo>
                <a:lnTo>
                  <a:pt x="41" y="219"/>
                </a:lnTo>
                <a:lnTo>
                  <a:pt x="17" y="164"/>
                </a:lnTo>
                <a:lnTo>
                  <a:pt x="8" y="125"/>
                </a:lnTo>
                <a:lnTo>
                  <a:pt x="0" y="94"/>
                </a:lnTo>
                <a:lnTo>
                  <a:pt x="33" y="117"/>
                </a:lnTo>
                <a:lnTo>
                  <a:pt x="65" y="11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27" name="Freeform 219">
            <a:extLst>
              <a:ext uri="{FF2B5EF4-FFF2-40B4-BE49-F238E27FC236}">
                <a16:creationId xmlns:a16="http://schemas.microsoft.com/office/drawing/2014/main" id="{4F3E2BD0-827C-1734-F5CF-E018CB4C351E}"/>
              </a:ext>
            </a:extLst>
          </p:cNvPr>
          <p:cNvSpPr>
            <a:spLocks noChangeArrowheads="1"/>
          </p:cNvSpPr>
          <p:nvPr>
            <p:custDataLst>
              <p:tags r:id="rId218"/>
            </p:custDataLst>
          </p:nvPr>
        </p:nvSpPr>
        <p:spPr bwMode="auto">
          <a:xfrm>
            <a:off x="8710168" y="5995129"/>
            <a:ext cx="50714" cy="45280"/>
          </a:xfrm>
          <a:custGeom>
            <a:avLst/>
            <a:gdLst>
              <a:gd name="T0" fmla="*/ 8 w 123"/>
              <a:gd name="T1" fmla="*/ 0 h 111"/>
              <a:gd name="T2" fmla="*/ 41 w 123"/>
              <a:gd name="T3" fmla="*/ 15 h 111"/>
              <a:gd name="T4" fmla="*/ 73 w 123"/>
              <a:gd name="T5" fmla="*/ 31 h 111"/>
              <a:gd name="T6" fmla="*/ 122 w 123"/>
              <a:gd name="T7" fmla="*/ 55 h 111"/>
              <a:gd name="T8" fmla="*/ 106 w 123"/>
              <a:gd name="T9" fmla="*/ 94 h 111"/>
              <a:gd name="T10" fmla="*/ 73 w 123"/>
              <a:gd name="T11" fmla="*/ 110 h 111"/>
              <a:gd name="T12" fmla="*/ 33 w 123"/>
              <a:gd name="T13" fmla="*/ 78 h 111"/>
              <a:gd name="T14" fmla="*/ 0 w 123"/>
              <a:gd name="T15" fmla="*/ 55 h 111"/>
              <a:gd name="T16" fmla="*/ 0 w 123"/>
              <a:gd name="T17" fmla="*/ 15 h 111"/>
              <a:gd name="T18" fmla="*/ 8 w 123"/>
              <a:gd name="T19" fmla="*/ 0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3" h="111">
                <a:moveTo>
                  <a:pt x="8" y="0"/>
                </a:moveTo>
                <a:lnTo>
                  <a:pt x="41" y="15"/>
                </a:lnTo>
                <a:lnTo>
                  <a:pt x="73" y="31"/>
                </a:lnTo>
                <a:lnTo>
                  <a:pt x="122" y="55"/>
                </a:lnTo>
                <a:lnTo>
                  <a:pt x="106" y="94"/>
                </a:lnTo>
                <a:lnTo>
                  <a:pt x="73" y="110"/>
                </a:lnTo>
                <a:lnTo>
                  <a:pt x="33" y="78"/>
                </a:lnTo>
                <a:lnTo>
                  <a:pt x="0" y="55"/>
                </a:lnTo>
                <a:lnTo>
                  <a:pt x="0" y="15"/>
                </a:lnTo>
                <a:lnTo>
                  <a:pt x="8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28" name="Freeform 220">
            <a:extLst>
              <a:ext uri="{FF2B5EF4-FFF2-40B4-BE49-F238E27FC236}">
                <a16:creationId xmlns:a16="http://schemas.microsoft.com/office/drawing/2014/main" id="{32ACFE85-E12E-A240-A34F-EDEB7BC382DD}"/>
              </a:ext>
            </a:extLst>
          </p:cNvPr>
          <p:cNvSpPr>
            <a:spLocks noChangeArrowheads="1"/>
          </p:cNvSpPr>
          <p:nvPr>
            <p:custDataLst>
              <p:tags r:id="rId219"/>
            </p:custDataLst>
          </p:nvPr>
        </p:nvSpPr>
        <p:spPr bwMode="auto">
          <a:xfrm>
            <a:off x="8512746" y="5683599"/>
            <a:ext cx="81504" cy="77882"/>
          </a:xfrm>
          <a:custGeom>
            <a:avLst/>
            <a:gdLst>
              <a:gd name="T0" fmla="*/ 90 w 197"/>
              <a:gd name="T1" fmla="*/ 47 h 190"/>
              <a:gd name="T2" fmla="*/ 106 w 197"/>
              <a:gd name="T3" fmla="*/ 118 h 190"/>
              <a:gd name="T4" fmla="*/ 155 w 197"/>
              <a:gd name="T5" fmla="*/ 142 h 190"/>
              <a:gd name="T6" fmla="*/ 196 w 197"/>
              <a:gd name="T7" fmla="*/ 189 h 190"/>
              <a:gd name="T8" fmla="*/ 147 w 197"/>
              <a:gd name="T9" fmla="*/ 173 h 190"/>
              <a:gd name="T10" fmla="*/ 114 w 197"/>
              <a:gd name="T11" fmla="*/ 149 h 190"/>
              <a:gd name="T12" fmla="*/ 81 w 197"/>
              <a:gd name="T13" fmla="*/ 142 h 190"/>
              <a:gd name="T14" fmla="*/ 73 w 197"/>
              <a:gd name="T15" fmla="*/ 102 h 190"/>
              <a:gd name="T16" fmla="*/ 0 w 197"/>
              <a:gd name="T17" fmla="*/ 63 h 190"/>
              <a:gd name="T18" fmla="*/ 8 w 197"/>
              <a:gd name="T19" fmla="*/ 24 h 190"/>
              <a:gd name="T20" fmla="*/ 57 w 197"/>
              <a:gd name="T21" fmla="*/ 0 h 190"/>
              <a:gd name="T22" fmla="*/ 90 w 197"/>
              <a:gd name="T23" fmla="*/ 16 h 190"/>
              <a:gd name="T24" fmla="*/ 90 w 197"/>
              <a:gd name="T25" fmla="*/ 47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7" h="190">
                <a:moveTo>
                  <a:pt x="90" y="47"/>
                </a:moveTo>
                <a:lnTo>
                  <a:pt x="106" y="118"/>
                </a:lnTo>
                <a:lnTo>
                  <a:pt x="155" y="142"/>
                </a:lnTo>
                <a:lnTo>
                  <a:pt x="196" y="189"/>
                </a:lnTo>
                <a:lnTo>
                  <a:pt x="147" y="173"/>
                </a:lnTo>
                <a:lnTo>
                  <a:pt x="114" y="149"/>
                </a:lnTo>
                <a:lnTo>
                  <a:pt x="81" y="142"/>
                </a:lnTo>
                <a:lnTo>
                  <a:pt x="73" y="102"/>
                </a:lnTo>
                <a:lnTo>
                  <a:pt x="0" y="63"/>
                </a:lnTo>
                <a:lnTo>
                  <a:pt x="8" y="24"/>
                </a:lnTo>
                <a:lnTo>
                  <a:pt x="57" y="0"/>
                </a:lnTo>
                <a:lnTo>
                  <a:pt x="90" y="16"/>
                </a:lnTo>
                <a:lnTo>
                  <a:pt x="90" y="47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29" name="Freeform 221">
            <a:extLst>
              <a:ext uri="{FF2B5EF4-FFF2-40B4-BE49-F238E27FC236}">
                <a16:creationId xmlns:a16="http://schemas.microsoft.com/office/drawing/2014/main" id="{64ACE867-0667-5CDB-E049-1F677AAD00FB}"/>
              </a:ext>
            </a:extLst>
          </p:cNvPr>
          <p:cNvSpPr>
            <a:spLocks noChangeArrowheads="1"/>
          </p:cNvSpPr>
          <p:nvPr>
            <p:custDataLst>
              <p:tags r:id="rId220"/>
            </p:custDataLst>
          </p:nvPr>
        </p:nvSpPr>
        <p:spPr bwMode="auto">
          <a:xfrm>
            <a:off x="7777392" y="309718"/>
            <a:ext cx="1057751" cy="1883666"/>
          </a:xfrm>
          <a:custGeom>
            <a:avLst/>
            <a:gdLst>
              <a:gd name="T0" fmla="*/ 423 w 2576"/>
              <a:gd name="T1" fmla="*/ 4496 h 4584"/>
              <a:gd name="T2" fmla="*/ 528 w 2576"/>
              <a:gd name="T3" fmla="*/ 4464 h 4584"/>
              <a:gd name="T4" fmla="*/ 544 w 2576"/>
              <a:gd name="T5" fmla="*/ 4393 h 4584"/>
              <a:gd name="T6" fmla="*/ 439 w 2576"/>
              <a:gd name="T7" fmla="*/ 4543 h 4584"/>
              <a:gd name="T8" fmla="*/ 585 w 2576"/>
              <a:gd name="T9" fmla="*/ 4520 h 4584"/>
              <a:gd name="T10" fmla="*/ 658 w 2576"/>
              <a:gd name="T11" fmla="*/ 4480 h 4584"/>
              <a:gd name="T12" fmla="*/ 650 w 2576"/>
              <a:gd name="T13" fmla="*/ 4416 h 4584"/>
              <a:gd name="T14" fmla="*/ 821 w 2576"/>
              <a:gd name="T15" fmla="*/ 4416 h 4584"/>
              <a:gd name="T16" fmla="*/ 853 w 2576"/>
              <a:gd name="T17" fmla="*/ 4448 h 4584"/>
              <a:gd name="T18" fmla="*/ 894 w 2576"/>
              <a:gd name="T19" fmla="*/ 4377 h 4584"/>
              <a:gd name="T20" fmla="*/ 1080 w 2576"/>
              <a:gd name="T21" fmla="*/ 4512 h 4584"/>
              <a:gd name="T22" fmla="*/ 1194 w 2576"/>
              <a:gd name="T23" fmla="*/ 4512 h 4584"/>
              <a:gd name="T24" fmla="*/ 9 w 2576"/>
              <a:gd name="T25" fmla="*/ 658 h 4584"/>
              <a:gd name="T26" fmla="*/ 130 w 2576"/>
              <a:gd name="T27" fmla="*/ 539 h 4584"/>
              <a:gd name="T28" fmla="*/ 520 w 2576"/>
              <a:gd name="T29" fmla="*/ 690 h 4584"/>
              <a:gd name="T30" fmla="*/ 739 w 2576"/>
              <a:gd name="T31" fmla="*/ 618 h 4584"/>
              <a:gd name="T32" fmla="*/ 821 w 2576"/>
              <a:gd name="T33" fmla="*/ 190 h 4584"/>
              <a:gd name="T34" fmla="*/ 1194 w 2576"/>
              <a:gd name="T35" fmla="*/ 87 h 4584"/>
              <a:gd name="T36" fmla="*/ 1283 w 2576"/>
              <a:gd name="T37" fmla="*/ 341 h 4584"/>
              <a:gd name="T38" fmla="*/ 1275 w 2576"/>
              <a:gd name="T39" fmla="*/ 618 h 4584"/>
              <a:gd name="T40" fmla="*/ 1649 w 2576"/>
              <a:gd name="T41" fmla="*/ 920 h 4584"/>
              <a:gd name="T42" fmla="*/ 1754 w 2576"/>
              <a:gd name="T43" fmla="*/ 1459 h 4584"/>
              <a:gd name="T44" fmla="*/ 1892 w 2576"/>
              <a:gd name="T45" fmla="*/ 1800 h 4584"/>
              <a:gd name="T46" fmla="*/ 2014 w 2576"/>
              <a:gd name="T47" fmla="*/ 2085 h 4584"/>
              <a:gd name="T48" fmla="*/ 2193 w 2576"/>
              <a:gd name="T49" fmla="*/ 2315 h 4584"/>
              <a:gd name="T50" fmla="*/ 2396 w 2576"/>
              <a:gd name="T51" fmla="*/ 2640 h 4584"/>
              <a:gd name="T52" fmla="*/ 2461 w 2576"/>
              <a:gd name="T53" fmla="*/ 3227 h 4584"/>
              <a:gd name="T54" fmla="*/ 2160 w 2576"/>
              <a:gd name="T55" fmla="*/ 3909 h 4584"/>
              <a:gd name="T56" fmla="*/ 1966 w 2576"/>
              <a:gd name="T57" fmla="*/ 4028 h 4584"/>
              <a:gd name="T58" fmla="*/ 1819 w 2576"/>
              <a:gd name="T59" fmla="*/ 4115 h 4584"/>
              <a:gd name="T60" fmla="*/ 1706 w 2576"/>
              <a:gd name="T61" fmla="*/ 4179 h 4584"/>
              <a:gd name="T62" fmla="*/ 1551 w 2576"/>
              <a:gd name="T63" fmla="*/ 4313 h 4584"/>
              <a:gd name="T64" fmla="*/ 1405 w 2576"/>
              <a:gd name="T65" fmla="*/ 4369 h 4584"/>
              <a:gd name="T66" fmla="*/ 1259 w 2576"/>
              <a:gd name="T67" fmla="*/ 4448 h 4584"/>
              <a:gd name="T68" fmla="*/ 1194 w 2576"/>
              <a:gd name="T69" fmla="*/ 4496 h 4584"/>
              <a:gd name="T70" fmla="*/ 1162 w 2576"/>
              <a:gd name="T71" fmla="*/ 4440 h 4584"/>
              <a:gd name="T72" fmla="*/ 1072 w 2576"/>
              <a:gd name="T73" fmla="*/ 4448 h 4584"/>
              <a:gd name="T74" fmla="*/ 1024 w 2576"/>
              <a:gd name="T75" fmla="*/ 4432 h 4584"/>
              <a:gd name="T76" fmla="*/ 975 w 2576"/>
              <a:gd name="T77" fmla="*/ 4377 h 4584"/>
              <a:gd name="T78" fmla="*/ 959 w 2576"/>
              <a:gd name="T79" fmla="*/ 4298 h 4584"/>
              <a:gd name="T80" fmla="*/ 894 w 2576"/>
              <a:gd name="T81" fmla="*/ 4290 h 4584"/>
              <a:gd name="T82" fmla="*/ 796 w 2576"/>
              <a:gd name="T83" fmla="*/ 4282 h 4584"/>
              <a:gd name="T84" fmla="*/ 764 w 2576"/>
              <a:gd name="T85" fmla="*/ 4194 h 4584"/>
              <a:gd name="T86" fmla="*/ 707 w 2576"/>
              <a:gd name="T87" fmla="*/ 4131 h 4584"/>
              <a:gd name="T88" fmla="*/ 723 w 2576"/>
              <a:gd name="T89" fmla="*/ 3980 h 4584"/>
              <a:gd name="T90" fmla="*/ 723 w 2576"/>
              <a:gd name="T91" fmla="*/ 3846 h 4584"/>
              <a:gd name="T92" fmla="*/ 658 w 2576"/>
              <a:gd name="T93" fmla="*/ 3639 h 4584"/>
              <a:gd name="T94" fmla="*/ 585 w 2576"/>
              <a:gd name="T95" fmla="*/ 3409 h 4584"/>
              <a:gd name="T96" fmla="*/ 609 w 2576"/>
              <a:gd name="T97" fmla="*/ 3164 h 4584"/>
              <a:gd name="T98" fmla="*/ 593 w 2576"/>
              <a:gd name="T99" fmla="*/ 3116 h 4584"/>
              <a:gd name="T100" fmla="*/ 723 w 2576"/>
              <a:gd name="T101" fmla="*/ 3060 h 4584"/>
              <a:gd name="T102" fmla="*/ 772 w 2576"/>
              <a:gd name="T103" fmla="*/ 2894 h 4584"/>
              <a:gd name="T104" fmla="*/ 861 w 2576"/>
              <a:gd name="T105" fmla="*/ 2783 h 4584"/>
              <a:gd name="T106" fmla="*/ 1024 w 2576"/>
              <a:gd name="T107" fmla="*/ 2426 h 4584"/>
              <a:gd name="T108" fmla="*/ 1162 w 2576"/>
              <a:gd name="T109" fmla="*/ 2220 h 4584"/>
              <a:gd name="T110" fmla="*/ 999 w 2576"/>
              <a:gd name="T111" fmla="*/ 1966 h 4584"/>
              <a:gd name="T112" fmla="*/ 739 w 2576"/>
              <a:gd name="T113" fmla="*/ 1720 h 4584"/>
              <a:gd name="T114" fmla="*/ 650 w 2576"/>
              <a:gd name="T115" fmla="*/ 1324 h 4584"/>
              <a:gd name="T116" fmla="*/ 593 w 2576"/>
              <a:gd name="T117" fmla="*/ 1046 h 4584"/>
              <a:gd name="T118" fmla="*/ 285 w 2576"/>
              <a:gd name="T119" fmla="*/ 864 h 4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576" h="4584">
                <a:moveTo>
                  <a:pt x="480" y="4424"/>
                </a:moveTo>
                <a:cubicBezTo>
                  <a:pt x="480" y="4424"/>
                  <a:pt x="480" y="4440"/>
                  <a:pt x="471" y="4440"/>
                </a:cubicBezTo>
                <a:cubicBezTo>
                  <a:pt x="455" y="4448"/>
                  <a:pt x="463" y="4424"/>
                  <a:pt x="463" y="4416"/>
                </a:cubicBezTo>
                <a:cubicBezTo>
                  <a:pt x="463" y="4409"/>
                  <a:pt x="431" y="4424"/>
                  <a:pt x="431" y="4424"/>
                </a:cubicBezTo>
                <a:cubicBezTo>
                  <a:pt x="431" y="4424"/>
                  <a:pt x="431" y="4448"/>
                  <a:pt x="423" y="4456"/>
                </a:cubicBezTo>
                <a:cubicBezTo>
                  <a:pt x="415" y="4456"/>
                  <a:pt x="415" y="4456"/>
                  <a:pt x="406" y="4464"/>
                </a:cubicBezTo>
                <a:cubicBezTo>
                  <a:pt x="398" y="4472"/>
                  <a:pt x="398" y="4488"/>
                  <a:pt x="398" y="4488"/>
                </a:cubicBezTo>
                <a:cubicBezTo>
                  <a:pt x="406" y="4496"/>
                  <a:pt x="423" y="4496"/>
                  <a:pt x="423" y="4496"/>
                </a:cubicBezTo>
                <a:cubicBezTo>
                  <a:pt x="431" y="4496"/>
                  <a:pt x="431" y="4496"/>
                  <a:pt x="455" y="4512"/>
                </a:cubicBezTo>
                <a:cubicBezTo>
                  <a:pt x="488" y="4520"/>
                  <a:pt x="463" y="4512"/>
                  <a:pt x="488" y="4512"/>
                </a:cubicBezTo>
                <a:cubicBezTo>
                  <a:pt x="504" y="4512"/>
                  <a:pt x="496" y="4520"/>
                  <a:pt x="504" y="4520"/>
                </a:cubicBezTo>
                <a:cubicBezTo>
                  <a:pt x="512" y="4520"/>
                  <a:pt x="520" y="4535"/>
                  <a:pt x="528" y="4543"/>
                </a:cubicBezTo>
                <a:cubicBezTo>
                  <a:pt x="544" y="4551"/>
                  <a:pt x="553" y="4535"/>
                  <a:pt x="561" y="4535"/>
                </a:cubicBezTo>
                <a:cubicBezTo>
                  <a:pt x="561" y="4527"/>
                  <a:pt x="577" y="4504"/>
                  <a:pt x="577" y="4504"/>
                </a:cubicBezTo>
                <a:lnTo>
                  <a:pt x="528" y="4488"/>
                </a:lnTo>
                <a:cubicBezTo>
                  <a:pt x="520" y="4488"/>
                  <a:pt x="512" y="4464"/>
                  <a:pt x="528" y="4464"/>
                </a:cubicBezTo>
                <a:cubicBezTo>
                  <a:pt x="536" y="4464"/>
                  <a:pt x="536" y="4472"/>
                  <a:pt x="544" y="4480"/>
                </a:cubicBezTo>
                <a:cubicBezTo>
                  <a:pt x="544" y="4488"/>
                  <a:pt x="553" y="4488"/>
                  <a:pt x="561" y="4488"/>
                </a:cubicBezTo>
                <a:cubicBezTo>
                  <a:pt x="569" y="4488"/>
                  <a:pt x="577" y="4480"/>
                  <a:pt x="577" y="4472"/>
                </a:cubicBezTo>
                <a:cubicBezTo>
                  <a:pt x="577" y="4464"/>
                  <a:pt x="569" y="4472"/>
                  <a:pt x="553" y="4448"/>
                </a:cubicBezTo>
                <a:cubicBezTo>
                  <a:pt x="528" y="4424"/>
                  <a:pt x="553" y="4432"/>
                  <a:pt x="561" y="4432"/>
                </a:cubicBezTo>
                <a:cubicBezTo>
                  <a:pt x="561" y="4424"/>
                  <a:pt x="577" y="4409"/>
                  <a:pt x="577" y="4409"/>
                </a:cubicBezTo>
                <a:cubicBezTo>
                  <a:pt x="585" y="4401"/>
                  <a:pt x="561" y="4401"/>
                  <a:pt x="553" y="4393"/>
                </a:cubicBezTo>
                <a:lnTo>
                  <a:pt x="544" y="4393"/>
                </a:lnTo>
                <a:cubicBezTo>
                  <a:pt x="544" y="4401"/>
                  <a:pt x="520" y="4393"/>
                  <a:pt x="512" y="4385"/>
                </a:cubicBezTo>
                <a:cubicBezTo>
                  <a:pt x="512" y="4385"/>
                  <a:pt x="512" y="4369"/>
                  <a:pt x="504" y="4361"/>
                </a:cubicBezTo>
                <a:lnTo>
                  <a:pt x="471" y="4361"/>
                </a:lnTo>
                <a:cubicBezTo>
                  <a:pt x="455" y="4361"/>
                  <a:pt x="463" y="4385"/>
                  <a:pt x="463" y="4385"/>
                </a:cubicBezTo>
                <a:cubicBezTo>
                  <a:pt x="463" y="4385"/>
                  <a:pt x="471" y="4401"/>
                  <a:pt x="480" y="4409"/>
                </a:cubicBezTo>
                <a:lnTo>
                  <a:pt x="480" y="4424"/>
                </a:lnTo>
                <a:close/>
                <a:moveTo>
                  <a:pt x="415" y="4543"/>
                </a:moveTo>
                <a:cubicBezTo>
                  <a:pt x="423" y="4543"/>
                  <a:pt x="431" y="4535"/>
                  <a:pt x="439" y="4543"/>
                </a:cubicBezTo>
                <a:cubicBezTo>
                  <a:pt x="447" y="4551"/>
                  <a:pt x="439" y="4567"/>
                  <a:pt x="439" y="4567"/>
                </a:cubicBezTo>
                <a:cubicBezTo>
                  <a:pt x="431" y="4575"/>
                  <a:pt x="423" y="4583"/>
                  <a:pt x="415" y="4583"/>
                </a:cubicBezTo>
                <a:cubicBezTo>
                  <a:pt x="406" y="4583"/>
                  <a:pt x="398" y="4583"/>
                  <a:pt x="390" y="4575"/>
                </a:cubicBezTo>
                <a:lnTo>
                  <a:pt x="390" y="4543"/>
                </a:lnTo>
                <a:lnTo>
                  <a:pt x="415" y="4543"/>
                </a:lnTo>
                <a:close/>
                <a:moveTo>
                  <a:pt x="626" y="4504"/>
                </a:moveTo>
                <a:lnTo>
                  <a:pt x="609" y="4504"/>
                </a:lnTo>
                <a:lnTo>
                  <a:pt x="585" y="4520"/>
                </a:lnTo>
                <a:cubicBezTo>
                  <a:pt x="561" y="4527"/>
                  <a:pt x="577" y="4535"/>
                  <a:pt x="577" y="4543"/>
                </a:cubicBezTo>
                <a:cubicBezTo>
                  <a:pt x="577" y="4559"/>
                  <a:pt x="601" y="4543"/>
                  <a:pt x="618" y="4535"/>
                </a:cubicBezTo>
                <a:cubicBezTo>
                  <a:pt x="626" y="4535"/>
                  <a:pt x="618" y="4527"/>
                  <a:pt x="626" y="4527"/>
                </a:cubicBezTo>
                <a:lnTo>
                  <a:pt x="642" y="4520"/>
                </a:lnTo>
                <a:cubicBezTo>
                  <a:pt x="658" y="4512"/>
                  <a:pt x="650" y="4512"/>
                  <a:pt x="650" y="4504"/>
                </a:cubicBezTo>
                <a:cubicBezTo>
                  <a:pt x="650" y="4504"/>
                  <a:pt x="634" y="4496"/>
                  <a:pt x="626" y="4504"/>
                </a:cubicBezTo>
                <a:close/>
                <a:moveTo>
                  <a:pt x="650" y="4464"/>
                </a:moveTo>
                <a:cubicBezTo>
                  <a:pt x="650" y="4464"/>
                  <a:pt x="650" y="4480"/>
                  <a:pt x="658" y="4480"/>
                </a:cubicBezTo>
                <a:cubicBezTo>
                  <a:pt x="666" y="4480"/>
                  <a:pt x="666" y="4472"/>
                  <a:pt x="674" y="4464"/>
                </a:cubicBezTo>
                <a:cubicBezTo>
                  <a:pt x="674" y="4456"/>
                  <a:pt x="666" y="4456"/>
                  <a:pt x="666" y="4448"/>
                </a:cubicBezTo>
                <a:cubicBezTo>
                  <a:pt x="658" y="4448"/>
                  <a:pt x="650" y="4456"/>
                  <a:pt x="650" y="4464"/>
                </a:cubicBezTo>
                <a:close/>
                <a:moveTo>
                  <a:pt x="650" y="4416"/>
                </a:moveTo>
                <a:cubicBezTo>
                  <a:pt x="650" y="4416"/>
                  <a:pt x="642" y="4424"/>
                  <a:pt x="650" y="4440"/>
                </a:cubicBezTo>
                <a:cubicBezTo>
                  <a:pt x="650" y="4448"/>
                  <a:pt x="650" y="4440"/>
                  <a:pt x="674" y="4424"/>
                </a:cubicBezTo>
                <a:cubicBezTo>
                  <a:pt x="691" y="4409"/>
                  <a:pt x="666" y="4416"/>
                  <a:pt x="666" y="4416"/>
                </a:cubicBezTo>
                <a:cubicBezTo>
                  <a:pt x="666" y="4409"/>
                  <a:pt x="658" y="4416"/>
                  <a:pt x="650" y="4416"/>
                </a:cubicBezTo>
                <a:close/>
                <a:moveTo>
                  <a:pt x="715" y="4321"/>
                </a:moveTo>
                <a:cubicBezTo>
                  <a:pt x="707" y="4361"/>
                  <a:pt x="748" y="4337"/>
                  <a:pt x="748" y="4313"/>
                </a:cubicBezTo>
                <a:cubicBezTo>
                  <a:pt x="739" y="4297"/>
                  <a:pt x="748" y="4297"/>
                  <a:pt x="731" y="4282"/>
                </a:cubicBezTo>
                <a:cubicBezTo>
                  <a:pt x="723" y="4258"/>
                  <a:pt x="723" y="4282"/>
                  <a:pt x="715" y="4290"/>
                </a:cubicBezTo>
                <a:cubicBezTo>
                  <a:pt x="707" y="4305"/>
                  <a:pt x="723" y="4305"/>
                  <a:pt x="723" y="4313"/>
                </a:cubicBezTo>
                <a:cubicBezTo>
                  <a:pt x="723" y="4321"/>
                  <a:pt x="715" y="4313"/>
                  <a:pt x="715" y="4321"/>
                </a:cubicBezTo>
                <a:close/>
                <a:moveTo>
                  <a:pt x="788" y="4409"/>
                </a:moveTo>
                <a:cubicBezTo>
                  <a:pt x="788" y="4409"/>
                  <a:pt x="804" y="4416"/>
                  <a:pt x="821" y="4416"/>
                </a:cubicBezTo>
                <a:cubicBezTo>
                  <a:pt x="829" y="4416"/>
                  <a:pt x="821" y="4409"/>
                  <a:pt x="829" y="4401"/>
                </a:cubicBezTo>
                <a:cubicBezTo>
                  <a:pt x="829" y="4393"/>
                  <a:pt x="821" y="4401"/>
                  <a:pt x="812" y="4393"/>
                </a:cubicBezTo>
                <a:lnTo>
                  <a:pt x="796" y="4393"/>
                </a:lnTo>
                <a:cubicBezTo>
                  <a:pt x="780" y="4393"/>
                  <a:pt x="788" y="4409"/>
                  <a:pt x="788" y="4409"/>
                </a:cubicBezTo>
                <a:close/>
                <a:moveTo>
                  <a:pt x="853" y="4409"/>
                </a:moveTo>
                <a:lnTo>
                  <a:pt x="845" y="4416"/>
                </a:lnTo>
                <a:cubicBezTo>
                  <a:pt x="845" y="4416"/>
                  <a:pt x="837" y="4424"/>
                  <a:pt x="845" y="4432"/>
                </a:cubicBezTo>
                <a:cubicBezTo>
                  <a:pt x="845" y="4448"/>
                  <a:pt x="853" y="4448"/>
                  <a:pt x="853" y="4448"/>
                </a:cubicBezTo>
                <a:cubicBezTo>
                  <a:pt x="853" y="4448"/>
                  <a:pt x="861" y="4440"/>
                  <a:pt x="877" y="4440"/>
                </a:cubicBezTo>
                <a:cubicBezTo>
                  <a:pt x="886" y="4440"/>
                  <a:pt x="902" y="4424"/>
                  <a:pt x="902" y="4416"/>
                </a:cubicBezTo>
                <a:cubicBezTo>
                  <a:pt x="910" y="4416"/>
                  <a:pt x="910" y="4401"/>
                  <a:pt x="918" y="4401"/>
                </a:cubicBezTo>
                <a:cubicBezTo>
                  <a:pt x="926" y="4401"/>
                  <a:pt x="951" y="4409"/>
                  <a:pt x="959" y="4409"/>
                </a:cubicBezTo>
                <a:cubicBezTo>
                  <a:pt x="967" y="4409"/>
                  <a:pt x="951" y="4385"/>
                  <a:pt x="951" y="4385"/>
                </a:cubicBezTo>
                <a:cubicBezTo>
                  <a:pt x="951" y="4377"/>
                  <a:pt x="926" y="4385"/>
                  <a:pt x="926" y="4385"/>
                </a:cubicBezTo>
                <a:cubicBezTo>
                  <a:pt x="926" y="4385"/>
                  <a:pt x="910" y="4385"/>
                  <a:pt x="902" y="4377"/>
                </a:cubicBezTo>
                <a:lnTo>
                  <a:pt x="894" y="4377"/>
                </a:lnTo>
                <a:cubicBezTo>
                  <a:pt x="886" y="4385"/>
                  <a:pt x="886" y="4393"/>
                  <a:pt x="877" y="4401"/>
                </a:cubicBezTo>
                <a:cubicBezTo>
                  <a:pt x="869" y="4409"/>
                  <a:pt x="869" y="4401"/>
                  <a:pt x="869" y="4393"/>
                </a:cubicBezTo>
                <a:cubicBezTo>
                  <a:pt x="869" y="4393"/>
                  <a:pt x="853" y="4385"/>
                  <a:pt x="845" y="4393"/>
                </a:cubicBezTo>
                <a:cubicBezTo>
                  <a:pt x="845" y="4393"/>
                  <a:pt x="853" y="4401"/>
                  <a:pt x="853" y="4409"/>
                </a:cubicBezTo>
                <a:close/>
                <a:moveTo>
                  <a:pt x="1048" y="4504"/>
                </a:moveTo>
                <a:lnTo>
                  <a:pt x="1048" y="4520"/>
                </a:lnTo>
                <a:cubicBezTo>
                  <a:pt x="1048" y="4527"/>
                  <a:pt x="1056" y="4527"/>
                  <a:pt x="1064" y="4520"/>
                </a:cubicBezTo>
                <a:cubicBezTo>
                  <a:pt x="1064" y="4520"/>
                  <a:pt x="1072" y="4520"/>
                  <a:pt x="1080" y="4512"/>
                </a:cubicBezTo>
                <a:cubicBezTo>
                  <a:pt x="1089" y="4504"/>
                  <a:pt x="1080" y="4496"/>
                  <a:pt x="1072" y="4496"/>
                </a:cubicBezTo>
                <a:cubicBezTo>
                  <a:pt x="1072" y="4488"/>
                  <a:pt x="1064" y="4496"/>
                  <a:pt x="1064" y="4496"/>
                </a:cubicBezTo>
                <a:cubicBezTo>
                  <a:pt x="1056" y="4496"/>
                  <a:pt x="1048" y="4504"/>
                  <a:pt x="1048" y="4504"/>
                </a:cubicBezTo>
                <a:close/>
                <a:moveTo>
                  <a:pt x="1154" y="4504"/>
                </a:moveTo>
                <a:lnTo>
                  <a:pt x="1154" y="4520"/>
                </a:lnTo>
                <a:cubicBezTo>
                  <a:pt x="1154" y="4520"/>
                  <a:pt x="1162" y="4527"/>
                  <a:pt x="1170" y="4527"/>
                </a:cubicBezTo>
                <a:cubicBezTo>
                  <a:pt x="1170" y="4527"/>
                  <a:pt x="1186" y="4520"/>
                  <a:pt x="1194" y="4512"/>
                </a:cubicBezTo>
                <a:cubicBezTo>
                  <a:pt x="1210" y="4504"/>
                  <a:pt x="1194" y="4512"/>
                  <a:pt x="1194" y="4512"/>
                </a:cubicBezTo>
                <a:lnTo>
                  <a:pt x="1178" y="4496"/>
                </a:lnTo>
                <a:cubicBezTo>
                  <a:pt x="1178" y="4496"/>
                  <a:pt x="1162" y="4504"/>
                  <a:pt x="1154" y="4504"/>
                </a:cubicBezTo>
                <a:close/>
                <a:moveTo>
                  <a:pt x="163" y="793"/>
                </a:moveTo>
                <a:lnTo>
                  <a:pt x="138" y="753"/>
                </a:lnTo>
                <a:lnTo>
                  <a:pt x="106" y="737"/>
                </a:lnTo>
                <a:lnTo>
                  <a:pt x="65" y="721"/>
                </a:lnTo>
                <a:lnTo>
                  <a:pt x="65" y="690"/>
                </a:lnTo>
                <a:lnTo>
                  <a:pt x="9" y="658"/>
                </a:lnTo>
                <a:cubicBezTo>
                  <a:pt x="9" y="658"/>
                  <a:pt x="0" y="642"/>
                  <a:pt x="9" y="642"/>
                </a:cubicBezTo>
                <a:cubicBezTo>
                  <a:pt x="17" y="634"/>
                  <a:pt x="49" y="634"/>
                  <a:pt x="57" y="634"/>
                </a:cubicBezTo>
                <a:lnTo>
                  <a:pt x="57" y="626"/>
                </a:lnTo>
                <a:lnTo>
                  <a:pt x="65" y="626"/>
                </a:lnTo>
                <a:cubicBezTo>
                  <a:pt x="74" y="626"/>
                  <a:pt x="74" y="618"/>
                  <a:pt x="74" y="618"/>
                </a:cubicBezTo>
                <a:cubicBezTo>
                  <a:pt x="74" y="618"/>
                  <a:pt x="49" y="571"/>
                  <a:pt x="65" y="547"/>
                </a:cubicBezTo>
                <a:lnTo>
                  <a:pt x="65" y="539"/>
                </a:lnTo>
                <a:cubicBezTo>
                  <a:pt x="82" y="523"/>
                  <a:pt x="114" y="523"/>
                  <a:pt x="130" y="539"/>
                </a:cubicBezTo>
                <a:lnTo>
                  <a:pt x="163" y="547"/>
                </a:lnTo>
                <a:lnTo>
                  <a:pt x="220" y="610"/>
                </a:lnTo>
                <a:lnTo>
                  <a:pt x="268" y="666"/>
                </a:lnTo>
                <a:cubicBezTo>
                  <a:pt x="268" y="666"/>
                  <a:pt x="342" y="721"/>
                  <a:pt x="358" y="729"/>
                </a:cubicBezTo>
                <a:cubicBezTo>
                  <a:pt x="374" y="737"/>
                  <a:pt x="463" y="753"/>
                  <a:pt x="471" y="761"/>
                </a:cubicBezTo>
                <a:lnTo>
                  <a:pt x="496" y="729"/>
                </a:lnTo>
                <a:lnTo>
                  <a:pt x="528" y="705"/>
                </a:lnTo>
                <a:lnTo>
                  <a:pt x="520" y="690"/>
                </a:lnTo>
                <a:lnTo>
                  <a:pt x="561" y="666"/>
                </a:lnTo>
                <a:lnTo>
                  <a:pt x="593" y="690"/>
                </a:lnTo>
                <a:lnTo>
                  <a:pt x="674" y="705"/>
                </a:lnTo>
                <a:lnTo>
                  <a:pt x="707" y="729"/>
                </a:lnTo>
                <a:cubicBezTo>
                  <a:pt x="707" y="729"/>
                  <a:pt x="715" y="729"/>
                  <a:pt x="723" y="721"/>
                </a:cubicBezTo>
                <a:cubicBezTo>
                  <a:pt x="731" y="721"/>
                  <a:pt x="731" y="721"/>
                  <a:pt x="739" y="713"/>
                </a:cubicBezTo>
                <a:lnTo>
                  <a:pt x="739" y="650"/>
                </a:lnTo>
                <a:cubicBezTo>
                  <a:pt x="739" y="650"/>
                  <a:pt x="715" y="634"/>
                  <a:pt x="739" y="618"/>
                </a:cubicBezTo>
                <a:cubicBezTo>
                  <a:pt x="764" y="594"/>
                  <a:pt x="796" y="571"/>
                  <a:pt x="796" y="571"/>
                </a:cubicBezTo>
                <a:cubicBezTo>
                  <a:pt x="796" y="571"/>
                  <a:pt x="812" y="563"/>
                  <a:pt x="812" y="539"/>
                </a:cubicBezTo>
                <a:cubicBezTo>
                  <a:pt x="812" y="515"/>
                  <a:pt x="796" y="452"/>
                  <a:pt x="796" y="452"/>
                </a:cubicBezTo>
                <a:cubicBezTo>
                  <a:pt x="796" y="452"/>
                  <a:pt x="780" y="412"/>
                  <a:pt x="780" y="396"/>
                </a:cubicBezTo>
                <a:cubicBezTo>
                  <a:pt x="796" y="301"/>
                  <a:pt x="756" y="230"/>
                  <a:pt x="780" y="222"/>
                </a:cubicBezTo>
                <a:lnTo>
                  <a:pt x="796" y="214"/>
                </a:lnTo>
                <a:lnTo>
                  <a:pt x="821" y="198"/>
                </a:lnTo>
                <a:lnTo>
                  <a:pt x="821" y="190"/>
                </a:lnTo>
                <a:cubicBezTo>
                  <a:pt x="821" y="150"/>
                  <a:pt x="772" y="111"/>
                  <a:pt x="829" y="103"/>
                </a:cubicBezTo>
                <a:lnTo>
                  <a:pt x="853" y="87"/>
                </a:lnTo>
                <a:lnTo>
                  <a:pt x="926" y="87"/>
                </a:lnTo>
                <a:lnTo>
                  <a:pt x="942" y="39"/>
                </a:lnTo>
                <a:lnTo>
                  <a:pt x="975" y="8"/>
                </a:lnTo>
                <a:cubicBezTo>
                  <a:pt x="999" y="8"/>
                  <a:pt x="1032" y="0"/>
                  <a:pt x="1048" y="8"/>
                </a:cubicBezTo>
                <a:cubicBezTo>
                  <a:pt x="1064" y="32"/>
                  <a:pt x="1064" y="47"/>
                  <a:pt x="1097" y="55"/>
                </a:cubicBezTo>
                <a:lnTo>
                  <a:pt x="1194" y="87"/>
                </a:lnTo>
                <a:lnTo>
                  <a:pt x="1251" y="95"/>
                </a:lnTo>
                <a:lnTo>
                  <a:pt x="1267" y="111"/>
                </a:lnTo>
                <a:cubicBezTo>
                  <a:pt x="1267" y="127"/>
                  <a:pt x="1267" y="143"/>
                  <a:pt x="1275" y="150"/>
                </a:cubicBezTo>
                <a:cubicBezTo>
                  <a:pt x="1275" y="166"/>
                  <a:pt x="1283" y="190"/>
                  <a:pt x="1283" y="190"/>
                </a:cubicBezTo>
                <a:cubicBezTo>
                  <a:pt x="1283" y="190"/>
                  <a:pt x="1275" y="214"/>
                  <a:pt x="1275" y="230"/>
                </a:cubicBezTo>
                <a:cubicBezTo>
                  <a:pt x="1267" y="238"/>
                  <a:pt x="1267" y="261"/>
                  <a:pt x="1267" y="269"/>
                </a:cubicBezTo>
                <a:lnTo>
                  <a:pt x="1267" y="293"/>
                </a:lnTo>
                <a:cubicBezTo>
                  <a:pt x="1267" y="309"/>
                  <a:pt x="1275" y="333"/>
                  <a:pt x="1283" y="341"/>
                </a:cubicBezTo>
                <a:cubicBezTo>
                  <a:pt x="1283" y="349"/>
                  <a:pt x="1324" y="372"/>
                  <a:pt x="1324" y="372"/>
                </a:cubicBezTo>
                <a:cubicBezTo>
                  <a:pt x="1324" y="372"/>
                  <a:pt x="1324" y="380"/>
                  <a:pt x="1283" y="412"/>
                </a:cubicBezTo>
                <a:lnTo>
                  <a:pt x="1251" y="452"/>
                </a:lnTo>
                <a:lnTo>
                  <a:pt x="1308" y="468"/>
                </a:lnTo>
                <a:lnTo>
                  <a:pt x="1308" y="507"/>
                </a:lnTo>
                <a:lnTo>
                  <a:pt x="1308" y="539"/>
                </a:lnTo>
                <a:lnTo>
                  <a:pt x="1300" y="587"/>
                </a:lnTo>
                <a:lnTo>
                  <a:pt x="1275" y="618"/>
                </a:lnTo>
                <a:lnTo>
                  <a:pt x="1308" y="666"/>
                </a:lnTo>
                <a:lnTo>
                  <a:pt x="1348" y="729"/>
                </a:lnTo>
                <a:lnTo>
                  <a:pt x="1405" y="761"/>
                </a:lnTo>
                <a:cubicBezTo>
                  <a:pt x="1405" y="761"/>
                  <a:pt x="1413" y="753"/>
                  <a:pt x="1470" y="761"/>
                </a:cubicBezTo>
                <a:cubicBezTo>
                  <a:pt x="1527" y="777"/>
                  <a:pt x="1543" y="824"/>
                  <a:pt x="1543" y="824"/>
                </a:cubicBezTo>
                <a:lnTo>
                  <a:pt x="1576" y="864"/>
                </a:lnTo>
                <a:lnTo>
                  <a:pt x="1625" y="896"/>
                </a:lnTo>
                <a:lnTo>
                  <a:pt x="1649" y="920"/>
                </a:lnTo>
                <a:lnTo>
                  <a:pt x="1641" y="991"/>
                </a:lnTo>
                <a:cubicBezTo>
                  <a:pt x="1641" y="991"/>
                  <a:pt x="1616" y="1031"/>
                  <a:pt x="1625" y="1062"/>
                </a:cubicBezTo>
                <a:cubicBezTo>
                  <a:pt x="1625" y="1102"/>
                  <a:pt x="1600" y="1157"/>
                  <a:pt x="1600" y="1173"/>
                </a:cubicBezTo>
                <a:cubicBezTo>
                  <a:pt x="1600" y="1181"/>
                  <a:pt x="1584" y="1245"/>
                  <a:pt x="1584" y="1245"/>
                </a:cubicBezTo>
                <a:lnTo>
                  <a:pt x="1608" y="1300"/>
                </a:lnTo>
                <a:lnTo>
                  <a:pt x="1641" y="1332"/>
                </a:lnTo>
                <a:lnTo>
                  <a:pt x="1689" y="1387"/>
                </a:lnTo>
                <a:lnTo>
                  <a:pt x="1754" y="1459"/>
                </a:lnTo>
                <a:lnTo>
                  <a:pt x="1779" y="1514"/>
                </a:lnTo>
                <a:cubicBezTo>
                  <a:pt x="1779" y="1514"/>
                  <a:pt x="1844" y="1554"/>
                  <a:pt x="1844" y="1562"/>
                </a:cubicBezTo>
                <a:cubicBezTo>
                  <a:pt x="1844" y="1570"/>
                  <a:pt x="1868" y="1609"/>
                  <a:pt x="1868" y="1609"/>
                </a:cubicBezTo>
                <a:lnTo>
                  <a:pt x="1901" y="1665"/>
                </a:lnTo>
                <a:lnTo>
                  <a:pt x="1892" y="1705"/>
                </a:lnTo>
                <a:lnTo>
                  <a:pt x="1868" y="1744"/>
                </a:lnTo>
                <a:lnTo>
                  <a:pt x="1868" y="1768"/>
                </a:lnTo>
                <a:lnTo>
                  <a:pt x="1892" y="1800"/>
                </a:lnTo>
                <a:lnTo>
                  <a:pt x="1884" y="1831"/>
                </a:lnTo>
                <a:lnTo>
                  <a:pt x="1909" y="1879"/>
                </a:lnTo>
                <a:lnTo>
                  <a:pt x="1892" y="1911"/>
                </a:lnTo>
                <a:lnTo>
                  <a:pt x="1933" y="1927"/>
                </a:lnTo>
                <a:cubicBezTo>
                  <a:pt x="1933" y="1927"/>
                  <a:pt x="1941" y="1935"/>
                  <a:pt x="1933" y="1950"/>
                </a:cubicBezTo>
                <a:cubicBezTo>
                  <a:pt x="1925" y="1958"/>
                  <a:pt x="1917" y="2014"/>
                  <a:pt x="1917" y="2014"/>
                </a:cubicBezTo>
                <a:lnTo>
                  <a:pt x="1957" y="2077"/>
                </a:lnTo>
                <a:lnTo>
                  <a:pt x="2014" y="2085"/>
                </a:lnTo>
                <a:cubicBezTo>
                  <a:pt x="2014" y="2085"/>
                  <a:pt x="2047" y="2085"/>
                  <a:pt x="2047" y="2093"/>
                </a:cubicBezTo>
                <a:cubicBezTo>
                  <a:pt x="2055" y="2101"/>
                  <a:pt x="2063" y="2125"/>
                  <a:pt x="2063" y="2125"/>
                </a:cubicBezTo>
                <a:lnTo>
                  <a:pt x="2039" y="2172"/>
                </a:lnTo>
                <a:cubicBezTo>
                  <a:pt x="2039" y="2172"/>
                  <a:pt x="2047" y="2196"/>
                  <a:pt x="2071" y="2212"/>
                </a:cubicBezTo>
                <a:cubicBezTo>
                  <a:pt x="2087" y="2220"/>
                  <a:pt x="2104" y="2220"/>
                  <a:pt x="2104" y="2236"/>
                </a:cubicBezTo>
                <a:cubicBezTo>
                  <a:pt x="2112" y="2252"/>
                  <a:pt x="2112" y="2276"/>
                  <a:pt x="2120" y="2268"/>
                </a:cubicBezTo>
                <a:cubicBezTo>
                  <a:pt x="2136" y="2268"/>
                  <a:pt x="2169" y="2276"/>
                  <a:pt x="2169" y="2276"/>
                </a:cubicBezTo>
                <a:lnTo>
                  <a:pt x="2193" y="2315"/>
                </a:lnTo>
                <a:lnTo>
                  <a:pt x="2209" y="2347"/>
                </a:lnTo>
                <a:lnTo>
                  <a:pt x="2209" y="2379"/>
                </a:lnTo>
                <a:cubicBezTo>
                  <a:pt x="2209" y="2394"/>
                  <a:pt x="2201" y="2442"/>
                  <a:pt x="2201" y="2442"/>
                </a:cubicBezTo>
                <a:lnTo>
                  <a:pt x="2160" y="2505"/>
                </a:lnTo>
                <a:cubicBezTo>
                  <a:pt x="2160" y="2505"/>
                  <a:pt x="2193" y="2545"/>
                  <a:pt x="2217" y="2561"/>
                </a:cubicBezTo>
                <a:cubicBezTo>
                  <a:pt x="2242" y="2577"/>
                  <a:pt x="2274" y="2601"/>
                  <a:pt x="2282" y="2601"/>
                </a:cubicBezTo>
                <a:cubicBezTo>
                  <a:pt x="2290" y="2601"/>
                  <a:pt x="2331" y="2609"/>
                  <a:pt x="2347" y="2616"/>
                </a:cubicBezTo>
                <a:cubicBezTo>
                  <a:pt x="2355" y="2616"/>
                  <a:pt x="2388" y="2632"/>
                  <a:pt x="2396" y="2640"/>
                </a:cubicBezTo>
                <a:cubicBezTo>
                  <a:pt x="2404" y="2648"/>
                  <a:pt x="2461" y="2680"/>
                  <a:pt x="2461" y="2680"/>
                </a:cubicBezTo>
                <a:lnTo>
                  <a:pt x="2510" y="2704"/>
                </a:lnTo>
                <a:lnTo>
                  <a:pt x="2558" y="2743"/>
                </a:lnTo>
                <a:lnTo>
                  <a:pt x="2575" y="2839"/>
                </a:lnTo>
                <a:cubicBezTo>
                  <a:pt x="2575" y="2839"/>
                  <a:pt x="2558" y="2981"/>
                  <a:pt x="2550" y="2997"/>
                </a:cubicBezTo>
                <a:cubicBezTo>
                  <a:pt x="2550" y="3013"/>
                  <a:pt x="2526" y="3084"/>
                  <a:pt x="2518" y="3092"/>
                </a:cubicBezTo>
                <a:cubicBezTo>
                  <a:pt x="2502" y="3100"/>
                  <a:pt x="2485" y="3108"/>
                  <a:pt x="2485" y="3124"/>
                </a:cubicBezTo>
                <a:cubicBezTo>
                  <a:pt x="2485" y="3140"/>
                  <a:pt x="2461" y="3227"/>
                  <a:pt x="2461" y="3227"/>
                </a:cubicBezTo>
                <a:cubicBezTo>
                  <a:pt x="2461" y="3227"/>
                  <a:pt x="2437" y="3283"/>
                  <a:pt x="2437" y="3298"/>
                </a:cubicBezTo>
                <a:cubicBezTo>
                  <a:pt x="2437" y="3314"/>
                  <a:pt x="2412" y="3362"/>
                  <a:pt x="2412" y="3378"/>
                </a:cubicBezTo>
                <a:cubicBezTo>
                  <a:pt x="2404" y="3386"/>
                  <a:pt x="2388" y="3449"/>
                  <a:pt x="2388" y="3449"/>
                </a:cubicBezTo>
                <a:lnTo>
                  <a:pt x="2282" y="3655"/>
                </a:lnTo>
                <a:lnTo>
                  <a:pt x="2258" y="3735"/>
                </a:lnTo>
                <a:cubicBezTo>
                  <a:pt x="2258" y="3735"/>
                  <a:pt x="2234" y="3743"/>
                  <a:pt x="2225" y="3758"/>
                </a:cubicBezTo>
                <a:cubicBezTo>
                  <a:pt x="2217" y="3782"/>
                  <a:pt x="2209" y="3798"/>
                  <a:pt x="2201" y="3822"/>
                </a:cubicBezTo>
                <a:cubicBezTo>
                  <a:pt x="2201" y="3838"/>
                  <a:pt x="2160" y="3909"/>
                  <a:pt x="2160" y="3909"/>
                </a:cubicBezTo>
                <a:lnTo>
                  <a:pt x="2144" y="3949"/>
                </a:lnTo>
                <a:lnTo>
                  <a:pt x="2112" y="3988"/>
                </a:lnTo>
                <a:lnTo>
                  <a:pt x="2087" y="4004"/>
                </a:lnTo>
                <a:lnTo>
                  <a:pt x="2071" y="4004"/>
                </a:lnTo>
                <a:lnTo>
                  <a:pt x="2031" y="4004"/>
                </a:lnTo>
                <a:lnTo>
                  <a:pt x="2006" y="3988"/>
                </a:lnTo>
                <a:lnTo>
                  <a:pt x="1982" y="4004"/>
                </a:lnTo>
                <a:cubicBezTo>
                  <a:pt x="1982" y="4012"/>
                  <a:pt x="1966" y="4020"/>
                  <a:pt x="1966" y="4028"/>
                </a:cubicBezTo>
                <a:cubicBezTo>
                  <a:pt x="1966" y="4028"/>
                  <a:pt x="1957" y="4044"/>
                  <a:pt x="1949" y="4044"/>
                </a:cubicBezTo>
                <a:cubicBezTo>
                  <a:pt x="1941" y="4052"/>
                  <a:pt x="1933" y="4060"/>
                  <a:pt x="1925" y="4060"/>
                </a:cubicBezTo>
                <a:cubicBezTo>
                  <a:pt x="1925" y="4068"/>
                  <a:pt x="1909" y="4068"/>
                  <a:pt x="1909" y="4068"/>
                </a:cubicBezTo>
                <a:cubicBezTo>
                  <a:pt x="1909" y="4068"/>
                  <a:pt x="1909" y="4076"/>
                  <a:pt x="1901" y="4083"/>
                </a:cubicBezTo>
                <a:cubicBezTo>
                  <a:pt x="1901" y="4083"/>
                  <a:pt x="1876" y="4083"/>
                  <a:pt x="1868" y="4076"/>
                </a:cubicBezTo>
                <a:cubicBezTo>
                  <a:pt x="1860" y="4068"/>
                  <a:pt x="1844" y="4060"/>
                  <a:pt x="1852" y="4060"/>
                </a:cubicBezTo>
                <a:cubicBezTo>
                  <a:pt x="1852" y="4068"/>
                  <a:pt x="1844" y="4083"/>
                  <a:pt x="1844" y="4083"/>
                </a:cubicBezTo>
                <a:cubicBezTo>
                  <a:pt x="1844" y="4091"/>
                  <a:pt x="1827" y="4115"/>
                  <a:pt x="1819" y="4115"/>
                </a:cubicBezTo>
                <a:cubicBezTo>
                  <a:pt x="1811" y="4115"/>
                  <a:pt x="1795" y="4107"/>
                  <a:pt x="1787" y="4099"/>
                </a:cubicBezTo>
                <a:lnTo>
                  <a:pt x="1771" y="4099"/>
                </a:lnTo>
                <a:lnTo>
                  <a:pt x="1771" y="4139"/>
                </a:lnTo>
                <a:lnTo>
                  <a:pt x="1771" y="4155"/>
                </a:lnTo>
                <a:cubicBezTo>
                  <a:pt x="1763" y="4155"/>
                  <a:pt x="1746" y="4163"/>
                  <a:pt x="1746" y="4163"/>
                </a:cubicBezTo>
                <a:cubicBezTo>
                  <a:pt x="1746" y="4163"/>
                  <a:pt x="1754" y="4179"/>
                  <a:pt x="1746" y="4179"/>
                </a:cubicBezTo>
                <a:cubicBezTo>
                  <a:pt x="1738" y="4187"/>
                  <a:pt x="1730" y="4194"/>
                  <a:pt x="1722" y="4194"/>
                </a:cubicBezTo>
                <a:cubicBezTo>
                  <a:pt x="1722" y="4187"/>
                  <a:pt x="1706" y="4179"/>
                  <a:pt x="1706" y="4179"/>
                </a:cubicBezTo>
                <a:cubicBezTo>
                  <a:pt x="1698" y="4187"/>
                  <a:pt x="1689" y="4202"/>
                  <a:pt x="1689" y="4202"/>
                </a:cubicBezTo>
                <a:cubicBezTo>
                  <a:pt x="1689" y="4210"/>
                  <a:pt x="1681" y="4218"/>
                  <a:pt x="1681" y="4218"/>
                </a:cubicBezTo>
                <a:lnTo>
                  <a:pt x="1624" y="4282"/>
                </a:lnTo>
                <a:cubicBezTo>
                  <a:pt x="1616" y="4282"/>
                  <a:pt x="1600" y="4258"/>
                  <a:pt x="1600" y="4258"/>
                </a:cubicBezTo>
                <a:lnTo>
                  <a:pt x="1600" y="4282"/>
                </a:lnTo>
                <a:cubicBezTo>
                  <a:pt x="1592" y="4290"/>
                  <a:pt x="1576" y="4298"/>
                  <a:pt x="1576" y="4298"/>
                </a:cubicBezTo>
                <a:cubicBezTo>
                  <a:pt x="1576" y="4306"/>
                  <a:pt x="1568" y="4298"/>
                  <a:pt x="1560" y="4298"/>
                </a:cubicBezTo>
                <a:cubicBezTo>
                  <a:pt x="1560" y="4306"/>
                  <a:pt x="1551" y="4306"/>
                  <a:pt x="1551" y="4313"/>
                </a:cubicBezTo>
                <a:cubicBezTo>
                  <a:pt x="1551" y="4321"/>
                  <a:pt x="1543" y="4329"/>
                  <a:pt x="1543" y="4329"/>
                </a:cubicBezTo>
                <a:cubicBezTo>
                  <a:pt x="1543" y="4329"/>
                  <a:pt x="1527" y="4337"/>
                  <a:pt x="1527" y="4345"/>
                </a:cubicBezTo>
                <a:cubicBezTo>
                  <a:pt x="1519" y="4353"/>
                  <a:pt x="1503" y="4361"/>
                  <a:pt x="1503" y="4361"/>
                </a:cubicBezTo>
                <a:cubicBezTo>
                  <a:pt x="1503" y="4361"/>
                  <a:pt x="1495" y="4369"/>
                  <a:pt x="1486" y="4361"/>
                </a:cubicBezTo>
                <a:cubicBezTo>
                  <a:pt x="1478" y="4361"/>
                  <a:pt x="1462" y="4337"/>
                  <a:pt x="1462" y="4337"/>
                </a:cubicBezTo>
                <a:cubicBezTo>
                  <a:pt x="1462" y="4337"/>
                  <a:pt x="1446" y="4337"/>
                  <a:pt x="1446" y="4345"/>
                </a:cubicBezTo>
                <a:cubicBezTo>
                  <a:pt x="1438" y="4353"/>
                  <a:pt x="1438" y="4361"/>
                  <a:pt x="1430" y="4361"/>
                </a:cubicBezTo>
                <a:cubicBezTo>
                  <a:pt x="1421" y="4369"/>
                  <a:pt x="1413" y="4369"/>
                  <a:pt x="1405" y="4369"/>
                </a:cubicBezTo>
                <a:cubicBezTo>
                  <a:pt x="1397" y="4377"/>
                  <a:pt x="1381" y="4377"/>
                  <a:pt x="1381" y="4385"/>
                </a:cubicBezTo>
                <a:cubicBezTo>
                  <a:pt x="1373" y="4385"/>
                  <a:pt x="1365" y="4401"/>
                  <a:pt x="1365" y="4409"/>
                </a:cubicBezTo>
                <a:cubicBezTo>
                  <a:pt x="1365" y="4417"/>
                  <a:pt x="1381" y="4417"/>
                  <a:pt x="1365" y="4417"/>
                </a:cubicBezTo>
                <a:cubicBezTo>
                  <a:pt x="1348" y="4424"/>
                  <a:pt x="1324" y="4424"/>
                  <a:pt x="1324" y="4424"/>
                </a:cubicBezTo>
                <a:cubicBezTo>
                  <a:pt x="1324" y="4424"/>
                  <a:pt x="1308" y="4432"/>
                  <a:pt x="1308" y="4440"/>
                </a:cubicBezTo>
                <a:cubicBezTo>
                  <a:pt x="1300" y="4448"/>
                  <a:pt x="1308" y="4448"/>
                  <a:pt x="1292" y="4456"/>
                </a:cubicBezTo>
                <a:cubicBezTo>
                  <a:pt x="1283" y="4456"/>
                  <a:pt x="1275" y="4464"/>
                  <a:pt x="1275" y="4464"/>
                </a:cubicBezTo>
                <a:lnTo>
                  <a:pt x="1259" y="4448"/>
                </a:lnTo>
                <a:lnTo>
                  <a:pt x="1267" y="4432"/>
                </a:lnTo>
                <a:cubicBezTo>
                  <a:pt x="1267" y="4432"/>
                  <a:pt x="1259" y="4417"/>
                  <a:pt x="1259" y="4424"/>
                </a:cubicBezTo>
                <a:cubicBezTo>
                  <a:pt x="1251" y="4440"/>
                  <a:pt x="1259" y="4448"/>
                  <a:pt x="1259" y="4448"/>
                </a:cubicBezTo>
                <a:cubicBezTo>
                  <a:pt x="1259" y="4448"/>
                  <a:pt x="1251" y="4448"/>
                  <a:pt x="1251" y="4456"/>
                </a:cubicBezTo>
                <a:cubicBezTo>
                  <a:pt x="1243" y="4464"/>
                  <a:pt x="1251" y="4464"/>
                  <a:pt x="1243" y="4472"/>
                </a:cubicBezTo>
                <a:cubicBezTo>
                  <a:pt x="1243" y="4480"/>
                  <a:pt x="1235" y="4488"/>
                  <a:pt x="1227" y="4488"/>
                </a:cubicBezTo>
                <a:cubicBezTo>
                  <a:pt x="1227" y="4496"/>
                  <a:pt x="1218" y="4496"/>
                  <a:pt x="1210" y="4496"/>
                </a:cubicBezTo>
                <a:lnTo>
                  <a:pt x="1194" y="4496"/>
                </a:lnTo>
                <a:cubicBezTo>
                  <a:pt x="1186" y="4496"/>
                  <a:pt x="1178" y="4488"/>
                  <a:pt x="1186" y="4488"/>
                </a:cubicBezTo>
                <a:lnTo>
                  <a:pt x="1202" y="4480"/>
                </a:lnTo>
                <a:cubicBezTo>
                  <a:pt x="1202" y="4480"/>
                  <a:pt x="1210" y="4472"/>
                  <a:pt x="1202" y="4472"/>
                </a:cubicBezTo>
                <a:cubicBezTo>
                  <a:pt x="1194" y="4464"/>
                  <a:pt x="1186" y="4456"/>
                  <a:pt x="1186" y="4456"/>
                </a:cubicBezTo>
                <a:cubicBezTo>
                  <a:pt x="1186" y="4456"/>
                  <a:pt x="1194" y="4464"/>
                  <a:pt x="1170" y="4464"/>
                </a:cubicBezTo>
                <a:cubicBezTo>
                  <a:pt x="1154" y="4472"/>
                  <a:pt x="1145" y="4472"/>
                  <a:pt x="1145" y="4464"/>
                </a:cubicBezTo>
                <a:cubicBezTo>
                  <a:pt x="1145" y="4464"/>
                  <a:pt x="1129" y="4464"/>
                  <a:pt x="1137" y="4456"/>
                </a:cubicBezTo>
                <a:cubicBezTo>
                  <a:pt x="1154" y="4448"/>
                  <a:pt x="1154" y="4440"/>
                  <a:pt x="1162" y="4440"/>
                </a:cubicBezTo>
                <a:cubicBezTo>
                  <a:pt x="1170" y="4440"/>
                  <a:pt x="1170" y="4424"/>
                  <a:pt x="1170" y="4417"/>
                </a:cubicBezTo>
                <a:cubicBezTo>
                  <a:pt x="1170" y="4417"/>
                  <a:pt x="1186" y="4432"/>
                  <a:pt x="1162" y="4417"/>
                </a:cubicBezTo>
                <a:lnTo>
                  <a:pt x="1145" y="4393"/>
                </a:lnTo>
                <a:cubicBezTo>
                  <a:pt x="1145" y="4393"/>
                  <a:pt x="1137" y="4401"/>
                  <a:pt x="1137" y="4409"/>
                </a:cubicBezTo>
                <a:cubicBezTo>
                  <a:pt x="1145" y="4417"/>
                  <a:pt x="1162" y="4424"/>
                  <a:pt x="1137" y="4432"/>
                </a:cubicBezTo>
                <a:lnTo>
                  <a:pt x="1113" y="4432"/>
                </a:lnTo>
                <a:cubicBezTo>
                  <a:pt x="1105" y="4440"/>
                  <a:pt x="1080" y="4440"/>
                  <a:pt x="1080" y="4440"/>
                </a:cubicBezTo>
                <a:cubicBezTo>
                  <a:pt x="1080" y="4440"/>
                  <a:pt x="1064" y="4440"/>
                  <a:pt x="1072" y="4448"/>
                </a:cubicBezTo>
                <a:cubicBezTo>
                  <a:pt x="1072" y="4456"/>
                  <a:pt x="1089" y="4464"/>
                  <a:pt x="1089" y="4464"/>
                </a:cubicBezTo>
                <a:cubicBezTo>
                  <a:pt x="1089" y="4464"/>
                  <a:pt x="1089" y="4472"/>
                  <a:pt x="1072" y="4472"/>
                </a:cubicBezTo>
                <a:cubicBezTo>
                  <a:pt x="1064" y="4480"/>
                  <a:pt x="1048" y="4480"/>
                  <a:pt x="1048" y="4480"/>
                </a:cubicBezTo>
                <a:lnTo>
                  <a:pt x="1040" y="4488"/>
                </a:lnTo>
                <a:cubicBezTo>
                  <a:pt x="1040" y="4488"/>
                  <a:pt x="1032" y="4488"/>
                  <a:pt x="1032" y="4480"/>
                </a:cubicBezTo>
                <a:cubicBezTo>
                  <a:pt x="1032" y="4480"/>
                  <a:pt x="1040" y="4472"/>
                  <a:pt x="1040" y="4464"/>
                </a:cubicBezTo>
                <a:cubicBezTo>
                  <a:pt x="1040" y="4456"/>
                  <a:pt x="1048" y="4464"/>
                  <a:pt x="1040" y="4456"/>
                </a:cubicBezTo>
                <a:cubicBezTo>
                  <a:pt x="1032" y="4440"/>
                  <a:pt x="1024" y="4440"/>
                  <a:pt x="1024" y="4432"/>
                </a:cubicBezTo>
                <a:cubicBezTo>
                  <a:pt x="1032" y="4424"/>
                  <a:pt x="1048" y="4417"/>
                  <a:pt x="1048" y="4417"/>
                </a:cubicBezTo>
                <a:lnTo>
                  <a:pt x="1048" y="4401"/>
                </a:lnTo>
                <a:cubicBezTo>
                  <a:pt x="1048" y="4401"/>
                  <a:pt x="1040" y="4401"/>
                  <a:pt x="1048" y="4393"/>
                </a:cubicBezTo>
                <a:cubicBezTo>
                  <a:pt x="1056" y="4377"/>
                  <a:pt x="1064" y="4369"/>
                  <a:pt x="1064" y="4369"/>
                </a:cubicBezTo>
                <a:cubicBezTo>
                  <a:pt x="1064" y="4361"/>
                  <a:pt x="1056" y="4353"/>
                  <a:pt x="1048" y="4353"/>
                </a:cubicBezTo>
                <a:cubicBezTo>
                  <a:pt x="1048" y="4353"/>
                  <a:pt x="1040" y="4369"/>
                  <a:pt x="1040" y="4377"/>
                </a:cubicBezTo>
                <a:cubicBezTo>
                  <a:pt x="1040" y="4377"/>
                  <a:pt x="1048" y="4393"/>
                  <a:pt x="1024" y="4385"/>
                </a:cubicBezTo>
                <a:cubicBezTo>
                  <a:pt x="999" y="4385"/>
                  <a:pt x="983" y="4385"/>
                  <a:pt x="975" y="4377"/>
                </a:cubicBezTo>
                <a:cubicBezTo>
                  <a:pt x="975" y="4369"/>
                  <a:pt x="959" y="4361"/>
                  <a:pt x="983" y="4361"/>
                </a:cubicBezTo>
                <a:lnTo>
                  <a:pt x="1007" y="4353"/>
                </a:lnTo>
                <a:cubicBezTo>
                  <a:pt x="1015" y="4345"/>
                  <a:pt x="1015" y="4337"/>
                  <a:pt x="1015" y="4329"/>
                </a:cubicBezTo>
                <a:cubicBezTo>
                  <a:pt x="1007" y="4329"/>
                  <a:pt x="999" y="4313"/>
                  <a:pt x="999" y="4321"/>
                </a:cubicBezTo>
                <a:cubicBezTo>
                  <a:pt x="991" y="4337"/>
                  <a:pt x="991" y="4345"/>
                  <a:pt x="991" y="4345"/>
                </a:cubicBezTo>
                <a:lnTo>
                  <a:pt x="959" y="4345"/>
                </a:lnTo>
                <a:cubicBezTo>
                  <a:pt x="959" y="4345"/>
                  <a:pt x="950" y="4337"/>
                  <a:pt x="950" y="4329"/>
                </a:cubicBezTo>
                <a:lnTo>
                  <a:pt x="959" y="4298"/>
                </a:lnTo>
                <a:cubicBezTo>
                  <a:pt x="959" y="4298"/>
                  <a:pt x="975" y="4290"/>
                  <a:pt x="967" y="4290"/>
                </a:cubicBezTo>
                <a:cubicBezTo>
                  <a:pt x="967" y="4290"/>
                  <a:pt x="950" y="4282"/>
                  <a:pt x="950" y="4290"/>
                </a:cubicBezTo>
                <a:cubicBezTo>
                  <a:pt x="942" y="4290"/>
                  <a:pt x="950" y="4298"/>
                  <a:pt x="950" y="4306"/>
                </a:cubicBezTo>
                <a:cubicBezTo>
                  <a:pt x="950" y="4313"/>
                  <a:pt x="950" y="4321"/>
                  <a:pt x="942" y="4321"/>
                </a:cubicBezTo>
                <a:cubicBezTo>
                  <a:pt x="934" y="4329"/>
                  <a:pt x="902" y="4329"/>
                  <a:pt x="902" y="4329"/>
                </a:cubicBezTo>
                <a:cubicBezTo>
                  <a:pt x="902" y="4321"/>
                  <a:pt x="894" y="4321"/>
                  <a:pt x="902" y="4313"/>
                </a:cubicBezTo>
                <a:lnTo>
                  <a:pt x="902" y="4298"/>
                </a:lnTo>
                <a:cubicBezTo>
                  <a:pt x="902" y="4298"/>
                  <a:pt x="894" y="4282"/>
                  <a:pt x="894" y="4290"/>
                </a:cubicBezTo>
                <a:lnTo>
                  <a:pt x="877" y="4290"/>
                </a:lnTo>
                <a:lnTo>
                  <a:pt x="877" y="4274"/>
                </a:lnTo>
                <a:lnTo>
                  <a:pt x="861" y="4274"/>
                </a:lnTo>
                <a:lnTo>
                  <a:pt x="853" y="4274"/>
                </a:lnTo>
                <a:lnTo>
                  <a:pt x="845" y="4266"/>
                </a:lnTo>
                <a:cubicBezTo>
                  <a:pt x="837" y="4266"/>
                  <a:pt x="837" y="4266"/>
                  <a:pt x="837" y="4274"/>
                </a:cubicBezTo>
                <a:cubicBezTo>
                  <a:pt x="829" y="4274"/>
                  <a:pt x="804" y="4282"/>
                  <a:pt x="804" y="4282"/>
                </a:cubicBezTo>
                <a:cubicBezTo>
                  <a:pt x="804" y="4282"/>
                  <a:pt x="804" y="4266"/>
                  <a:pt x="796" y="4282"/>
                </a:cubicBezTo>
                <a:cubicBezTo>
                  <a:pt x="796" y="4290"/>
                  <a:pt x="756" y="4290"/>
                  <a:pt x="756" y="4290"/>
                </a:cubicBezTo>
                <a:cubicBezTo>
                  <a:pt x="756" y="4290"/>
                  <a:pt x="747" y="4274"/>
                  <a:pt x="747" y="4266"/>
                </a:cubicBezTo>
                <a:lnTo>
                  <a:pt x="756" y="4242"/>
                </a:lnTo>
                <a:lnTo>
                  <a:pt x="764" y="4234"/>
                </a:lnTo>
                <a:lnTo>
                  <a:pt x="756" y="4226"/>
                </a:lnTo>
                <a:cubicBezTo>
                  <a:pt x="756" y="4226"/>
                  <a:pt x="731" y="4226"/>
                  <a:pt x="739" y="4226"/>
                </a:cubicBezTo>
                <a:cubicBezTo>
                  <a:pt x="739" y="4218"/>
                  <a:pt x="756" y="4202"/>
                  <a:pt x="756" y="4202"/>
                </a:cubicBezTo>
                <a:lnTo>
                  <a:pt x="764" y="4194"/>
                </a:lnTo>
                <a:cubicBezTo>
                  <a:pt x="772" y="4187"/>
                  <a:pt x="788" y="4187"/>
                  <a:pt x="780" y="4179"/>
                </a:cubicBezTo>
                <a:cubicBezTo>
                  <a:pt x="772" y="4179"/>
                  <a:pt x="764" y="4171"/>
                  <a:pt x="764" y="4171"/>
                </a:cubicBezTo>
                <a:cubicBezTo>
                  <a:pt x="764" y="4171"/>
                  <a:pt x="756" y="4171"/>
                  <a:pt x="756" y="4163"/>
                </a:cubicBezTo>
                <a:cubicBezTo>
                  <a:pt x="756" y="4163"/>
                  <a:pt x="764" y="4147"/>
                  <a:pt x="764" y="4139"/>
                </a:cubicBezTo>
                <a:cubicBezTo>
                  <a:pt x="764" y="4131"/>
                  <a:pt x="756" y="4123"/>
                  <a:pt x="756" y="4123"/>
                </a:cubicBezTo>
                <a:cubicBezTo>
                  <a:pt x="747" y="4123"/>
                  <a:pt x="756" y="4131"/>
                  <a:pt x="739" y="4131"/>
                </a:cubicBezTo>
                <a:cubicBezTo>
                  <a:pt x="731" y="4139"/>
                  <a:pt x="707" y="4155"/>
                  <a:pt x="707" y="4155"/>
                </a:cubicBezTo>
                <a:lnTo>
                  <a:pt x="707" y="4131"/>
                </a:lnTo>
                <a:cubicBezTo>
                  <a:pt x="715" y="4123"/>
                  <a:pt x="739" y="4123"/>
                  <a:pt x="747" y="4115"/>
                </a:cubicBezTo>
                <a:cubicBezTo>
                  <a:pt x="747" y="4107"/>
                  <a:pt x="731" y="4083"/>
                  <a:pt x="731" y="4083"/>
                </a:cubicBezTo>
                <a:cubicBezTo>
                  <a:pt x="731" y="4083"/>
                  <a:pt x="747" y="4091"/>
                  <a:pt x="739" y="4076"/>
                </a:cubicBezTo>
                <a:lnTo>
                  <a:pt x="723" y="4068"/>
                </a:lnTo>
                <a:cubicBezTo>
                  <a:pt x="723" y="4060"/>
                  <a:pt x="723" y="4052"/>
                  <a:pt x="731" y="4044"/>
                </a:cubicBezTo>
                <a:cubicBezTo>
                  <a:pt x="739" y="4028"/>
                  <a:pt x="747" y="4028"/>
                  <a:pt x="747" y="4020"/>
                </a:cubicBezTo>
                <a:cubicBezTo>
                  <a:pt x="747" y="4020"/>
                  <a:pt x="723" y="4012"/>
                  <a:pt x="723" y="4004"/>
                </a:cubicBezTo>
                <a:cubicBezTo>
                  <a:pt x="723" y="3996"/>
                  <a:pt x="707" y="3996"/>
                  <a:pt x="723" y="3980"/>
                </a:cubicBezTo>
                <a:cubicBezTo>
                  <a:pt x="731" y="3972"/>
                  <a:pt x="739" y="3972"/>
                  <a:pt x="739" y="3972"/>
                </a:cubicBezTo>
                <a:lnTo>
                  <a:pt x="739" y="3941"/>
                </a:lnTo>
                <a:cubicBezTo>
                  <a:pt x="739" y="3933"/>
                  <a:pt x="747" y="3933"/>
                  <a:pt x="747" y="3925"/>
                </a:cubicBezTo>
                <a:cubicBezTo>
                  <a:pt x="739" y="3917"/>
                  <a:pt x="731" y="3917"/>
                  <a:pt x="723" y="3901"/>
                </a:cubicBezTo>
                <a:lnTo>
                  <a:pt x="723" y="3885"/>
                </a:lnTo>
                <a:cubicBezTo>
                  <a:pt x="731" y="3885"/>
                  <a:pt x="739" y="3877"/>
                  <a:pt x="731" y="3877"/>
                </a:cubicBezTo>
                <a:lnTo>
                  <a:pt x="731" y="3861"/>
                </a:lnTo>
                <a:lnTo>
                  <a:pt x="723" y="3846"/>
                </a:lnTo>
                <a:cubicBezTo>
                  <a:pt x="715" y="3838"/>
                  <a:pt x="715" y="3822"/>
                  <a:pt x="715" y="3814"/>
                </a:cubicBezTo>
                <a:cubicBezTo>
                  <a:pt x="715" y="3806"/>
                  <a:pt x="723" y="3774"/>
                  <a:pt x="723" y="3774"/>
                </a:cubicBezTo>
                <a:cubicBezTo>
                  <a:pt x="723" y="3774"/>
                  <a:pt x="723" y="3750"/>
                  <a:pt x="707" y="3743"/>
                </a:cubicBezTo>
                <a:cubicBezTo>
                  <a:pt x="699" y="3727"/>
                  <a:pt x="683" y="3719"/>
                  <a:pt x="683" y="3719"/>
                </a:cubicBezTo>
                <a:lnTo>
                  <a:pt x="683" y="3695"/>
                </a:lnTo>
                <a:cubicBezTo>
                  <a:pt x="683" y="3695"/>
                  <a:pt x="666" y="3687"/>
                  <a:pt x="666" y="3679"/>
                </a:cubicBezTo>
                <a:cubicBezTo>
                  <a:pt x="666" y="3671"/>
                  <a:pt x="658" y="3655"/>
                  <a:pt x="658" y="3655"/>
                </a:cubicBezTo>
                <a:cubicBezTo>
                  <a:pt x="658" y="3655"/>
                  <a:pt x="650" y="3655"/>
                  <a:pt x="658" y="3639"/>
                </a:cubicBezTo>
                <a:lnTo>
                  <a:pt x="658" y="3600"/>
                </a:lnTo>
                <a:cubicBezTo>
                  <a:pt x="650" y="3592"/>
                  <a:pt x="642" y="3576"/>
                  <a:pt x="642" y="3568"/>
                </a:cubicBezTo>
                <a:lnTo>
                  <a:pt x="642" y="3544"/>
                </a:lnTo>
                <a:cubicBezTo>
                  <a:pt x="642" y="3544"/>
                  <a:pt x="642" y="3536"/>
                  <a:pt x="634" y="3528"/>
                </a:cubicBezTo>
                <a:cubicBezTo>
                  <a:pt x="626" y="3520"/>
                  <a:pt x="601" y="3481"/>
                  <a:pt x="601" y="3481"/>
                </a:cubicBezTo>
                <a:cubicBezTo>
                  <a:pt x="601" y="3481"/>
                  <a:pt x="593" y="3481"/>
                  <a:pt x="593" y="3465"/>
                </a:cubicBezTo>
                <a:cubicBezTo>
                  <a:pt x="585" y="3449"/>
                  <a:pt x="585" y="3433"/>
                  <a:pt x="585" y="3433"/>
                </a:cubicBezTo>
                <a:lnTo>
                  <a:pt x="585" y="3409"/>
                </a:lnTo>
                <a:lnTo>
                  <a:pt x="561" y="3386"/>
                </a:lnTo>
                <a:lnTo>
                  <a:pt x="569" y="3354"/>
                </a:lnTo>
                <a:lnTo>
                  <a:pt x="569" y="3322"/>
                </a:lnTo>
                <a:cubicBezTo>
                  <a:pt x="569" y="3322"/>
                  <a:pt x="569" y="3283"/>
                  <a:pt x="577" y="3283"/>
                </a:cubicBezTo>
                <a:cubicBezTo>
                  <a:pt x="585" y="3283"/>
                  <a:pt x="601" y="3259"/>
                  <a:pt x="601" y="3259"/>
                </a:cubicBezTo>
                <a:cubicBezTo>
                  <a:pt x="601" y="3259"/>
                  <a:pt x="618" y="3235"/>
                  <a:pt x="609" y="3227"/>
                </a:cubicBezTo>
                <a:cubicBezTo>
                  <a:pt x="609" y="3219"/>
                  <a:pt x="601" y="3187"/>
                  <a:pt x="601" y="3187"/>
                </a:cubicBezTo>
                <a:cubicBezTo>
                  <a:pt x="601" y="3187"/>
                  <a:pt x="618" y="3164"/>
                  <a:pt x="609" y="3164"/>
                </a:cubicBezTo>
                <a:cubicBezTo>
                  <a:pt x="609" y="3156"/>
                  <a:pt x="593" y="3124"/>
                  <a:pt x="593" y="3124"/>
                </a:cubicBezTo>
                <a:lnTo>
                  <a:pt x="569" y="3148"/>
                </a:lnTo>
                <a:lnTo>
                  <a:pt x="553" y="3140"/>
                </a:lnTo>
                <a:lnTo>
                  <a:pt x="561" y="3108"/>
                </a:lnTo>
                <a:cubicBezTo>
                  <a:pt x="561" y="3108"/>
                  <a:pt x="544" y="3092"/>
                  <a:pt x="544" y="3084"/>
                </a:cubicBezTo>
                <a:cubicBezTo>
                  <a:pt x="544" y="3076"/>
                  <a:pt x="561" y="3060"/>
                  <a:pt x="561" y="3060"/>
                </a:cubicBezTo>
                <a:cubicBezTo>
                  <a:pt x="561" y="3060"/>
                  <a:pt x="577" y="3092"/>
                  <a:pt x="577" y="3100"/>
                </a:cubicBezTo>
                <a:cubicBezTo>
                  <a:pt x="577" y="3108"/>
                  <a:pt x="593" y="3116"/>
                  <a:pt x="593" y="3116"/>
                </a:cubicBezTo>
                <a:cubicBezTo>
                  <a:pt x="601" y="3108"/>
                  <a:pt x="601" y="3092"/>
                  <a:pt x="609" y="3092"/>
                </a:cubicBezTo>
                <a:cubicBezTo>
                  <a:pt x="618" y="3092"/>
                  <a:pt x="626" y="3100"/>
                  <a:pt x="626" y="3108"/>
                </a:cubicBezTo>
                <a:lnTo>
                  <a:pt x="658" y="3100"/>
                </a:lnTo>
                <a:cubicBezTo>
                  <a:pt x="658" y="3100"/>
                  <a:pt x="650" y="3092"/>
                  <a:pt x="674" y="3092"/>
                </a:cubicBezTo>
                <a:cubicBezTo>
                  <a:pt x="699" y="3100"/>
                  <a:pt x="699" y="3092"/>
                  <a:pt x="699" y="3076"/>
                </a:cubicBezTo>
                <a:cubicBezTo>
                  <a:pt x="699" y="3068"/>
                  <a:pt x="674" y="3037"/>
                  <a:pt x="691" y="3037"/>
                </a:cubicBezTo>
                <a:cubicBezTo>
                  <a:pt x="715" y="3037"/>
                  <a:pt x="723" y="3045"/>
                  <a:pt x="723" y="3045"/>
                </a:cubicBezTo>
                <a:lnTo>
                  <a:pt x="723" y="3060"/>
                </a:lnTo>
                <a:cubicBezTo>
                  <a:pt x="723" y="3076"/>
                  <a:pt x="748" y="3092"/>
                  <a:pt x="748" y="3076"/>
                </a:cubicBezTo>
                <a:cubicBezTo>
                  <a:pt x="756" y="3060"/>
                  <a:pt x="756" y="3068"/>
                  <a:pt x="756" y="3053"/>
                </a:cubicBezTo>
                <a:cubicBezTo>
                  <a:pt x="756" y="3037"/>
                  <a:pt x="739" y="3037"/>
                  <a:pt x="731" y="3021"/>
                </a:cubicBezTo>
                <a:cubicBezTo>
                  <a:pt x="731" y="3013"/>
                  <a:pt x="723" y="3029"/>
                  <a:pt x="723" y="3005"/>
                </a:cubicBezTo>
                <a:cubicBezTo>
                  <a:pt x="731" y="2981"/>
                  <a:pt x="731" y="2973"/>
                  <a:pt x="739" y="2973"/>
                </a:cubicBezTo>
                <a:lnTo>
                  <a:pt x="756" y="2965"/>
                </a:lnTo>
                <a:cubicBezTo>
                  <a:pt x="772" y="2965"/>
                  <a:pt x="780" y="2949"/>
                  <a:pt x="772" y="2926"/>
                </a:cubicBezTo>
                <a:cubicBezTo>
                  <a:pt x="772" y="2910"/>
                  <a:pt x="764" y="2902"/>
                  <a:pt x="772" y="2894"/>
                </a:cubicBezTo>
                <a:cubicBezTo>
                  <a:pt x="788" y="2886"/>
                  <a:pt x="780" y="2878"/>
                  <a:pt x="796" y="2886"/>
                </a:cubicBezTo>
                <a:cubicBezTo>
                  <a:pt x="812" y="2894"/>
                  <a:pt x="804" y="2894"/>
                  <a:pt x="821" y="2894"/>
                </a:cubicBezTo>
                <a:cubicBezTo>
                  <a:pt x="829" y="2886"/>
                  <a:pt x="829" y="2846"/>
                  <a:pt x="829" y="2846"/>
                </a:cubicBezTo>
                <a:cubicBezTo>
                  <a:pt x="821" y="2854"/>
                  <a:pt x="804" y="2838"/>
                  <a:pt x="804" y="2838"/>
                </a:cubicBezTo>
                <a:cubicBezTo>
                  <a:pt x="796" y="2838"/>
                  <a:pt x="796" y="2823"/>
                  <a:pt x="804" y="2815"/>
                </a:cubicBezTo>
                <a:cubicBezTo>
                  <a:pt x="804" y="2815"/>
                  <a:pt x="804" y="2799"/>
                  <a:pt x="812" y="2799"/>
                </a:cubicBezTo>
                <a:cubicBezTo>
                  <a:pt x="829" y="2799"/>
                  <a:pt x="829" y="2807"/>
                  <a:pt x="845" y="2799"/>
                </a:cubicBezTo>
                <a:cubicBezTo>
                  <a:pt x="853" y="2791"/>
                  <a:pt x="853" y="2791"/>
                  <a:pt x="861" y="2783"/>
                </a:cubicBezTo>
                <a:cubicBezTo>
                  <a:pt x="869" y="2775"/>
                  <a:pt x="877" y="2775"/>
                  <a:pt x="886" y="2759"/>
                </a:cubicBezTo>
                <a:cubicBezTo>
                  <a:pt x="886" y="2751"/>
                  <a:pt x="894" y="2704"/>
                  <a:pt x="894" y="2704"/>
                </a:cubicBezTo>
                <a:cubicBezTo>
                  <a:pt x="886" y="2696"/>
                  <a:pt x="902" y="2704"/>
                  <a:pt x="918" y="2696"/>
                </a:cubicBezTo>
                <a:cubicBezTo>
                  <a:pt x="926" y="2688"/>
                  <a:pt x="934" y="2640"/>
                  <a:pt x="942" y="2632"/>
                </a:cubicBezTo>
                <a:cubicBezTo>
                  <a:pt x="950" y="2616"/>
                  <a:pt x="975" y="2585"/>
                  <a:pt x="975" y="2577"/>
                </a:cubicBezTo>
                <a:cubicBezTo>
                  <a:pt x="975" y="2569"/>
                  <a:pt x="999" y="2513"/>
                  <a:pt x="999" y="2513"/>
                </a:cubicBezTo>
                <a:lnTo>
                  <a:pt x="1032" y="2458"/>
                </a:lnTo>
                <a:cubicBezTo>
                  <a:pt x="1032" y="2458"/>
                  <a:pt x="1032" y="2442"/>
                  <a:pt x="1024" y="2426"/>
                </a:cubicBezTo>
                <a:cubicBezTo>
                  <a:pt x="1024" y="2418"/>
                  <a:pt x="1015" y="2386"/>
                  <a:pt x="1024" y="2379"/>
                </a:cubicBezTo>
                <a:cubicBezTo>
                  <a:pt x="1032" y="2379"/>
                  <a:pt x="1040" y="2355"/>
                  <a:pt x="1040" y="2355"/>
                </a:cubicBezTo>
                <a:lnTo>
                  <a:pt x="1040" y="2323"/>
                </a:lnTo>
                <a:lnTo>
                  <a:pt x="1080" y="2299"/>
                </a:lnTo>
                <a:cubicBezTo>
                  <a:pt x="1129" y="2291"/>
                  <a:pt x="1097" y="2268"/>
                  <a:pt x="1154" y="2291"/>
                </a:cubicBezTo>
                <a:cubicBezTo>
                  <a:pt x="1154" y="2291"/>
                  <a:pt x="1186" y="2283"/>
                  <a:pt x="1178" y="2275"/>
                </a:cubicBezTo>
                <a:lnTo>
                  <a:pt x="1145" y="2244"/>
                </a:lnTo>
                <a:lnTo>
                  <a:pt x="1162" y="2220"/>
                </a:lnTo>
                <a:cubicBezTo>
                  <a:pt x="1162" y="2220"/>
                  <a:pt x="1186" y="2204"/>
                  <a:pt x="1162" y="2196"/>
                </a:cubicBezTo>
                <a:cubicBezTo>
                  <a:pt x="1145" y="2188"/>
                  <a:pt x="1129" y="2180"/>
                  <a:pt x="1129" y="2172"/>
                </a:cubicBezTo>
                <a:cubicBezTo>
                  <a:pt x="1129" y="2172"/>
                  <a:pt x="1121" y="2141"/>
                  <a:pt x="1121" y="2133"/>
                </a:cubicBezTo>
                <a:cubicBezTo>
                  <a:pt x="1121" y="2125"/>
                  <a:pt x="1113" y="2101"/>
                  <a:pt x="1113" y="2101"/>
                </a:cubicBezTo>
                <a:lnTo>
                  <a:pt x="1113" y="2061"/>
                </a:lnTo>
                <a:cubicBezTo>
                  <a:pt x="1113" y="2053"/>
                  <a:pt x="1105" y="2030"/>
                  <a:pt x="1097" y="2022"/>
                </a:cubicBezTo>
                <a:cubicBezTo>
                  <a:pt x="1089" y="2014"/>
                  <a:pt x="1056" y="1990"/>
                  <a:pt x="1056" y="1990"/>
                </a:cubicBezTo>
                <a:lnTo>
                  <a:pt x="999" y="1966"/>
                </a:lnTo>
                <a:lnTo>
                  <a:pt x="983" y="1982"/>
                </a:lnTo>
                <a:lnTo>
                  <a:pt x="942" y="1942"/>
                </a:lnTo>
                <a:lnTo>
                  <a:pt x="910" y="1934"/>
                </a:lnTo>
                <a:lnTo>
                  <a:pt x="877" y="1934"/>
                </a:lnTo>
                <a:lnTo>
                  <a:pt x="821" y="1816"/>
                </a:lnTo>
                <a:lnTo>
                  <a:pt x="772" y="1792"/>
                </a:lnTo>
                <a:lnTo>
                  <a:pt x="739" y="1760"/>
                </a:lnTo>
                <a:lnTo>
                  <a:pt x="739" y="1720"/>
                </a:lnTo>
                <a:lnTo>
                  <a:pt x="715" y="1689"/>
                </a:lnTo>
                <a:cubicBezTo>
                  <a:pt x="715" y="1689"/>
                  <a:pt x="723" y="1665"/>
                  <a:pt x="723" y="1657"/>
                </a:cubicBezTo>
                <a:cubicBezTo>
                  <a:pt x="731" y="1649"/>
                  <a:pt x="747" y="1609"/>
                  <a:pt x="747" y="1609"/>
                </a:cubicBezTo>
                <a:cubicBezTo>
                  <a:pt x="747" y="1609"/>
                  <a:pt x="739" y="1578"/>
                  <a:pt x="739" y="1570"/>
                </a:cubicBezTo>
                <a:cubicBezTo>
                  <a:pt x="739" y="1562"/>
                  <a:pt x="747" y="1522"/>
                  <a:pt x="747" y="1522"/>
                </a:cubicBezTo>
                <a:lnTo>
                  <a:pt x="739" y="1483"/>
                </a:lnTo>
                <a:lnTo>
                  <a:pt x="642" y="1371"/>
                </a:lnTo>
                <a:lnTo>
                  <a:pt x="650" y="1324"/>
                </a:lnTo>
                <a:lnTo>
                  <a:pt x="642" y="1300"/>
                </a:lnTo>
                <a:cubicBezTo>
                  <a:pt x="634" y="1276"/>
                  <a:pt x="634" y="1276"/>
                  <a:pt x="642" y="1260"/>
                </a:cubicBezTo>
                <a:lnTo>
                  <a:pt x="642" y="1253"/>
                </a:lnTo>
                <a:lnTo>
                  <a:pt x="609" y="1260"/>
                </a:lnTo>
                <a:lnTo>
                  <a:pt x="585" y="1229"/>
                </a:lnTo>
                <a:lnTo>
                  <a:pt x="593" y="1189"/>
                </a:lnTo>
                <a:lnTo>
                  <a:pt x="577" y="1094"/>
                </a:lnTo>
                <a:lnTo>
                  <a:pt x="593" y="1046"/>
                </a:lnTo>
                <a:lnTo>
                  <a:pt x="544" y="1023"/>
                </a:lnTo>
                <a:lnTo>
                  <a:pt x="512" y="975"/>
                </a:lnTo>
                <a:cubicBezTo>
                  <a:pt x="512" y="975"/>
                  <a:pt x="504" y="991"/>
                  <a:pt x="496" y="983"/>
                </a:cubicBezTo>
                <a:cubicBezTo>
                  <a:pt x="488" y="975"/>
                  <a:pt x="447" y="912"/>
                  <a:pt x="447" y="912"/>
                </a:cubicBezTo>
                <a:lnTo>
                  <a:pt x="374" y="888"/>
                </a:lnTo>
                <a:lnTo>
                  <a:pt x="341" y="872"/>
                </a:lnTo>
                <a:lnTo>
                  <a:pt x="301" y="864"/>
                </a:lnTo>
                <a:cubicBezTo>
                  <a:pt x="301" y="864"/>
                  <a:pt x="293" y="880"/>
                  <a:pt x="285" y="864"/>
                </a:cubicBezTo>
                <a:cubicBezTo>
                  <a:pt x="276" y="848"/>
                  <a:pt x="260" y="832"/>
                  <a:pt x="260" y="832"/>
                </a:cubicBezTo>
                <a:lnTo>
                  <a:pt x="228" y="840"/>
                </a:lnTo>
                <a:lnTo>
                  <a:pt x="203" y="808"/>
                </a:lnTo>
                <a:lnTo>
                  <a:pt x="187" y="808"/>
                </a:lnTo>
                <a:cubicBezTo>
                  <a:pt x="179" y="801"/>
                  <a:pt x="163" y="793"/>
                  <a:pt x="163" y="793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30" name="Freeform 222">
            <a:extLst>
              <a:ext uri="{FF2B5EF4-FFF2-40B4-BE49-F238E27FC236}">
                <a16:creationId xmlns:a16="http://schemas.microsoft.com/office/drawing/2014/main" id="{1D96FD25-3285-2B11-D756-EA5FF339E5CC}"/>
              </a:ext>
            </a:extLst>
          </p:cNvPr>
          <p:cNvSpPr>
            <a:spLocks noChangeArrowheads="1"/>
          </p:cNvSpPr>
          <p:nvPr>
            <p:custDataLst>
              <p:tags r:id="rId221"/>
            </p:custDataLst>
          </p:nvPr>
        </p:nvSpPr>
        <p:spPr bwMode="auto">
          <a:xfrm>
            <a:off x="7942212" y="2101012"/>
            <a:ext cx="77883" cy="77882"/>
          </a:xfrm>
          <a:custGeom>
            <a:avLst/>
            <a:gdLst>
              <a:gd name="T0" fmla="*/ 82 w 188"/>
              <a:gd name="T1" fmla="*/ 63 h 191"/>
              <a:gd name="T2" fmla="*/ 73 w 188"/>
              <a:gd name="T3" fmla="*/ 79 h 191"/>
              <a:gd name="T4" fmla="*/ 65 w 188"/>
              <a:gd name="T5" fmla="*/ 55 h 191"/>
              <a:gd name="T6" fmla="*/ 33 w 188"/>
              <a:gd name="T7" fmla="*/ 63 h 191"/>
              <a:gd name="T8" fmla="*/ 25 w 188"/>
              <a:gd name="T9" fmla="*/ 95 h 191"/>
              <a:gd name="T10" fmla="*/ 8 w 188"/>
              <a:gd name="T11" fmla="*/ 103 h 191"/>
              <a:gd name="T12" fmla="*/ 0 w 188"/>
              <a:gd name="T13" fmla="*/ 127 h 191"/>
              <a:gd name="T14" fmla="*/ 25 w 188"/>
              <a:gd name="T15" fmla="*/ 135 h 191"/>
              <a:gd name="T16" fmla="*/ 57 w 188"/>
              <a:gd name="T17" fmla="*/ 151 h 191"/>
              <a:gd name="T18" fmla="*/ 90 w 188"/>
              <a:gd name="T19" fmla="*/ 151 h 191"/>
              <a:gd name="T20" fmla="*/ 106 w 188"/>
              <a:gd name="T21" fmla="*/ 159 h 191"/>
              <a:gd name="T22" fmla="*/ 130 w 188"/>
              <a:gd name="T23" fmla="*/ 182 h 191"/>
              <a:gd name="T24" fmla="*/ 163 w 188"/>
              <a:gd name="T25" fmla="*/ 174 h 191"/>
              <a:gd name="T26" fmla="*/ 179 w 188"/>
              <a:gd name="T27" fmla="*/ 143 h 191"/>
              <a:gd name="T28" fmla="*/ 130 w 188"/>
              <a:gd name="T29" fmla="*/ 127 h 191"/>
              <a:gd name="T30" fmla="*/ 130 w 188"/>
              <a:gd name="T31" fmla="*/ 103 h 191"/>
              <a:gd name="T32" fmla="*/ 146 w 188"/>
              <a:gd name="T33" fmla="*/ 119 h 191"/>
              <a:gd name="T34" fmla="*/ 163 w 188"/>
              <a:gd name="T35" fmla="*/ 127 h 191"/>
              <a:gd name="T36" fmla="*/ 179 w 188"/>
              <a:gd name="T37" fmla="*/ 111 h 191"/>
              <a:gd name="T38" fmla="*/ 155 w 188"/>
              <a:gd name="T39" fmla="*/ 87 h 191"/>
              <a:gd name="T40" fmla="*/ 163 w 188"/>
              <a:gd name="T41" fmla="*/ 71 h 191"/>
              <a:gd name="T42" fmla="*/ 179 w 188"/>
              <a:gd name="T43" fmla="*/ 48 h 191"/>
              <a:gd name="T44" fmla="*/ 155 w 188"/>
              <a:gd name="T45" fmla="*/ 32 h 191"/>
              <a:gd name="T46" fmla="*/ 146 w 188"/>
              <a:gd name="T47" fmla="*/ 32 h 191"/>
              <a:gd name="T48" fmla="*/ 114 w 188"/>
              <a:gd name="T49" fmla="*/ 24 h 191"/>
              <a:gd name="T50" fmla="*/ 106 w 188"/>
              <a:gd name="T51" fmla="*/ 0 h 191"/>
              <a:gd name="T52" fmla="*/ 73 w 188"/>
              <a:gd name="T53" fmla="*/ 0 h 191"/>
              <a:gd name="T54" fmla="*/ 65 w 188"/>
              <a:gd name="T55" fmla="*/ 24 h 191"/>
              <a:gd name="T56" fmla="*/ 82 w 188"/>
              <a:gd name="T57" fmla="*/ 48 h 191"/>
              <a:gd name="T58" fmla="*/ 82 w 188"/>
              <a:gd name="T59" fmla="*/ 63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88" h="191">
                <a:moveTo>
                  <a:pt x="82" y="63"/>
                </a:moveTo>
                <a:cubicBezTo>
                  <a:pt x="82" y="63"/>
                  <a:pt x="82" y="79"/>
                  <a:pt x="73" y="79"/>
                </a:cubicBezTo>
                <a:cubicBezTo>
                  <a:pt x="57" y="87"/>
                  <a:pt x="65" y="63"/>
                  <a:pt x="65" y="55"/>
                </a:cubicBezTo>
                <a:cubicBezTo>
                  <a:pt x="65" y="48"/>
                  <a:pt x="33" y="63"/>
                  <a:pt x="33" y="63"/>
                </a:cubicBezTo>
                <a:cubicBezTo>
                  <a:pt x="33" y="63"/>
                  <a:pt x="33" y="87"/>
                  <a:pt x="25" y="95"/>
                </a:cubicBezTo>
                <a:cubicBezTo>
                  <a:pt x="17" y="95"/>
                  <a:pt x="17" y="95"/>
                  <a:pt x="8" y="103"/>
                </a:cubicBezTo>
                <a:cubicBezTo>
                  <a:pt x="0" y="111"/>
                  <a:pt x="0" y="127"/>
                  <a:pt x="0" y="127"/>
                </a:cubicBezTo>
                <a:cubicBezTo>
                  <a:pt x="8" y="135"/>
                  <a:pt x="25" y="135"/>
                  <a:pt x="25" y="135"/>
                </a:cubicBezTo>
                <a:cubicBezTo>
                  <a:pt x="33" y="135"/>
                  <a:pt x="33" y="135"/>
                  <a:pt x="57" y="151"/>
                </a:cubicBezTo>
                <a:cubicBezTo>
                  <a:pt x="90" y="159"/>
                  <a:pt x="65" y="151"/>
                  <a:pt x="90" y="151"/>
                </a:cubicBezTo>
                <a:cubicBezTo>
                  <a:pt x="106" y="151"/>
                  <a:pt x="98" y="159"/>
                  <a:pt x="106" y="159"/>
                </a:cubicBezTo>
                <a:cubicBezTo>
                  <a:pt x="114" y="159"/>
                  <a:pt x="122" y="174"/>
                  <a:pt x="130" y="182"/>
                </a:cubicBezTo>
                <a:cubicBezTo>
                  <a:pt x="146" y="190"/>
                  <a:pt x="155" y="174"/>
                  <a:pt x="163" y="174"/>
                </a:cubicBezTo>
                <a:cubicBezTo>
                  <a:pt x="163" y="166"/>
                  <a:pt x="179" y="143"/>
                  <a:pt x="179" y="143"/>
                </a:cubicBezTo>
                <a:lnTo>
                  <a:pt x="130" y="127"/>
                </a:lnTo>
                <a:cubicBezTo>
                  <a:pt x="122" y="127"/>
                  <a:pt x="114" y="103"/>
                  <a:pt x="130" y="103"/>
                </a:cubicBezTo>
                <a:cubicBezTo>
                  <a:pt x="138" y="103"/>
                  <a:pt x="138" y="111"/>
                  <a:pt x="146" y="119"/>
                </a:cubicBezTo>
                <a:cubicBezTo>
                  <a:pt x="146" y="127"/>
                  <a:pt x="155" y="127"/>
                  <a:pt x="163" y="127"/>
                </a:cubicBezTo>
                <a:cubicBezTo>
                  <a:pt x="171" y="127"/>
                  <a:pt x="179" y="119"/>
                  <a:pt x="179" y="111"/>
                </a:cubicBezTo>
                <a:cubicBezTo>
                  <a:pt x="179" y="103"/>
                  <a:pt x="171" y="111"/>
                  <a:pt x="155" y="87"/>
                </a:cubicBezTo>
                <a:cubicBezTo>
                  <a:pt x="130" y="63"/>
                  <a:pt x="155" y="71"/>
                  <a:pt x="163" y="71"/>
                </a:cubicBezTo>
                <a:cubicBezTo>
                  <a:pt x="163" y="63"/>
                  <a:pt x="179" y="48"/>
                  <a:pt x="179" y="48"/>
                </a:cubicBezTo>
                <a:cubicBezTo>
                  <a:pt x="187" y="40"/>
                  <a:pt x="163" y="40"/>
                  <a:pt x="155" y="32"/>
                </a:cubicBezTo>
                <a:lnTo>
                  <a:pt x="146" y="32"/>
                </a:lnTo>
                <a:cubicBezTo>
                  <a:pt x="146" y="40"/>
                  <a:pt x="122" y="32"/>
                  <a:pt x="114" y="24"/>
                </a:cubicBezTo>
                <a:cubicBezTo>
                  <a:pt x="114" y="24"/>
                  <a:pt x="114" y="8"/>
                  <a:pt x="106" y="0"/>
                </a:cubicBezTo>
                <a:lnTo>
                  <a:pt x="73" y="0"/>
                </a:lnTo>
                <a:cubicBezTo>
                  <a:pt x="57" y="0"/>
                  <a:pt x="65" y="24"/>
                  <a:pt x="65" y="24"/>
                </a:cubicBezTo>
                <a:cubicBezTo>
                  <a:pt x="65" y="24"/>
                  <a:pt x="73" y="40"/>
                  <a:pt x="82" y="48"/>
                </a:cubicBezTo>
                <a:lnTo>
                  <a:pt x="82" y="63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31" name="Freeform 223">
            <a:extLst>
              <a:ext uri="{FF2B5EF4-FFF2-40B4-BE49-F238E27FC236}">
                <a16:creationId xmlns:a16="http://schemas.microsoft.com/office/drawing/2014/main" id="{66B0FD61-FC55-4CC9-A0B3-3360B21A105D}"/>
              </a:ext>
            </a:extLst>
          </p:cNvPr>
          <p:cNvSpPr>
            <a:spLocks noChangeArrowheads="1"/>
          </p:cNvSpPr>
          <p:nvPr>
            <p:custDataLst>
              <p:tags r:id="rId222"/>
            </p:custDataLst>
          </p:nvPr>
        </p:nvSpPr>
        <p:spPr bwMode="auto">
          <a:xfrm>
            <a:off x="7938590" y="2173460"/>
            <a:ext cx="23546" cy="19923"/>
          </a:xfrm>
          <a:custGeom>
            <a:avLst/>
            <a:gdLst>
              <a:gd name="T0" fmla="*/ 25 w 58"/>
              <a:gd name="T1" fmla="*/ 8 h 49"/>
              <a:gd name="T2" fmla="*/ 49 w 58"/>
              <a:gd name="T3" fmla="*/ 8 h 49"/>
              <a:gd name="T4" fmla="*/ 49 w 58"/>
              <a:gd name="T5" fmla="*/ 32 h 49"/>
              <a:gd name="T6" fmla="*/ 25 w 58"/>
              <a:gd name="T7" fmla="*/ 48 h 49"/>
              <a:gd name="T8" fmla="*/ 0 w 58"/>
              <a:gd name="T9" fmla="*/ 40 h 49"/>
              <a:gd name="T10" fmla="*/ 0 w 58"/>
              <a:gd name="T11" fmla="*/ 8 h 49"/>
              <a:gd name="T12" fmla="*/ 25 w 58"/>
              <a:gd name="T13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" h="49">
                <a:moveTo>
                  <a:pt x="25" y="8"/>
                </a:moveTo>
                <a:cubicBezTo>
                  <a:pt x="33" y="8"/>
                  <a:pt x="41" y="0"/>
                  <a:pt x="49" y="8"/>
                </a:cubicBezTo>
                <a:cubicBezTo>
                  <a:pt x="57" y="16"/>
                  <a:pt x="49" y="32"/>
                  <a:pt x="49" y="32"/>
                </a:cubicBezTo>
                <a:cubicBezTo>
                  <a:pt x="41" y="40"/>
                  <a:pt x="33" y="48"/>
                  <a:pt x="25" y="48"/>
                </a:cubicBezTo>
                <a:cubicBezTo>
                  <a:pt x="16" y="48"/>
                  <a:pt x="8" y="48"/>
                  <a:pt x="0" y="40"/>
                </a:cubicBezTo>
                <a:lnTo>
                  <a:pt x="0" y="8"/>
                </a:lnTo>
                <a:lnTo>
                  <a:pt x="25" y="8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32" name="Freeform 224">
            <a:extLst>
              <a:ext uri="{FF2B5EF4-FFF2-40B4-BE49-F238E27FC236}">
                <a16:creationId xmlns:a16="http://schemas.microsoft.com/office/drawing/2014/main" id="{E14A6A55-9D80-D9A5-286A-AF2AA8C92CC2}"/>
              </a:ext>
            </a:extLst>
          </p:cNvPr>
          <p:cNvSpPr>
            <a:spLocks noChangeArrowheads="1"/>
          </p:cNvSpPr>
          <p:nvPr>
            <p:custDataLst>
              <p:tags r:id="rId223"/>
            </p:custDataLst>
          </p:nvPr>
        </p:nvSpPr>
        <p:spPr bwMode="auto">
          <a:xfrm>
            <a:off x="8007416" y="2157159"/>
            <a:ext cx="39847" cy="27169"/>
          </a:xfrm>
          <a:custGeom>
            <a:avLst/>
            <a:gdLst>
              <a:gd name="T0" fmla="*/ 65 w 98"/>
              <a:gd name="T1" fmla="*/ 8 h 64"/>
              <a:gd name="T2" fmla="*/ 48 w 98"/>
              <a:gd name="T3" fmla="*/ 8 h 64"/>
              <a:gd name="T4" fmla="*/ 24 w 98"/>
              <a:gd name="T5" fmla="*/ 24 h 64"/>
              <a:gd name="T6" fmla="*/ 16 w 98"/>
              <a:gd name="T7" fmla="*/ 47 h 64"/>
              <a:gd name="T8" fmla="*/ 57 w 98"/>
              <a:gd name="T9" fmla="*/ 39 h 64"/>
              <a:gd name="T10" fmla="*/ 65 w 98"/>
              <a:gd name="T11" fmla="*/ 31 h 64"/>
              <a:gd name="T12" fmla="*/ 81 w 98"/>
              <a:gd name="T13" fmla="*/ 24 h 64"/>
              <a:gd name="T14" fmla="*/ 89 w 98"/>
              <a:gd name="T15" fmla="*/ 8 h 64"/>
              <a:gd name="T16" fmla="*/ 65 w 98"/>
              <a:gd name="T17" fmla="*/ 8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8" h="64">
                <a:moveTo>
                  <a:pt x="65" y="8"/>
                </a:moveTo>
                <a:lnTo>
                  <a:pt x="48" y="8"/>
                </a:lnTo>
                <a:lnTo>
                  <a:pt x="24" y="24"/>
                </a:lnTo>
                <a:cubicBezTo>
                  <a:pt x="0" y="31"/>
                  <a:pt x="16" y="39"/>
                  <a:pt x="16" y="47"/>
                </a:cubicBezTo>
                <a:cubicBezTo>
                  <a:pt x="16" y="63"/>
                  <a:pt x="40" y="47"/>
                  <a:pt x="57" y="39"/>
                </a:cubicBezTo>
                <a:cubicBezTo>
                  <a:pt x="65" y="39"/>
                  <a:pt x="57" y="31"/>
                  <a:pt x="65" y="31"/>
                </a:cubicBezTo>
                <a:lnTo>
                  <a:pt x="81" y="24"/>
                </a:lnTo>
                <a:cubicBezTo>
                  <a:pt x="97" y="16"/>
                  <a:pt x="89" y="16"/>
                  <a:pt x="89" y="8"/>
                </a:cubicBezTo>
                <a:cubicBezTo>
                  <a:pt x="89" y="8"/>
                  <a:pt x="73" y="0"/>
                  <a:pt x="65" y="8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33" name="Freeform 225">
            <a:extLst>
              <a:ext uri="{FF2B5EF4-FFF2-40B4-BE49-F238E27FC236}">
                <a16:creationId xmlns:a16="http://schemas.microsoft.com/office/drawing/2014/main" id="{CA724AA6-0ACE-E15D-7DE4-38A2C72B601F}"/>
              </a:ext>
            </a:extLst>
          </p:cNvPr>
          <p:cNvSpPr>
            <a:spLocks noChangeArrowheads="1"/>
          </p:cNvSpPr>
          <p:nvPr>
            <p:custDataLst>
              <p:tags r:id="rId224"/>
            </p:custDataLst>
          </p:nvPr>
        </p:nvSpPr>
        <p:spPr bwMode="auto">
          <a:xfrm>
            <a:off x="8045452" y="2137236"/>
            <a:ext cx="10867" cy="12678"/>
          </a:xfrm>
          <a:custGeom>
            <a:avLst/>
            <a:gdLst>
              <a:gd name="T0" fmla="*/ 0 w 25"/>
              <a:gd name="T1" fmla="*/ 16 h 33"/>
              <a:gd name="T2" fmla="*/ 8 w 25"/>
              <a:gd name="T3" fmla="*/ 32 h 33"/>
              <a:gd name="T4" fmla="*/ 24 w 25"/>
              <a:gd name="T5" fmla="*/ 16 h 33"/>
              <a:gd name="T6" fmla="*/ 16 w 25"/>
              <a:gd name="T7" fmla="*/ 0 h 33"/>
              <a:gd name="T8" fmla="*/ 0 w 25"/>
              <a:gd name="T9" fmla="*/ 16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" h="33">
                <a:moveTo>
                  <a:pt x="0" y="16"/>
                </a:moveTo>
                <a:cubicBezTo>
                  <a:pt x="0" y="16"/>
                  <a:pt x="0" y="32"/>
                  <a:pt x="8" y="32"/>
                </a:cubicBezTo>
                <a:cubicBezTo>
                  <a:pt x="16" y="32"/>
                  <a:pt x="16" y="24"/>
                  <a:pt x="24" y="16"/>
                </a:cubicBezTo>
                <a:cubicBezTo>
                  <a:pt x="24" y="8"/>
                  <a:pt x="16" y="8"/>
                  <a:pt x="16" y="0"/>
                </a:cubicBezTo>
                <a:cubicBezTo>
                  <a:pt x="8" y="0"/>
                  <a:pt x="0" y="8"/>
                  <a:pt x="0" y="16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34" name="Freeform 226">
            <a:extLst>
              <a:ext uri="{FF2B5EF4-FFF2-40B4-BE49-F238E27FC236}">
                <a16:creationId xmlns:a16="http://schemas.microsoft.com/office/drawing/2014/main" id="{C891B9D6-04BE-2A5C-BE5D-8D2E4DBC5ACC}"/>
              </a:ext>
            </a:extLst>
          </p:cNvPr>
          <p:cNvSpPr>
            <a:spLocks noChangeArrowheads="1"/>
          </p:cNvSpPr>
          <p:nvPr>
            <p:custDataLst>
              <p:tags r:id="rId225"/>
            </p:custDataLst>
          </p:nvPr>
        </p:nvSpPr>
        <p:spPr bwMode="auto">
          <a:xfrm>
            <a:off x="8041829" y="2120935"/>
            <a:ext cx="19923" cy="16302"/>
          </a:xfrm>
          <a:custGeom>
            <a:avLst/>
            <a:gdLst>
              <a:gd name="T0" fmla="*/ 8 w 50"/>
              <a:gd name="T1" fmla="*/ 7 h 40"/>
              <a:gd name="T2" fmla="*/ 8 w 50"/>
              <a:gd name="T3" fmla="*/ 31 h 40"/>
              <a:gd name="T4" fmla="*/ 32 w 50"/>
              <a:gd name="T5" fmla="*/ 15 h 40"/>
              <a:gd name="T6" fmla="*/ 24 w 50"/>
              <a:gd name="T7" fmla="*/ 7 h 40"/>
              <a:gd name="T8" fmla="*/ 8 w 50"/>
              <a:gd name="T9" fmla="*/ 7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40">
                <a:moveTo>
                  <a:pt x="8" y="7"/>
                </a:moveTo>
                <a:cubicBezTo>
                  <a:pt x="8" y="7"/>
                  <a:pt x="0" y="15"/>
                  <a:pt x="8" y="31"/>
                </a:cubicBezTo>
                <a:cubicBezTo>
                  <a:pt x="8" y="39"/>
                  <a:pt x="8" y="31"/>
                  <a:pt x="32" y="15"/>
                </a:cubicBezTo>
                <a:cubicBezTo>
                  <a:pt x="49" y="0"/>
                  <a:pt x="24" y="7"/>
                  <a:pt x="24" y="7"/>
                </a:cubicBezTo>
                <a:cubicBezTo>
                  <a:pt x="24" y="0"/>
                  <a:pt x="16" y="7"/>
                  <a:pt x="8" y="7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35" name="Freeform 227">
            <a:extLst>
              <a:ext uri="{FF2B5EF4-FFF2-40B4-BE49-F238E27FC236}">
                <a16:creationId xmlns:a16="http://schemas.microsoft.com/office/drawing/2014/main" id="{9E65A6C1-CBB0-D254-E96B-0857AFB5DE89}"/>
              </a:ext>
            </a:extLst>
          </p:cNvPr>
          <p:cNvSpPr>
            <a:spLocks noChangeArrowheads="1"/>
          </p:cNvSpPr>
          <p:nvPr>
            <p:custDataLst>
              <p:tags r:id="rId226"/>
            </p:custDataLst>
          </p:nvPr>
        </p:nvSpPr>
        <p:spPr bwMode="auto">
          <a:xfrm>
            <a:off x="8068997" y="2059353"/>
            <a:ext cx="18112" cy="43469"/>
          </a:xfrm>
          <a:custGeom>
            <a:avLst/>
            <a:gdLst>
              <a:gd name="T0" fmla="*/ 8 w 42"/>
              <a:gd name="T1" fmla="*/ 63 h 104"/>
              <a:gd name="T2" fmla="*/ 41 w 42"/>
              <a:gd name="T3" fmla="*/ 55 h 104"/>
              <a:gd name="T4" fmla="*/ 24 w 42"/>
              <a:gd name="T5" fmla="*/ 24 h 104"/>
              <a:gd name="T6" fmla="*/ 8 w 42"/>
              <a:gd name="T7" fmla="*/ 32 h 104"/>
              <a:gd name="T8" fmla="*/ 16 w 42"/>
              <a:gd name="T9" fmla="*/ 55 h 104"/>
              <a:gd name="T10" fmla="*/ 8 w 42"/>
              <a:gd name="T11" fmla="*/ 63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104">
                <a:moveTo>
                  <a:pt x="8" y="63"/>
                </a:moveTo>
                <a:cubicBezTo>
                  <a:pt x="0" y="103"/>
                  <a:pt x="41" y="79"/>
                  <a:pt x="41" y="55"/>
                </a:cubicBezTo>
                <a:cubicBezTo>
                  <a:pt x="32" y="39"/>
                  <a:pt x="41" y="39"/>
                  <a:pt x="24" y="24"/>
                </a:cubicBezTo>
                <a:cubicBezTo>
                  <a:pt x="16" y="0"/>
                  <a:pt x="16" y="24"/>
                  <a:pt x="8" y="32"/>
                </a:cubicBezTo>
                <a:cubicBezTo>
                  <a:pt x="0" y="47"/>
                  <a:pt x="16" y="47"/>
                  <a:pt x="16" y="55"/>
                </a:cubicBezTo>
                <a:cubicBezTo>
                  <a:pt x="16" y="63"/>
                  <a:pt x="8" y="55"/>
                  <a:pt x="8" y="63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36" name="Freeform 228">
            <a:extLst>
              <a:ext uri="{FF2B5EF4-FFF2-40B4-BE49-F238E27FC236}">
                <a16:creationId xmlns:a16="http://schemas.microsoft.com/office/drawing/2014/main" id="{91975CEB-25A5-F847-08A8-A6C26E39A1C6}"/>
              </a:ext>
            </a:extLst>
          </p:cNvPr>
          <p:cNvSpPr>
            <a:spLocks noChangeArrowheads="1"/>
          </p:cNvSpPr>
          <p:nvPr>
            <p:custDataLst>
              <p:tags r:id="rId227"/>
            </p:custDataLst>
          </p:nvPr>
        </p:nvSpPr>
        <p:spPr bwMode="auto">
          <a:xfrm>
            <a:off x="8097977" y="2113690"/>
            <a:ext cx="19924" cy="9057"/>
          </a:xfrm>
          <a:custGeom>
            <a:avLst/>
            <a:gdLst>
              <a:gd name="T0" fmla="*/ 8 w 50"/>
              <a:gd name="T1" fmla="*/ 16 h 24"/>
              <a:gd name="T2" fmla="*/ 41 w 50"/>
              <a:gd name="T3" fmla="*/ 23 h 24"/>
              <a:gd name="T4" fmla="*/ 49 w 50"/>
              <a:gd name="T5" fmla="*/ 8 h 24"/>
              <a:gd name="T6" fmla="*/ 32 w 50"/>
              <a:gd name="T7" fmla="*/ 0 h 24"/>
              <a:gd name="T8" fmla="*/ 16 w 50"/>
              <a:gd name="T9" fmla="*/ 0 h 24"/>
              <a:gd name="T10" fmla="*/ 8 w 50"/>
              <a:gd name="T11" fmla="*/ 16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0" h="24">
                <a:moveTo>
                  <a:pt x="8" y="16"/>
                </a:moveTo>
                <a:cubicBezTo>
                  <a:pt x="8" y="16"/>
                  <a:pt x="24" y="23"/>
                  <a:pt x="41" y="23"/>
                </a:cubicBezTo>
                <a:cubicBezTo>
                  <a:pt x="49" y="23"/>
                  <a:pt x="41" y="16"/>
                  <a:pt x="49" y="8"/>
                </a:cubicBezTo>
                <a:cubicBezTo>
                  <a:pt x="49" y="0"/>
                  <a:pt x="41" y="8"/>
                  <a:pt x="32" y="0"/>
                </a:cubicBezTo>
                <a:lnTo>
                  <a:pt x="16" y="0"/>
                </a:lnTo>
                <a:cubicBezTo>
                  <a:pt x="0" y="0"/>
                  <a:pt x="8" y="16"/>
                  <a:pt x="8" y="16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37" name="Freeform 229">
            <a:extLst>
              <a:ext uri="{FF2B5EF4-FFF2-40B4-BE49-F238E27FC236}">
                <a16:creationId xmlns:a16="http://schemas.microsoft.com/office/drawing/2014/main" id="{A6F86695-BACF-A6C6-F5BC-C836158E957F}"/>
              </a:ext>
            </a:extLst>
          </p:cNvPr>
          <p:cNvSpPr>
            <a:spLocks noChangeArrowheads="1"/>
          </p:cNvSpPr>
          <p:nvPr>
            <p:custDataLst>
              <p:tags r:id="rId228"/>
            </p:custDataLst>
          </p:nvPr>
        </p:nvSpPr>
        <p:spPr bwMode="auto">
          <a:xfrm>
            <a:off x="8121523" y="2108257"/>
            <a:ext cx="54337" cy="28979"/>
          </a:xfrm>
          <a:custGeom>
            <a:avLst/>
            <a:gdLst>
              <a:gd name="T0" fmla="*/ 16 w 131"/>
              <a:gd name="T1" fmla="*/ 32 h 72"/>
              <a:gd name="T2" fmla="*/ 8 w 131"/>
              <a:gd name="T3" fmla="*/ 39 h 72"/>
              <a:gd name="T4" fmla="*/ 8 w 131"/>
              <a:gd name="T5" fmla="*/ 55 h 72"/>
              <a:gd name="T6" fmla="*/ 16 w 131"/>
              <a:gd name="T7" fmla="*/ 71 h 72"/>
              <a:gd name="T8" fmla="*/ 40 w 131"/>
              <a:gd name="T9" fmla="*/ 63 h 72"/>
              <a:gd name="T10" fmla="*/ 65 w 131"/>
              <a:gd name="T11" fmla="*/ 39 h 72"/>
              <a:gd name="T12" fmla="*/ 81 w 131"/>
              <a:gd name="T13" fmla="*/ 24 h 72"/>
              <a:gd name="T14" fmla="*/ 122 w 131"/>
              <a:gd name="T15" fmla="*/ 32 h 72"/>
              <a:gd name="T16" fmla="*/ 114 w 131"/>
              <a:gd name="T17" fmla="*/ 8 h 72"/>
              <a:gd name="T18" fmla="*/ 89 w 131"/>
              <a:gd name="T19" fmla="*/ 8 h 72"/>
              <a:gd name="T20" fmla="*/ 65 w 131"/>
              <a:gd name="T21" fmla="*/ 0 h 72"/>
              <a:gd name="T22" fmla="*/ 57 w 131"/>
              <a:gd name="T23" fmla="*/ 0 h 72"/>
              <a:gd name="T24" fmla="*/ 40 w 131"/>
              <a:gd name="T25" fmla="*/ 24 h 72"/>
              <a:gd name="T26" fmla="*/ 32 w 131"/>
              <a:gd name="T27" fmla="*/ 16 h 72"/>
              <a:gd name="T28" fmla="*/ 8 w 131"/>
              <a:gd name="T29" fmla="*/ 16 h 72"/>
              <a:gd name="T30" fmla="*/ 16 w 131"/>
              <a:gd name="T31" fmla="*/ 3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1" h="72">
                <a:moveTo>
                  <a:pt x="16" y="32"/>
                </a:moveTo>
                <a:lnTo>
                  <a:pt x="8" y="39"/>
                </a:lnTo>
                <a:cubicBezTo>
                  <a:pt x="8" y="39"/>
                  <a:pt x="0" y="47"/>
                  <a:pt x="8" y="55"/>
                </a:cubicBezTo>
                <a:cubicBezTo>
                  <a:pt x="8" y="71"/>
                  <a:pt x="16" y="71"/>
                  <a:pt x="16" y="71"/>
                </a:cubicBezTo>
                <a:cubicBezTo>
                  <a:pt x="16" y="71"/>
                  <a:pt x="24" y="63"/>
                  <a:pt x="40" y="63"/>
                </a:cubicBezTo>
                <a:cubicBezTo>
                  <a:pt x="49" y="63"/>
                  <a:pt x="65" y="47"/>
                  <a:pt x="65" y="39"/>
                </a:cubicBezTo>
                <a:cubicBezTo>
                  <a:pt x="73" y="39"/>
                  <a:pt x="73" y="24"/>
                  <a:pt x="81" y="24"/>
                </a:cubicBezTo>
                <a:cubicBezTo>
                  <a:pt x="89" y="24"/>
                  <a:pt x="114" y="32"/>
                  <a:pt x="122" y="32"/>
                </a:cubicBezTo>
                <a:cubicBezTo>
                  <a:pt x="130" y="32"/>
                  <a:pt x="114" y="8"/>
                  <a:pt x="114" y="8"/>
                </a:cubicBezTo>
                <a:cubicBezTo>
                  <a:pt x="114" y="0"/>
                  <a:pt x="89" y="8"/>
                  <a:pt x="89" y="8"/>
                </a:cubicBezTo>
                <a:cubicBezTo>
                  <a:pt x="89" y="8"/>
                  <a:pt x="73" y="8"/>
                  <a:pt x="65" y="0"/>
                </a:cubicBezTo>
                <a:lnTo>
                  <a:pt x="57" y="0"/>
                </a:lnTo>
                <a:cubicBezTo>
                  <a:pt x="49" y="8"/>
                  <a:pt x="49" y="16"/>
                  <a:pt x="40" y="24"/>
                </a:cubicBezTo>
                <a:cubicBezTo>
                  <a:pt x="32" y="32"/>
                  <a:pt x="32" y="24"/>
                  <a:pt x="32" y="16"/>
                </a:cubicBezTo>
                <a:cubicBezTo>
                  <a:pt x="32" y="16"/>
                  <a:pt x="16" y="8"/>
                  <a:pt x="8" y="16"/>
                </a:cubicBezTo>
                <a:cubicBezTo>
                  <a:pt x="8" y="16"/>
                  <a:pt x="16" y="24"/>
                  <a:pt x="16" y="32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38" name="Freeform 230">
            <a:extLst>
              <a:ext uri="{FF2B5EF4-FFF2-40B4-BE49-F238E27FC236}">
                <a16:creationId xmlns:a16="http://schemas.microsoft.com/office/drawing/2014/main" id="{4827FE06-830E-56CE-F7A5-A2A390E413FC}"/>
              </a:ext>
            </a:extLst>
          </p:cNvPr>
          <p:cNvSpPr>
            <a:spLocks noChangeArrowheads="1"/>
          </p:cNvSpPr>
          <p:nvPr>
            <p:custDataLst>
              <p:tags r:id="rId229"/>
            </p:custDataLst>
          </p:nvPr>
        </p:nvSpPr>
        <p:spPr bwMode="auto">
          <a:xfrm>
            <a:off x="8208461" y="2153537"/>
            <a:ext cx="18112" cy="16302"/>
          </a:xfrm>
          <a:custGeom>
            <a:avLst/>
            <a:gdLst>
              <a:gd name="T0" fmla="*/ 0 w 42"/>
              <a:gd name="T1" fmla="*/ 16 h 40"/>
              <a:gd name="T2" fmla="*/ 0 w 42"/>
              <a:gd name="T3" fmla="*/ 32 h 40"/>
              <a:gd name="T4" fmla="*/ 16 w 42"/>
              <a:gd name="T5" fmla="*/ 32 h 40"/>
              <a:gd name="T6" fmla="*/ 32 w 42"/>
              <a:gd name="T7" fmla="*/ 24 h 40"/>
              <a:gd name="T8" fmla="*/ 24 w 42"/>
              <a:gd name="T9" fmla="*/ 8 h 40"/>
              <a:gd name="T10" fmla="*/ 16 w 42"/>
              <a:gd name="T11" fmla="*/ 8 h 40"/>
              <a:gd name="T12" fmla="*/ 0 w 42"/>
              <a:gd name="T13" fmla="*/ 16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" h="40">
                <a:moveTo>
                  <a:pt x="0" y="16"/>
                </a:moveTo>
                <a:lnTo>
                  <a:pt x="0" y="32"/>
                </a:lnTo>
                <a:cubicBezTo>
                  <a:pt x="0" y="39"/>
                  <a:pt x="8" y="39"/>
                  <a:pt x="16" y="32"/>
                </a:cubicBezTo>
                <a:cubicBezTo>
                  <a:pt x="16" y="32"/>
                  <a:pt x="24" y="32"/>
                  <a:pt x="32" y="24"/>
                </a:cubicBezTo>
                <a:cubicBezTo>
                  <a:pt x="41" y="16"/>
                  <a:pt x="32" y="8"/>
                  <a:pt x="24" y="8"/>
                </a:cubicBezTo>
                <a:cubicBezTo>
                  <a:pt x="24" y="0"/>
                  <a:pt x="16" y="8"/>
                  <a:pt x="16" y="8"/>
                </a:cubicBezTo>
                <a:cubicBezTo>
                  <a:pt x="8" y="8"/>
                  <a:pt x="0" y="16"/>
                  <a:pt x="0" y="16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39" name="Freeform 231">
            <a:extLst>
              <a:ext uri="{FF2B5EF4-FFF2-40B4-BE49-F238E27FC236}">
                <a16:creationId xmlns:a16="http://schemas.microsoft.com/office/drawing/2014/main" id="{C4F342FB-6B55-413B-6D8E-25454773FC92}"/>
              </a:ext>
            </a:extLst>
          </p:cNvPr>
          <p:cNvSpPr>
            <a:spLocks noChangeArrowheads="1"/>
          </p:cNvSpPr>
          <p:nvPr>
            <p:custDataLst>
              <p:tags r:id="rId230"/>
            </p:custDataLst>
          </p:nvPr>
        </p:nvSpPr>
        <p:spPr bwMode="auto">
          <a:xfrm>
            <a:off x="8251931" y="2157159"/>
            <a:ext cx="23545" cy="12679"/>
          </a:xfrm>
          <a:custGeom>
            <a:avLst/>
            <a:gdLst>
              <a:gd name="T0" fmla="*/ 0 w 57"/>
              <a:gd name="T1" fmla="*/ 8 h 32"/>
              <a:gd name="T2" fmla="*/ 0 w 57"/>
              <a:gd name="T3" fmla="*/ 24 h 32"/>
              <a:gd name="T4" fmla="*/ 16 w 57"/>
              <a:gd name="T5" fmla="*/ 31 h 32"/>
              <a:gd name="T6" fmla="*/ 40 w 57"/>
              <a:gd name="T7" fmla="*/ 16 h 32"/>
              <a:gd name="T8" fmla="*/ 40 w 57"/>
              <a:gd name="T9" fmla="*/ 16 h 32"/>
              <a:gd name="T10" fmla="*/ 24 w 57"/>
              <a:gd name="T11" fmla="*/ 0 h 32"/>
              <a:gd name="T12" fmla="*/ 0 w 57"/>
              <a:gd name="T13" fmla="*/ 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7" h="32">
                <a:moveTo>
                  <a:pt x="0" y="8"/>
                </a:moveTo>
                <a:lnTo>
                  <a:pt x="0" y="24"/>
                </a:lnTo>
                <a:cubicBezTo>
                  <a:pt x="0" y="24"/>
                  <a:pt x="8" y="31"/>
                  <a:pt x="16" y="31"/>
                </a:cubicBezTo>
                <a:cubicBezTo>
                  <a:pt x="16" y="31"/>
                  <a:pt x="32" y="24"/>
                  <a:pt x="40" y="16"/>
                </a:cubicBezTo>
                <a:cubicBezTo>
                  <a:pt x="56" y="8"/>
                  <a:pt x="40" y="16"/>
                  <a:pt x="40" y="16"/>
                </a:cubicBezTo>
                <a:lnTo>
                  <a:pt x="24" y="0"/>
                </a:lnTo>
                <a:cubicBezTo>
                  <a:pt x="24" y="0"/>
                  <a:pt x="8" y="8"/>
                  <a:pt x="0" y="8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40" name="Freeform 232">
            <a:extLst>
              <a:ext uri="{FF2B5EF4-FFF2-40B4-BE49-F238E27FC236}">
                <a16:creationId xmlns:a16="http://schemas.microsoft.com/office/drawing/2014/main" id="{7CA5BB06-7974-9198-BCB5-C2C276D21AD3}"/>
              </a:ext>
            </a:extLst>
          </p:cNvPr>
          <p:cNvSpPr>
            <a:spLocks noChangeArrowheads="1"/>
          </p:cNvSpPr>
          <p:nvPr>
            <p:custDataLst>
              <p:tags r:id="rId231"/>
            </p:custDataLst>
          </p:nvPr>
        </p:nvSpPr>
        <p:spPr bwMode="auto">
          <a:xfrm>
            <a:off x="7777392" y="309718"/>
            <a:ext cx="1057751" cy="1847441"/>
          </a:xfrm>
          <a:custGeom>
            <a:avLst/>
            <a:gdLst>
              <a:gd name="T0" fmla="*/ 9 w 2576"/>
              <a:gd name="T1" fmla="*/ 642 h 4497"/>
              <a:gd name="T2" fmla="*/ 130 w 2576"/>
              <a:gd name="T3" fmla="*/ 539 h 4497"/>
              <a:gd name="T4" fmla="*/ 528 w 2576"/>
              <a:gd name="T5" fmla="*/ 705 h 4497"/>
              <a:gd name="T6" fmla="*/ 739 w 2576"/>
              <a:gd name="T7" fmla="*/ 713 h 4497"/>
              <a:gd name="T8" fmla="*/ 780 w 2576"/>
              <a:gd name="T9" fmla="*/ 222 h 4497"/>
              <a:gd name="T10" fmla="*/ 942 w 2576"/>
              <a:gd name="T11" fmla="*/ 39 h 4497"/>
              <a:gd name="T12" fmla="*/ 1275 w 2576"/>
              <a:gd name="T13" fmla="*/ 150 h 4497"/>
              <a:gd name="T14" fmla="*/ 1283 w 2576"/>
              <a:gd name="T15" fmla="*/ 412 h 4497"/>
              <a:gd name="T16" fmla="*/ 1308 w 2576"/>
              <a:gd name="T17" fmla="*/ 666 h 4497"/>
              <a:gd name="T18" fmla="*/ 1649 w 2576"/>
              <a:gd name="T19" fmla="*/ 920 h 4497"/>
              <a:gd name="T20" fmla="*/ 1689 w 2576"/>
              <a:gd name="T21" fmla="*/ 1387 h 4497"/>
              <a:gd name="T22" fmla="*/ 1868 w 2576"/>
              <a:gd name="T23" fmla="*/ 1744 h 4497"/>
              <a:gd name="T24" fmla="*/ 1933 w 2576"/>
              <a:gd name="T25" fmla="*/ 1950 h 4497"/>
              <a:gd name="T26" fmla="*/ 2071 w 2576"/>
              <a:gd name="T27" fmla="*/ 2212 h 4497"/>
              <a:gd name="T28" fmla="*/ 2201 w 2576"/>
              <a:gd name="T29" fmla="*/ 2442 h 4497"/>
              <a:gd name="T30" fmla="*/ 2510 w 2576"/>
              <a:gd name="T31" fmla="*/ 2704 h 4497"/>
              <a:gd name="T32" fmla="*/ 2437 w 2576"/>
              <a:gd name="T33" fmla="*/ 3298 h 4497"/>
              <a:gd name="T34" fmla="*/ 2160 w 2576"/>
              <a:gd name="T35" fmla="*/ 3909 h 4497"/>
              <a:gd name="T36" fmla="*/ 1982 w 2576"/>
              <a:gd name="T37" fmla="*/ 4004 h 4497"/>
              <a:gd name="T38" fmla="*/ 1852 w 2576"/>
              <a:gd name="T39" fmla="*/ 4060 h 4497"/>
              <a:gd name="T40" fmla="*/ 1746 w 2576"/>
              <a:gd name="T41" fmla="*/ 4163 h 4497"/>
              <a:gd name="T42" fmla="*/ 1600 w 2576"/>
              <a:gd name="T43" fmla="*/ 4258 h 4497"/>
              <a:gd name="T44" fmla="*/ 1503 w 2576"/>
              <a:gd name="T45" fmla="*/ 4361 h 4497"/>
              <a:gd name="T46" fmla="*/ 1365 w 2576"/>
              <a:gd name="T47" fmla="*/ 4409 h 4497"/>
              <a:gd name="T48" fmla="*/ 1267 w 2576"/>
              <a:gd name="T49" fmla="*/ 4432 h 4497"/>
              <a:gd name="T50" fmla="*/ 1194 w 2576"/>
              <a:gd name="T51" fmla="*/ 4496 h 4497"/>
              <a:gd name="T52" fmla="*/ 1137 w 2576"/>
              <a:gd name="T53" fmla="*/ 4456 h 4497"/>
              <a:gd name="T54" fmla="*/ 1113 w 2576"/>
              <a:gd name="T55" fmla="*/ 4432 h 4497"/>
              <a:gd name="T56" fmla="*/ 1032 w 2576"/>
              <a:gd name="T57" fmla="*/ 4480 h 4497"/>
              <a:gd name="T58" fmla="*/ 1064 w 2576"/>
              <a:gd name="T59" fmla="*/ 4369 h 4497"/>
              <a:gd name="T60" fmla="*/ 1015 w 2576"/>
              <a:gd name="T61" fmla="*/ 4329 h 4497"/>
              <a:gd name="T62" fmla="*/ 950 w 2576"/>
              <a:gd name="T63" fmla="*/ 4290 h 4497"/>
              <a:gd name="T64" fmla="*/ 877 w 2576"/>
              <a:gd name="T65" fmla="*/ 4290 h 4497"/>
              <a:gd name="T66" fmla="*/ 796 w 2576"/>
              <a:gd name="T67" fmla="*/ 4282 h 4497"/>
              <a:gd name="T68" fmla="*/ 756 w 2576"/>
              <a:gd name="T69" fmla="*/ 4202 h 4497"/>
              <a:gd name="T70" fmla="*/ 739 w 2576"/>
              <a:gd name="T71" fmla="*/ 4131 h 4497"/>
              <a:gd name="T72" fmla="*/ 731 w 2576"/>
              <a:gd name="T73" fmla="*/ 4044 h 4497"/>
              <a:gd name="T74" fmla="*/ 723 w 2576"/>
              <a:gd name="T75" fmla="*/ 3901 h 4497"/>
              <a:gd name="T76" fmla="*/ 707 w 2576"/>
              <a:gd name="T77" fmla="*/ 3743 h 4497"/>
              <a:gd name="T78" fmla="*/ 642 w 2576"/>
              <a:gd name="T79" fmla="*/ 3568 h 4497"/>
              <a:gd name="T80" fmla="*/ 561 w 2576"/>
              <a:gd name="T81" fmla="*/ 3386 h 4497"/>
              <a:gd name="T82" fmla="*/ 609 w 2576"/>
              <a:gd name="T83" fmla="*/ 3164 h 4497"/>
              <a:gd name="T84" fmla="*/ 577 w 2576"/>
              <a:gd name="T85" fmla="*/ 3100 h 4497"/>
              <a:gd name="T86" fmla="*/ 691 w 2576"/>
              <a:gd name="T87" fmla="*/ 3037 h 4497"/>
              <a:gd name="T88" fmla="*/ 739 w 2576"/>
              <a:gd name="T89" fmla="*/ 2973 h 4497"/>
              <a:gd name="T90" fmla="*/ 804 w 2576"/>
              <a:gd name="T91" fmla="*/ 2838 h 4497"/>
              <a:gd name="T92" fmla="*/ 918 w 2576"/>
              <a:gd name="T93" fmla="*/ 2696 h 4497"/>
              <a:gd name="T94" fmla="*/ 1040 w 2576"/>
              <a:gd name="T95" fmla="*/ 2355 h 4497"/>
              <a:gd name="T96" fmla="*/ 1162 w 2576"/>
              <a:gd name="T97" fmla="*/ 2196 h 4497"/>
              <a:gd name="T98" fmla="*/ 999 w 2576"/>
              <a:gd name="T99" fmla="*/ 1966 h 4497"/>
              <a:gd name="T100" fmla="*/ 739 w 2576"/>
              <a:gd name="T101" fmla="*/ 1760 h 4497"/>
              <a:gd name="T102" fmla="*/ 739 w 2576"/>
              <a:gd name="T103" fmla="*/ 1483 h 4497"/>
              <a:gd name="T104" fmla="*/ 585 w 2576"/>
              <a:gd name="T105" fmla="*/ 1229 h 4497"/>
              <a:gd name="T106" fmla="*/ 447 w 2576"/>
              <a:gd name="T107" fmla="*/ 912 h 4497"/>
              <a:gd name="T108" fmla="*/ 203 w 2576"/>
              <a:gd name="T109" fmla="*/ 808 h 4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76" h="4497">
                <a:moveTo>
                  <a:pt x="163" y="793"/>
                </a:moveTo>
                <a:lnTo>
                  <a:pt x="138" y="753"/>
                </a:lnTo>
                <a:lnTo>
                  <a:pt x="106" y="737"/>
                </a:lnTo>
                <a:lnTo>
                  <a:pt x="65" y="721"/>
                </a:lnTo>
                <a:lnTo>
                  <a:pt x="65" y="690"/>
                </a:lnTo>
                <a:lnTo>
                  <a:pt x="9" y="658"/>
                </a:lnTo>
                <a:cubicBezTo>
                  <a:pt x="9" y="658"/>
                  <a:pt x="0" y="642"/>
                  <a:pt x="9" y="642"/>
                </a:cubicBezTo>
                <a:cubicBezTo>
                  <a:pt x="17" y="634"/>
                  <a:pt x="49" y="634"/>
                  <a:pt x="57" y="634"/>
                </a:cubicBezTo>
                <a:lnTo>
                  <a:pt x="57" y="626"/>
                </a:lnTo>
                <a:lnTo>
                  <a:pt x="65" y="626"/>
                </a:lnTo>
                <a:cubicBezTo>
                  <a:pt x="74" y="626"/>
                  <a:pt x="74" y="618"/>
                  <a:pt x="74" y="618"/>
                </a:cubicBezTo>
                <a:cubicBezTo>
                  <a:pt x="74" y="618"/>
                  <a:pt x="49" y="571"/>
                  <a:pt x="65" y="547"/>
                </a:cubicBezTo>
                <a:lnTo>
                  <a:pt x="65" y="539"/>
                </a:lnTo>
                <a:cubicBezTo>
                  <a:pt x="82" y="523"/>
                  <a:pt x="114" y="523"/>
                  <a:pt x="130" y="539"/>
                </a:cubicBezTo>
                <a:lnTo>
                  <a:pt x="163" y="547"/>
                </a:lnTo>
                <a:lnTo>
                  <a:pt x="220" y="610"/>
                </a:lnTo>
                <a:lnTo>
                  <a:pt x="268" y="666"/>
                </a:lnTo>
                <a:cubicBezTo>
                  <a:pt x="268" y="666"/>
                  <a:pt x="342" y="721"/>
                  <a:pt x="358" y="729"/>
                </a:cubicBezTo>
                <a:cubicBezTo>
                  <a:pt x="374" y="737"/>
                  <a:pt x="463" y="753"/>
                  <a:pt x="471" y="761"/>
                </a:cubicBezTo>
                <a:lnTo>
                  <a:pt x="496" y="729"/>
                </a:lnTo>
                <a:lnTo>
                  <a:pt x="528" y="705"/>
                </a:lnTo>
                <a:lnTo>
                  <a:pt x="520" y="690"/>
                </a:lnTo>
                <a:lnTo>
                  <a:pt x="561" y="666"/>
                </a:lnTo>
                <a:lnTo>
                  <a:pt x="593" y="690"/>
                </a:lnTo>
                <a:lnTo>
                  <a:pt x="674" y="705"/>
                </a:lnTo>
                <a:lnTo>
                  <a:pt x="707" y="729"/>
                </a:lnTo>
                <a:cubicBezTo>
                  <a:pt x="707" y="729"/>
                  <a:pt x="715" y="729"/>
                  <a:pt x="723" y="721"/>
                </a:cubicBezTo>
                <a:cubicBezTo>
                  <a:pt x="731" y="721"/>
                  <a:pt x="731" y="721"/>
                  <a:pt x="739" y="713"/>
                </a:cubicBezTo>
                <a:lnTo>
                  <a:pt x="739" y="650"/>
                </a:lnTo>
                <a:cubicBezTo>
                  <a:pt x="739" y="650"/>
                  <a:pt x="715" y="634"/>
                  <a:pt x="739" y="618"/>
                </a:cubicBezTo>
                <a:cubicBezTo>
                  <a:pt x="764" y="594"/>
                  <a:pt x="796" y="571"/>
                  <a:pt x="796" y="571"/>
                </a:cubicBezTo>
                <a:cubicBezTo>
                  <a:pt x="796" y="571"/>
                  <a:pt x="812" y="563"/>
                  <a:pt x="812" y="539"/>
                </a:cubicBezTo>
                <a:cubicBezTo>
                  <a:pt x="812" y="515"/>
                  <a:pt x="796" y="452"/>
                  <a:pt x="796" y="452"/>
                </a:cubicBezTo>
                <a:cubicBezTo>
                  <a:pt x="796" y="452"/>
                  <a:pt x="780" y="412"/>
                  <a:pt x="780" y="396"/>
                </a:cubicBezTo>
                <a:cubicBezTo>
                  <a:pt x="796" y="301"/>
                  <a:pt x="756" y="230"/>
                  <a:pt x="780" y="222"/>
                </a:cubicBezTo>
                <a:lnTo>
                  <a:pt x="796" y="214"/>
                </a:lnTo>
                <a:lnTo>
                  <a:pt x="821" y="198"/>
                </a:lnTo>
                <a:lnTo>
                  <a:pt x="821" y="190"/>
                </a:lnTo>
                <a:cubicBezTo>
                  <a:pt x="821" y="150"/>
                  <a:pt x="772" y="111"/>
                  <a:pt x="829" y="103"/>
                </a:cubicBezTo>
                <a:lnTo>
                  <a:pt x="853" y="87"/>
                </a:lnTo>
                <a:lnTo>
                  <a:pt x="926" y="87"/>
                </a:lnTo>
                <a:lnTo>
                  <a:pt x="942" y="39"/>
                </a:lnTo>
                <a:lnTo>
                  <a:pt x="975" y="8"/>
                </a:lnTo>
                <a:cubicBezTo>
                  <a:pt x="999" y="8"/>
                  <a:pt x="1032" y="0"/>
                  <a:pt x="1048" y="8"/>
                </a:cubicBezTo>
                <a:cubicBezTo>
                  <a:pt x="1064" y="32"/>
                  <a:pt x="1064" y="47"/>
                  <a:pt x="1097" y="55"/>
                </a:cubicBezTo>
                <a:lnTo>
                  <a:pt x="1194" y="87"/>
                </a:lnTo>
                <a:lnTo>
                  <a:pt x="1251" y="95"/>
                </a:lnTo>
                <a:lnTo>
                  <a:pt x="1267" y="111"/>
                </a:lnTo>
                <a:cubicBezTo>
                  <a:pt x="1267" y="127"/>
                  <a:pt x="1267" y="143"/>
                  <a:pt x="1275" y="150"/>
                </a:cubicBezTo>
                <a:cubicBezTo>
                  <a:pt x="1275" y="166"/>
                  <a:pt x="1283" y="190"/>
                  <a:pt x="1283" y="190"/>
                </a:cubicBezTo>
                <a:cubicBezTo>
                  <a:pt x="1283" y="190"/>
                  <a:pt x="1275" y="214"/>
                  <a:pt x="1275" y="230"/>
                </a:cubicBezTo>
                <a:cubicBezTo>
                  <a:pt x="1267" y="238"/>
                  <a:pt x="1267" y="261"/>
                  <a:pt x="1267" y="269"/>
                </a:cubicBezTo>
                <a:lnTo>
                  <a:pt x="1267" y="293"/>
                </a:lnTo>
                <a:cubicBezTo>
                  <a:pt x="1267" y="309"/>
                  <a:pt x="1275" y="333"/>
                  <a:pt x="1283" y="341"/>
                </a:cubicBezTo>
                <a:cubicBezTo>
                  <a:pt x="1283" y="349"/>
                  <a:pt x="1324" y="372"/>
                  <a:pt x="1324" y="372"/>
                </a:cubicBezTo>
                <a:cubicBezTo>
                  <a:pt x="1324" y="372"/>
                  <a:pt x="1324" y="380"/>
                  <a:pt x="1283" y="412"/>
                </a:cubicBezTo>
                <a:lnTo>
                  <a:pt x="1251" y="452"/>
                </a:lnTo>
                <a:lnTo>
                  <a:pt x="1308" y="468"/>
                </a:lnTo>
                <a:lnTo>
                  <a:pt x="1308" y="507"/>
                </a:lnTo>
                <a:lnTo>
                  <a:pt x="1308" y="539"/>
                </a:lnTo>
                <a:lnTo>
                  <a:pt x="1300" y="587"/>
                </a:lnTo>
                <a:lnTo>
                  <a:pt x="1275" y="618"/>
                </a:lnTo>
                <a:lnTo>
                  <a:pt x="1308" y="666"/>
                </a:lnTo>
                <a:lnTo>
                  <a:pt x="1348" y="729"/>
                </a:lnTo>
                <a:lnTo>
                  <a:pt x="1405" y="761"/>
                </a:lnTo>
                <a:cubicBezTo>
                  <a:pt x="1405" y="761"/>
                  <a:pt x="1413" y="753"/>
                  <a:pt x="1470" y="761"/>
                </a:cubicBezTo>
                <a:cubicBezTo>
                  <a:pt x="1527" y="777"/>
                  <a:pt x="1543" y="824"/>
                  <a:pt x="1543" y="824"/>
                </a:cubicBezTo>
                <a:lnTo>
                  <a:pt x="1576" y="864"/>
                </a:lnTo>
                <a:lnTo>
                  <a:pt x="1625" y="896"/>
                </a:lnTo>
                <a:lnTo>
                  <a:pt x="1649" y="920"/>
                </a:lnTo>
                <a:lnTo>
                  <a:pt x="1641" y="991"/>
                </a:lnTo>
                <a:cubicBezTo>
                  <a:pt x="1641" y="991"/>
                  <a:pt x="1616" y="1031"/>
                  <a:pt x="1625" y="1062"/>
                </a:cubicBezTo>
                <a:cubicBezTo>
                  <a:pt x="1625" y="1102"/>
                  <a:pt x="1600" y="1157"/>
                  <a:pt x="1600" y="1173"/>
                </a:cubicBezTo>
                <a:cubicBezTo>
                  <a:pt x="1600" y="1181"/>
                  <a:pt x="1584" y="1245"/>
                  <a:pt x="1584" y="1245"/>
                </a:cubicBezTo>
                <a:lnTo>
                  <a:pt x="1608" y="1300"/>
                </a:lnTo>
                <a:lnTo>
                  <a:pt x="1641" y="1332"/>
                </a:lnTo>
                <a:lnTo>
                  <a:pt x="1689" y="1387"/>
                </a:lnTo>
                <a:lnTo>
                  <a:pt x="1754" y="1459"/>
                </a:lnTo>
                <a:lnTo>
                  <a:pt x="1779" y="1514"/>
                </a:lnTo>
                <a:cubicBezTo>
                  <a:pt x="1779" y="1514"/>
                  <a:pt x="1844" y="1554"/>
                  <a:pt x="1844" y="1562"/>
                </a:cubicBezTo>
                <a:cubicBezTo>
                  <a:pt x="1844" y="1570"/>
                  <a:pt x="1868" y="1609"/>
                  <a:pt x="1868" y="1609"/>
                </a:cubicBezTo>
                <a:lnTo>
                  <a:pt x="1901" y="1665"/>
                </a:lnTo>
                <a:lnTo>
                  <a:pt x="1892" y="1705"/>
                </a:lnTo>
                <a:lnTo>
                  <a:pt x="1868" y="1744"/>
                </a:lnTo>
                <a:lnTo>
                  <a:pt x="1868" y="1768"/>
                </a:lnTo>
                <a:lnTo>
                  <a:pt x="1892" y="1800"/>
                </a:lnTo>
                <a:lnTo>
                  <a:pt x="1884" y="1831"/>
                </a:lnTo>
                <a:lnTo>
                  <a:pt x="1909" y="1879"/>
                </a:lnTo>
                <a:lnTo>
                  <a:pt x="1892" y="1911"/>
                </a:lnTo>
                <a:lnTo>
                  <a:pt x="1933" y="1927"/>
                </a:lnTo>
                <a:cubicBezTo>
                  <a:pt x="1933" y="1927"/>
                  <a:pt x="1941" y="1935"/>
                  <a:pt x="1933" y="1950"/>
                </a:cubicBezTo>
                <a:cubicBezTo>
                  <a:pt x="1925" y="1958"/>
                  <a:pt x="1917" y="2014"/>
                  <a:pt x="1917" y="2014"/>
                </a:cubicBezTo>
                <a:lnTo>
                  <a:pt x="1957" y="2077"/>
                </a:lnTo>
                <a:lnTo>
                  <a:pt x="2014" y="2085"/>
                </a:lnTo>
                <a:cubicBezTo>
                  <a:pt x="2014" y="2085"/>
                  <a:pt x="2047" y="2085"/>
                  <a:pt x="2047" y="2093"/>
                </a:cubicBezTo>
                <a:cubicBezTo>
                  <a:pt x="2055" y="2101"/>
                  <a:pt x="2063" y="2125"/>
                  <a:pt x="2063" y="2125"/>
                </a:cubicBezTo>
                <a:lnTo>
                  <a:pt x="2039" y="2172"/>
                </a:lnTo>
                <a:cubicBezTo>
                  <a:pt x="2039" y="2172"/>
                  <a:pt x="2047" y="2196"/>
                  <a:pt x="2071" y="2212"/>
                </a:cubicBezTo>
                <a:cubicBezTo>
                  <a:pt x="2087" y="2220"/>
                  <a:pt x="2104" y="2220"/>
                  <a:pt x="2104" y="2236"/>
                </a:cubicBezTo>
                <a:cubicBezTo>
                  <a:pt x="2112" y="2252"/>
                  <a:pt x="2112" y="2276"/>
                  <a:pt x="2120" y="2268"/>
                </a:cubicBezTo>
                <a:cubicBezTo>
                  <a:pt x="2136" y="2268"/>
                  <a:pt x="2169" y="2276"/>
                  <a:pt x="2169" y="2276"/>
                </a:cubicBezTo>
                <a:lnTo>
                  <a:pt x="2193" y="2315"/>
                </a:lnTo>
                <a:lnTo>
                  <a:pt x="2209" y="2347"/>
                </a:lnTo>
                <a:lnTo>
                  <a:pt x="2209" y="2379"/>
                </a:lnTo>
                <a:cubicBezTo>
                  <a:pt x="2209" y="2394"/>
                  <a:pt x="2201" y="2442"/>
                  <a:pt x="2201" y="2442"/>
                </a:cubicBezTo>
                <a:lnTo>
                  <a:pt x="2160" y="2505"/>
                </a:lnTo>
                <a:cubicBezTo>
                  <a:pt x="2160" y="2505"/>
                  <a:pt x="2193" y="2545"/>
                  <a:pt x="2217" y="2561"/>
                </a:cubicBezTo>
                <a:cubicBezTo>
                  <a:pt x="2242" y="2577"/>
                  <a:pt x="2274" y="2601"/>
                  <a:pt x="2282" y="2601"/>
                </a:cubicBezTo>
                <a:cubicBezTo>
                  <a:pt x="2290" y="2601"/>
                  <a:pt x="2331" y="2609"/>
                  <a:pt x="2347" y="2616"/>
                </a:cubicBezTo>
                <a:cubicBezTo>
                  <a:pt x="2355" y="2616"/>
                  <a:pt x="2388" y="2632"/>
                  <a:pt x="2396" y="2640"/>
                </a:cubicBezTo>
                <a:cubicBezTo>
                  <a:pt x="2404" y="2648"/>
                  <a:pt x="2461" y="2680"/>
                  <a:pt x="2461" y="2680"/>
                </a:cubicBezTo>
                <a:lnTo>
                  <a:pt x="2510" y="2704"/>
                </a:lnTo>
                <a:lnTo>
                  <a:pt x="2558" y="2743"/>
                </a:lnTo>
                <a:lnTo>
                  <a:pt x="2575" y="2839"/>
                </a:lnTo>
                <a:cubicBezTo>
                  <a:pt x="2575" y="2839"/>
                  <a:pt x="2558" y="2981"/>
                  <a:pt x="2550" y="2997"/>
                </a:cubicBezTo>
                <a:cubicBezTo>
                  <a:pt x="2550" y="3013"/>
                  <a:pt x="2526" y="3084"/>
                  <a:pt x="2518" y="3092"/>
                </a:cubicBezTo>
                <a:cubicBezTo>
                  <a:pt x="2502" y="3100"/>
                  <a:pt x="2485" y="3108"/>
                  <a:pt x="2485" y="3124"/>
                </a:cubicBezTo>
                <a:cubicBezTo>
                  <a:pt x="2485" y="3140"/>
                  <a:pt x="2461" y="3227"/>
                  <a:pt x="2461" y="3227"/>
                </a:cubicBezTo>
                <a:cubicBezTo>
                  <a:pt x="2461" y="3227"/>
                  <a:pt x="2437" y="3283"/>
                  <a:pt x="2437" y="3298"/>
                </a:cubicBezTo>
                <a:cubicBezTo>
                  <a:pt x="2437" y="3314"/>
                  <a:pt x="2412" y="3362"/>
                  <a:pt x="2412" y="3378"/>
                </a:cubicBezTo>
                <a:cubicBezTo>
                  <a:pt x="2404" y="3386"/>
                  <a:pt x="2388" y="3449"/>
                  <a:pt x="2388" y="3449"/>
                </a:cubicBezTo>
                <a:lnTo>
                  <a:pt x="2282" y="3655"/>
                </a:lnTo>
                <a:lnTo>
                  <a:pt x="2258" y="3735"/>
                </a:lnTo>
                <a:cubicBezTo>
                  <a:pt x="2258" y="3735"/>
                  <a:pt x="2234" y="3743"/>
                  <a:pt x="2225" y="3758"/>
                </a:cubicBezTo>
                <a:cubicBezTo>
                  <a:pt x="2217" y="3782"/>
                  <a:pt x="2209" y="3798"/>
                  <a:pt x="2201" y="3822"/>
                </a:cubicBezTo>
                <a:cubicBezTo>
                  <a:pt x="2201" y="3838"/>
                  <a:pt x="2160" y="3909"/>
                  <a:pt x="2160" y="3909"/>
                </a:cubicBezTo>
                <a:lnTo>
                  <a:pt x="2144" y="3949"/>
                </a:lnTo>
                <a:lnTo>
                  <a:pt x="2112" y="3988"/>
                </a:lnTo>
                <a:lnTo>
                  <a:pt x="2087" y="4004"/>
                </a:lnTo>
                <a:lnTo>
                  <a:pt x="2071" y="4004"/>
                </a:lnTo>
                <a:lnTo>
                  <a:pt x="2031" y="4004"/>
                </a:lnTo>
                <a:lnTo>
                  <a:pt x="2006" y="3988"/>
                </a:lnTo>
                <a:lnTo>
                  <a:pt x="1982" y="4004"/>
                </a:lnTo>
                <a:cubicBezTo>
                  <a:pt x="1982" y="4012"/>
                  <a:pt x="1966" y="4020"/>
                  <a:pt x="1966" y="4028"/>
                </a:cubicBezTo>
                <a:cubicBezTo>
                  <a:pt x="1966" y="4028"/>
                  <a:pt x="1957" y="4044"/>
                  <a:pt x="1949" y="4044"/>
                </a:cubicBezTo>
                <a:cubicBezTo>
                  <a:pt x="1941" y="4052"/>
                  <a:pt x="1933" y="4060"/>
                  <a:pt x="1925" y="4060"/>
                </a:cubicBezTo>
                <a:cubicBezTo>
                  <a:pt x="1925" y="4068"/>
                  <a:pt x="1909" y="4068"/>
                  <a:pt x="1909" y="4068"/>
                </a:cubicBezTo>
                <a:cubicBezTo>
                  <a:pt x="1909" y="4068"/>
                  <a:pt x="1909" y="4076"/>
                  <a:pt x="1901" y="4083"/>
                </a:cubicBezTo>
                <a:cubicBezTo>
                  <a:pt x="1901" y="4083"/>
                  <a:pt x="1876" y="4083"/>
                  <a:pt x="1868" y="4076"/>
                </a:cubicBezTo>
                <a:cubicBezTo>
                  <a:pt x="1860" y="4068"/>
                  <a:pt x="1844" y="4060"/>
                  <a:pt x="1852" y="4060"/>
                </a:cubicBezTo>
                <a:cubicBezTo>
                  <a:pt x="1852" y="4068"/>
                  <a:pt x="1844" y="4083"/>
                  <a:pt x="1844" y="4083"/>
                </a:cubicBezTo>
                <a:cubicBezTo>
                  <a:pt x="1844" y="4091"/>
                  <a:pt x="1827" y="4115"/>
                  <a:pt x="1819" y="4115"/>
                </a:cubicBezTo>
                <a:cubicBezTo>
                  <a:pt x="1811" y="4115"/>
                  <a:pt x="1795" y="4107"/>
                  <a:pt x="1787" y="4099"/>
                </a:cubicBezTo>
                <a:lnTo>
                  <a:pt x="1771" y="4099"/>
                </a:lnTo>
                <a:lnTo>
                  <a:pt x="1771" y="4139"/>
                </a:lnTo>
                <a:lnTo>
                  <a:pt x="1771" y="4155"/>
                </a:lnTo>
                <a:cubicBezTo>
                  <a:pt x="1763" y="4155"/>
                  <a:pt x="1746" y="4163"/>
                  <a:pt x="1746" y="4163"/>
                </a:cubicBezTo>
                <a:cubicBezTo>
                  <a:pt x="1746" y="4163"/>
                  <a:pt x="1754" y="4179"/>
                  <a:pt x="1746" y="4179"/>
                </a:cubicBezTo>
                <a:cubicBezTo>
                  <a:pt x="1738" y="4187"/>
                  <a:pt x="1730" y="4194"/>
                  <a:pt x="1722" y="4194"/>
                </a:cubicBezTo>
                <a:cubicBezTo>
                  <a:pt x="1722" y="4187"/>
                  <a:pt x="1706" y="4179"/>
                  <a:pt x="1706" y="4179"/>
                </a:cubicBezTo>
                <a:cubicBezTo>
                  <a:pt x="1698" y="4187"/>
                  <a:pt x="1689" y="4202"/>
                  <a:pt x="1689" y="4202"/>
                </a:cubicBezTo>
                <a:cubicBezTo>
                  <a:pt x="1689" y="4210"/>
                  <a:pt x="1681" y="4218"/>
                  <a:pt x="1681" y="4218"/>
                </a:cubicBezTo>
                <a:lnTo>
                  <a:pt x="1624" y="4282"/>
                </a:lnTo>
                <a:cubicBezTo>
                  <a:pt x="1616" y="4282"/>
                  <a:pt x="1600" y="4258"/>
                  <a:pt x="1600" y="4258"/>
                </a:cubicBezTo>
                <a:lnTo>
                  <a:pt x="1600" y="4282"/>
                </a:lnTo>
                <a:cubicBezTo>
                  <a:pt x="1592" y="4290"/>
                  <a:pt x="1576" y="4298"/>
                  <a:pt x="1576" y="4298"/>
                </a:cubicBezTo>
                <a:cubicBezTo>
                  <a:pt x="1576" y="4306"/>
                  <a:pt x="1568" y="4298"/>
                  <a:pt x="1560" y="4298"/>
                </a:cubicBezTo>
                <a:cubicBezTo>
                  <a:pt x="1560" y="4306"/>
                  <a:pt x="1551" y="4306"/>
                  <a:pt x="1551" y="4313"/>
                </a:cubicBezTo>
                <a:cubicBezTo>
                  <a:pt x="1551" y="4321"/>
                  <a:pt x="1543" y="4329"/>
                  <a:pt x="1543" y="4329"/>
                </a:cubicBezTo>
                <a:cubicBezTo>
                  <a:pt x="1543" y="4329"/>
                  <a:pt x="1527" y="4337"/>
                  <a:pt x="1527" y="4345"/>
                </a:cubicBezTo>
                <a:cubicBezTo>
                  <a:pt x="1519" y="4353"/>
                  <a:pt x="1503" y="4361"/>
                  <a:pt x="1503" y="4361"/>
                </a:cubicBezTo>
                <a:cubicBezTo>
                  <a:pt x="1503" y="4361"/>
                  <a:pt x="1495" y="4369"/>
                  <a:pt x="1486" y="4361"/>
                </a:cubicBezTo>
                <a:cubicBezTo>
                  <a:pt x="1478" y="4361"/>
                  <a:pt x="1462" y="4337"/>
                  <a:pt x="1462" y="4337"/>
                </a:cubicBezTo>
                <a:cubicBezTo>
                  <a:pt x="1462" y="4337"/>
                  <a:pt x="1446" y="4337"/>
                  <a:pt x="1446" y="4345"/>
                </a:cubicBezTo>
                <a:cubicBezTo>
                  <a:pt x="1438" y="4353"/>
                  <a:pt x="1438" y="4361"/>
                  <a:pt x="1430" y="4361"/>
                </a:cubicBezTo>
                <a:cubicBezTo>
                  <a:pt x="1421" y="4369"/>
                  <a:pt x="1413" y="4369"/>
                  <a:pt x="1405" y="4369"/>
                </a:cubicBezTo>
                <a:cubicBezTo>
                  <a:pt x="1397" y="4377"/>
                  <a:pt x="1381" y="4377"/>
                  <a:pt x="1381" y="4385"/>
                </a:cubicBezTo>
                <a:cubicBezTo>
                  <a:pt x="1373" y="4385"/>
                  <a:pt x="1365" y="4401"/>
                  <a:pt x="1365" y="4409"/>
                </a:cubicBezTo>
                <a:cubicBezTo>
                  <a:pt x="1365" y="4417"/>
                  <a:pt x="1381" y="4417"/>
                  <a:pt x="1365" y="4417"/>
                </a:cubicBezTo>
                <a:cubicBezTo>
                  <a:pt x="1348" y="4424"/>
                  <a:pt x="1324" y="4424"/>
                  <a:pt x="1324" y="4424"/>
                </a:cubicBezTo>
                <a:cubicBezTo>
                  <a:pt x="1324" y="4424"/>
                  <a:pt x="1308" y="4432"/>
                  <a:pt x="1308" y="4440"/>
                </a:cubicBezTo>
                <a:cubicBezTo>
                  <a:pt x="1300" y="4448"/>
                  <a:pt x="1308" y="4448"/>
                  <a:pt x="1292" y="4456"/>
                </a:cubicBezTo>
                <a:cubicBezTo>
                  <a:pt x="1283" y="4456"/>
                  <a:pt x="1275" y="4464"/>
                  <a:pt x="1275" y="4464"/>
                </a:cubicBezTo>
                <a:lnTo>
                  <a:pt x="1259" y="4448"/>
                </a:lnTo>
                <a:lnTo>
                  <a:pt x="1267" y="4432"/>
                </a:lnTo>
                <a:cubicBezTo>
                  <a:pt x="1267" y="4432"/>
                  <a:pt x="1259" y="4417"/>
                  <a:pt x="1259" y="4424"/>
                </a:cubicBezTo>
                <a:cubicBezTo>
                  <a:pt x="1251" y="4440"/>
                  <a:pt x="1259" y="4448"/>
                  <a:pt x="1259" y="4448"/>
                </a:cubicBezTo>
                <a:cubicBezTo>
                  <a:pt x="1259" y="4448"/>
                  <a:pt x="1251" y="4448"/>
                  <a:pt x="1251" y="4456"/>
                </a:cubicBezTo>
                <a:cubicBezTo>
                  <a:pt x="1243" y="4464"/>
                  <a:pt x="1251" y="4464"/>
                  <a:pt x="1243" y="4472"/>
                </a:cubicBezTo>
                <a:cubicBezTo>
                  <a:pt x="1243" y="4480"/>
                  <a:pt x="1235" y="4488"/>
                  <a:pt x="1227" y="4488"/>
                </a:cubicBezTo>
                <a:cubicBezTo>
                  <a:pt x="1227" y="4496"/>
                  <a:pt x="1218" y="4496"/>
                  <a:pt x="1210" y="4496"/>
                </a:cubicBezTo>
                <a:lnTo>
                  <a:pt x="1194" y="4496"/>
                </a:lnTo>
                <a:cubicBezTo>
                  <a:pt x="1186" y="4496"/>
                  <a:pt x="1178" y="4488"/>
                  <a:pt x="1186" y="4488"/>
                </a:cubicBezTo>
                <a:lnTo>
                  <a:pt x="1202" y="4480"/>
                </a:lnTo>
                <a:cubicBezTo>
                  <a:pt x="1202" y="4480"/>
                  <a:pt x="1210" y="4472"/>
                  <a:pt x="1202" y="4472"/>
                </a:cubicBezTo>
                <a:cubicBezTo>
                  <a:pt x="1194" y="4464"/>
                  <a:pt x="1186" y="4456"/>
                  <a:pt x="1186" y="4456"/>
                </a:cubicBezTo>
                <a:cubicBezTo>
                  <a:pt x="1186" y="4456"/>
                  <a:pt x="1194" y="4464"/>
                  <a:pt x="1170" y="4464"/>
                </a:cubicBezTo>
                <a:cubicBezTo>
                  <a:pt x="1154" y="4472"/>
                  <a:pt x="1145" y="4472"/>
                  <a:pt x="1145" y="4464"/>
                </a:cubicBezTo>
                <a:cubicBezTo>
                  <a:pt x="1145" y="4464"/>
                  <a:pt x="1129" y="4464"/>
                  <a:pt x="1137" y="4456"/>
                </a:cubicBezTo>
                <a:cubicBezTo>
                  <a:pt x="1154" y="4448"/>
                  <a:pt x="1154" y="4440"/>
                  <a:pt x="1162" y="4440"/>
                </a:cubicBezTo>
                <a:cubicBezTo>
                  <a:pt x="1170" y="4440"/>
                  <a:pt x="1170" y="4424"/>
                  <a:pt x="1170" y="4417"/>
                </a:cubicBezTo>
                <a:cubicBezTo>
                  <a:pt x="1170" y="4417"/>
                  <a:pt x="1186" y="4432"/>
                  <a:pt x="1162" y="4417"/>
                </a:cubicBezTo>
                <a:lnTo>
                  <a:pt x="1145" y="4393"/>
                </a:lnTo>
                <a:cubicBezTo>
                  <a:pt x="1145" y="4393"/>
                  <a:pt x="1137" y="4401"/>
                  <a:pt x="1137" y="4409"/>
                </a:cubicBezTo>
                <a:cubicBezTo>
                  <a:pt x="1145" y="4417"/>
                  <a:pt x="1162" y="4424"/>
                  <a:pt x="1137" y="4432"/>
                </a:cubicBezTo>
                <a:lnTo>
                  <a:pt x="1113" y="4432"/>
                </a:lnTo>
                <a:cubicBezTo>
                  <a:pt x="1105" y="4440"/>
                  <a:pt x="1080" y="4440"/>
                  <a:pt x="1080" y="4440"/>
                </a:cubicBezTo>
                <a:cubicBezTo>
                  <a:pt x="1080" y="4440"/>
                  <a:pt x="1064" y="4440"/>
                  <a:pt x="1072" y="4448"/>
                </a:cubicBezTo>
                <a:cubicBezTo>
                  <a:pt x="1072" y="4456"/>
                  <a:pt x="1089" y="4464"/>
                  <a:pt x="1089" y="4464"/>
                </a:cubicBezTo>
                <a:cubicBezTo>
                  <a:pt x="1089" y="4464"/>
                  <a:pt x="1089" y="4472"/>
                  <a:pt x="1072" y="4472"/>
                </a:cubicBezTo>
                <a:cubicBezTo>
                  <a:pt x="1064" y="4480"/>
                  <a:pt x="1048" y="4480"/>
                  <a:pt x="1048" y="4480"/>
                </a:cubicBezTo>
                <a:lnTo>
                  <a:pt x="1040" y="4488"/>
                </a:lnTo>
                <a:cubicBezTo>
                  <a:pt x="1040" y="4488"/>
                  <a:pt x="1032" y="4488"/>
                  <a:pt x="1032" y="4480"/>
                </a:cubicBezTo>
                <a:cubicBezTo>
                  <a:pt x="1032" y="4480"/>
                  <a:pt x="1040" y="4472"/>
                  <a:pt x="1040" y="4464"/>
                </a:cubicBezTo>
                <a:cubicBezTo>
                  <a:pt x="1040" y="4456"/>
                  <a:pt x="1048" y="4464"/>
                  <a:pt x="1040" y="4456"/>
                </a:cubicBezTo>
                <a:cubicBezTo>
                  <a:pt x="1032" y="4440"/>
                  <a:pt x="1024" y="4440"/>
                  <a:pt x="1024" y="4432"/>
                </a:cubicBezTo>
                <a:cubicBezTo>
                  <a:pt x="1032" y="4424"/>
                  <a:pt x="1048" y="4417"/>
                  <a:pt x="1048" y="4417"/>
                </a:cubicBezTo>
                <a:lnTo>
                  <a:pt x="1048" y="4401"/>
                </a:lnTo>
                <a:cubicBezTo>
                  <a:pt x="1048" y="4401"/>
                  <a:pt x="1040" y="4401"/>
                  <a:pt x="1048" y="4393"/>
                </a:cubicBezTo>
                <a:cubicBezTo>
                  <a:pt x="1056" y="4377"/>
                  <a:pt x="1064" y="4369"/>
                  <a:pt x="1064" y="4369"/>
                </a:cubicBezTo>
                <a:cubicBezTo>
                  <a:pt x="1064" y="4361"/>
                  <a:pt x="1056" y="4353"/>
                  <a:pt x="1048" y="4353"/>
                </a:cubicBezTo>
                <a:cubicBezTo>
                  <a:pt x="1048" y="4353"/>
                  <a:pt x="1040" y="4369"/>
                  <a:pt x="1040" y="4377"/>
                </a:cubicBezTo>
                <a:cubicBezTo>
                  <a:pt x="1040" y="4377"/>
                  <a:pt x="1048" y="4393"/>
                  <a:pt x="1024" y="4385"/>
                </a:cubicBezTo>
                <a:cubicBezTo>
                  <a:pt x="999" y="4385"/>
                  <a:pt x="983" y="4385"/>
                  <a:pt x="975" y="4377"/>
                </a:cubicBezTo>
                <a:cubicBezTo>
                  <a:pt x="975" y="4369"/>
                  <a:pt x="959" y="4361"/>
                  <a:pt x="983" y="4361"/>
                </a:cubicBezTo>
                <a:lnTo>
                  <a:pt x="1007" y="4353"/>
                </a:lnTo>
                <a:cubicBezTo>
                  <a:pt x="1015" y="4345"/>
                  <a:pt x="1015" y="4337"/>
                  <a:pt x="1015" y="4329"/>
                </a:cubicBezTo>
                <a:cubicBezTo>
                  <a:pt x="1007" y="4329"/>
                  <a:pt x="999" y="4313"/>
                  <a:pt x="999" y="4321"/>
                </a:cubicBezTo>
                <a:cubicBezTo>
                  <a:pt x="991" y="4337"/>
                  <a:pt x="991" y="4345"/>
                  <a:pt x="991" y="4345"/>
                </a:cubicBezTo>
                <a:lnTo>
                  <a:pt x="959" y="4345"/>
                </a:lnTo>
                <a:cubicBezTo>
                  <a:pt x="959" y="4345"/>
                  <a:pt x="950" y="4337"/>
                  <a:pt x="950" y="4329"/>
                </a:cubicBezTo>
                <a:lnTo>
                  <a:pt x="959" y="4298"/>
                </a:lnTo>
                <a:cubicBezTo>
                  <a:pt x="959" y="4298"/>
                  <a:pt x="975" y="4290"/>
                  <a:pt x="967" y="4290"/>
                </a:cubicBezTo>
                <a:cubicBezTo>
                  <a:pt x="967" y="4290"/>
                  <a:pt x="950" y="4282"/>
                  <a:pt x="950" y="4290"/>
                </a:cubicBezTo>
                <a:cubicBezTo>
                  <a:pt x="942" y="4290"/>
                  <a:pt x="950" y="4298"/>
                  <a:pt x="950" y="4306"/>
                </a:cubicBezTo>
                <a:cubicBezTo>
                  <a:pt x="950" y="4313"/>
                  <a:pt x="950" y="4321"/>
                  <a:pt x="942" y="4321"/>
                </a:cubicBezTo>
                <a:cubicBezTo>
                  <a:pt x="934" y="4329"/>
                  <a:pt x="902" y="4329"/>
                  <a:pt x="902" y="4329"/>
                </a:cubicBezTo>
                <a:cubicBezTo>
                  <a:pt x="902" y="4321"/>
                  <a:pt x="894" y="4321"/>
                  <a:pt x="902" y="4313"/>
                </a:cubicBezTo>
                <a:lnTo>
                  <a:pt x="902" y="4298"/>
                </a:lnTo>
                <a:cubicBezTo>
                  <a:pt x="902" y="4298"/>
                  <a:pt x="894" y="4282"/>
                  <a:pt x="894" y="4290"/>
                </a:cubicBezTo>
                <a:lnTo>
                  <a:pt x="877" y="4290"/>
                </a:lnTo>
                <a:lnTo>
                  <a:pt x="877" y="4274"/>
                </a:lnTo>
                <a:lnTo>
                  <a:pt x="861" y="4274"/>
                </a:lnTo>
                <a:lnTo>
                  <a:pt x="853" y="4274"/>
                </a:lnTo>
                <a:lnTo>
                  <a:pt x="845" y="4266"/>
                </a:lnTo>
                <a:cubicBezTo>
                  <a:pt x="837" y="4266"/>
                  <a:pt x="837" y="4266"/>
                  <a:pt x="837" y="4274"/>
                </a:cubicBezTo>
                <a:cubicBezTo>
                  <a:pt x="829" y="4274"/>
                  <a:pt x="804" y="4282"/>
                  <a:pt x="804" y="4282"/>
                </a:cubicBezTo>
                <a:cubicBezTo>
                  <a:pt x="804" y="4282"/>
                  <a:pt x="804" y="4266"/>
                  <a:pt x="796" y="4282"/>
                </a:cubicBezTo>
                <a:cubicBezTo>
                  <a:pt x="796" y="4290"/>
                  <a:pt x="756" y="4290"/>
                  <a:pt x="756" y="4290"/>
                </a:cubicBezTo>
                <a:cubicBezTo>
                  <a:pt x="756" y="4290"/>
                  <a:pt x="747" y="4274"/>
                  <a:pt x="747" y="4266"/>
                </a:cubicBezTo>
                <a:lnTo>
                  <a:pt x="756" y="4242"/>
                </a:lnTo>
                <a:lnTo>
                  <a:pt x="764" y="4234"/>
                </a:lnTo>
                <a:lnTo>
                  <a:pt x="756" y="4226"/>
                </a:lnTo>
                <a:cubicBezTo>
                  <a:pt x="756" y="4226"/>
                  <a:pt x="731" y="4226"/>
                  <a:pt x="739" y="4226"/>
                </a:cubicBezTo>
                <a:cubicBezTo>
                  <a:pt x="739" y="4218"/>
                  <a:pt x="756" y="4202"/>
                  <a:pt x="756" y="4202"/>
                </a:cubicBezTo>
                <a:lnTo>
                  <a:pt x="764" y="4194"/>
                </a:lnTo>
                <a:cubicBezTo>
                  <a:pt x="772" y="4187"/>
                  <a:pt x="788" y="4187"/>
                  <a:pt x="780" y="4179"/>
                </a:cubicBezTo>
                <a:cubicBezTo>
                  <a:pt x="772" y="4179"/>
                  <a:pt x="764" y="4171"/>
                  <a:pt x="764" y="4171"/>
                </a:cubicBezTo>
                <a:cubicBezTo>
                  <a:pt x="764" y="4171"/>
                  <a:pt x="756" y="4171"/>
                  <a:pt x="756" y="4163"/>
                </a:cubicBezTo>
                <a:cubicBezTo>
                  <a:pt x="756" y="4163"/>
                  <a:pt x="764" y="4147"/>
                  <a:pt x="764" y="4139"/>
                </a:cubicBezTo>
                <a:cubicBezTo>
                  <a:pt x="764" y="4131"/>
                  <a:pt x="756" y="4123"/>
                  <a:pt x="756" y="4123"/>
                </a:cubicBezTo>
                <a:cubicBezTo>
                  <a:pt x="747" y="4123"/>
                  <a:pt x="756" y="4131"/>
                  <a:pt x="739" y="4131"/>
                </a:cubicBezTo>
                <a:cubicBezTo>
                  <a:pt x="731" y="4139"/>
                  <a:pt x="707" y="4155"/>
                  <a:pt x="707" y="4155"/>
                </a:cubicBezTo>
                <a:lnTo>
                  <a:pt x="707" y="4131"/>
                </a:lnTo>
                <a:cubicBezTo>
                  <a:pt x="715" y="4123"/>
                  <a:pt x="739" y="4123"/>
                  <a:pt x="747" y="4115"/>
                </a:cubicBezTo>
                <a:cubicBezTo>
                  <a:pt x="747" y="4107"/>
                  <a:pt x="731" y="4083"/>
                  <a:pt x="731" y="4083"/>
                </a:cubicBezTo>
                <a:cubicBezTo>
                  <a:pt x="731" y="4083"/>
                  <a:pt x="747" y="4091"/>
                  <a:pt x="739" y="4076"/>
                </a:cubicBezTo>
                <a:lnTo>
                  <a:pt x="723" y="4068"/>
                </a:lnTo>
                <a:cubicBezTo>
                  <a:pt x="723" y="4060"/>
                  <a:pt x="723" y="4052"/>
                  <a:pt x="731" y="4044"/>
                </a:cubicBezTo>
                <a:cubicBezTo>
                  <a:pt x="739" y="4028"/>
                  <a:pt x="747" y="4028"/>
                  <a:pt x="747" y="4020"/>
                </a:cubicBezTo>
                <a:cubicBezTo>
                  <a:pt x="747" y="4020"/>
                  <a:pt x="723" y="4012"/>
                  <a:pt x="723" y="4004"/>
                </a:cubicBezTo>
                <a:cubicBezTo>
                  <a:pt x="723" y="3996"/>
                  <a:pt x="707" y="3996"/>
                  <a:pt x="723" y="3980"/>
                </a:cubicBezTo>
                <a:cubicBezTo>
                  <a:pt x="731" y="3972"/>
                  <a:pt x="739" y="3972"/>
                  <a:pt x="739" y="3972"/>
                </a:cubicBezTo>
                <a:lnTo>
                  <a:pt x="739" y="3941"/>
                </a:lnTo>
                <a:cubicBezTo>
                  <a:pt x="739" y="3933"/>
                  <a:pt x="747" y="3933"/>
                  <a:pt x="747" y="3925"/>
                </a:cubicBezTo>
                <a:cubicBezTo>
                  <a:pt x="739" y="3917"/>
                  <a:pt x="731" y="3917"/>
                  <a:pt x="723" y="3901"/>
                </a:cubicBezTo>
                <a:lnTo>
                  <a:pt x="723" y="3885"/>
                </a:lnTo>
                <a:cubicBezTo>
                  <a:pt x="731" y="3885"/>
                  <a:pt x="739" y="3877"/>
                  <a:pt x="731" y="3877"/>
                </a:cubicBezTo>
                <a:lnTo>
                  <a:pt x="731" y="3861"/>
                </a:lnTo>
                <a:lnTo>
                  <a:pt x="723" y="3846"/>
                </a:lnTo>
                <a:cubicBezTo>
                  <a:pt x="715" y="3838"/>
                  <a:pt x="715" y="3822"/>
                  <a:pt x="715" y="3814"/>
                </a:cubicBezTo>
                <a:cubicBezTo>
                  <a:pt x="715" y="3806"/>
                  <a:pt x="723" y="3774"/>
                  <a:pt x="723" y="3774"/>
                </a:cubicBezTo>
                <a:cubicBezTo>
                  <a:pt x="723" y="3774"/>
                  <a:pt x="723" y="3750"/>
                  <a:pt x="707" y="3743"/>
                </a:cubicBezTo>
                <a:cubicBezTo>
                  <a:pt x="699" y="3727"/>
                  <a:pt x="683" y="3719"/>
                  <a:pt x="683" y="3719"/>
                </a:cubicBezTo>
                <a:lnTo>
                  <a:pt x="683" y="3695"/>
                </a:lnTo>
                <a:cubicBezTo>
                  <a:pt x="683" y="3695"/>
                  <a:pt x="666" y="3687"/>
                  <a:pt x="666" y="3679"/>
                </a:cubicBezTo>
                <a:cubicBezTo>
                  <a:pt x="666" y="3671"/>
                  <a:pt x="658" y="3655"/>
                  <a:pt x="658" y="3655"/>
                </a:cubicBezTo>
                <a:cubicBezTo>
                  <a:pt x="658" y="3655"/>
                  <a:pt x="650" y="3655"/>
                  <a:pt x="658" y="3639"/>
                </a:cubicBezTo>
                <a:lnTo>
                  <a:pt x="658" y="3600"/>
                </a:lnTo>
                <a:cubicBezTo>
                  <a:pt x="650" y="3592"/>
                  <a:pt x="642" y="3576"/>
                  <a:pt x="642" y="3568"/>
                </a:cubicBezTo>
                <a:lnTo>
                  <a:pt x="642" y="3544"/>
                </a:lnTo>
                <a:cubicBezTo>
                  <a:pt x="642" y="3544"/>
                  <a:pt x="642" y="3536"/>
                  <a:pt x="634" y="3528"/>
                </a:cubicBezTo>
                <a:cubicBezTo>
                  <a:pt x="626" y="3520"/>
                  <a:pt x="601" y="3481"/>
                  <a:pt x="601" y="3481"/>
                </a:cubicBezTo>
                <a:cubicBezTo>
                  <a:pt x="601" y="3481"/>
                  <a:pt x="593" y="3481"/>
                  <a:pt x="593" y="3465"/>
                </a:cubicBezTo>
                <a:cubicBezTo>
                  <a:pt x="585" y="3449"/>
                  <a:pt x="585" y="3433"/>
                  <a:pt x="585" y="3433"/>
                </a:cubicBezTo>
                <a:lnTo>
                  <a:pt x="585" y="3409"/>
                </a:lnTo>
                <a:lnTo>
                  <a:pt x="561" y="3386"/>
                </a:lnTo>
                <a:lnTo>
                  <a:pt x="569" y="3354"/>
                </a:lnTo>
                <a:lnTo>
                  <a:pt x="569" y="3322"/>
                </a:lnTo>
                <a:cubicBezTo>
                  <a:pt x="569" y="3322"/>
                  <a:pt x="569" y="3283"/>
                  <a:pt x="577" y="3283"/>
                </a:cubicBezTo>
                <a:cubicBezTo>
                  <a:pt x="585" y="3283"/>
                  <a:pt x="601" y="3259"/>
                  <a:pt x="601" y="3259"/>
                </a:cubicBezTo>
                <a:cubicBezTo>
                  <a:pt x="601" y="3259"/>
                  <a:pt x="618" y="3235"/>
                  <a:pt x="609" y="3227"/>
                </a:cubicBezTo>
                <a:cubicBezTo>
                  <a:pt x="609" y="3219"/>
                  <a:pt x="601" y="3187"/>
                  <a:pt x="601" y="3187"/>
                </a:cubicBezTo>
                <a:cubicBezTo>
                  <a:pt x="601" y="3187"/>
                  <a:pt x="618" y="3164"/>
                  <a:pt x="609" y="3164"/>
                </a:cubicBezTo>
                <a:cubicBezTo>
                  <a:pt x="609" y="3156"/>
                  <a:pt x="593" y="3124"/>
                  <a:pt x="593" y="3124"/>
                </a:cubicBezTo>
                <a:lnTo>
                  <a:pt x="569" y="3148"/>
                </a:lnTo>
                <a:lnTo>
                  <a:pt x="553" y="3140"/>
                </a:lnTo>
                <a:lnTo>
                  <a:pt x="561" y="3108"/>
                </a:lnTo>
                <a:cubicBezTo>
                  <a:pt x="561" y="3108"/>
                  <a:pt x="544" y="3092"/>
                  <a:pt x="544" y="3084"/>
                </a:cubicBezTo>
                <a:cubicBezTo>
                  <a:pt x="544" y="3076"/>
                  <a:pt x="561" y="3060"/>
                  <a:pt x="561" y="3060"/>
                </a:cubicBezTo>
                <a:cubicBezTo>
                  <a:pt x="561" y="3060"/>
                  <a:pt x="577" y="3092"/>
                  <a:pt x="577" y="3100"/>
                </a:cubicBezTo>
                <a:cubicBezTo>
                  <a:pt x="577" y="3108"/>
                  <a:pt x="593" y="3116"/>
                  <a:pt x="593" y="3116"/>
                </a:cubicBezTo>
                <a:cubicBezTo>
                  <a:pt x="601" y="3108"/>
                  <a:pt x="601" y="3092"/>
                  <a:pt x="609" y="3092"/>
                </a:cubicBezTo>
                <a:cubicBezTo>
                  <a:pt x="618" y="3092"/>
                  <a:pt x="626" y="3100"/>
                  <a:pt x="626" y="3108"/>
                </a:cubicBezTo>
                <a:lnTo>
                  <a:pt x="658" y="3100"/>
                </a:lnTo>
                <a:cubicBezTo>
                  <a:pt x="658" y="3100"/>
                  <a:pt x="650" y="3092"/>
                  <a:pt x="674" y="3092"/>
                </a:cubicBezTo>
                <a:cubicBezTo>
                  <a:pt x="699" y="3100"/>
                  <a:pt x="699" y="3092"/>
                  <a:pt x="699" y="3076"/>
                </a:cubicBezTo>
                <a:cubicBezTo>
                  <a:pt x="699" y="3068"/>
                  <a:pt x="674" y="3037"/>
                  <a:pt x="691" y="3037"/>
                </a:cubicBezTo>
                <a:cubicBezTo>
                  <a:pt x="715" y="3037"/>
                  <a:pt x="723" y="3045"/>
                  <a:pt x="723" y="3045"/>
                </a:cubicBezTo>
                <a:lnTo>
                  <a:pt x="723" y="3060"/>
                </a:lnTo>
                <a:cubicBezTo>
                  <a:pt x="723" y="3076"/>
                  <a:pt x="748" y="3092"/>
                  <a:pt x="748" y="3076"/>
                </a:cubicBezTo>
                <a:cubicBezTo>
                  <a:pt x="756" y="3060"/>
                  <a:pt x="756" y="3068"/>
                  <a:pt x="756" y="3053"/>
                </a:cubicBezTo>
                <a:cubicBezTo>
                  <a:pt x="756" y="3037"/>
                  <a:pt x="739" y="3037"/>
                  <a:pt x="731" y="3021"/>
                </a:cubicBezTo>
                <a:cubicBezTo>
                  <a:pt x="731" y="3013"/>
                  <a:pt x="723" y="3029"/>
                  <a:pt x="723" y="3005"/>
                </a:cubicBezTo>
                <a:cubicBezTo>
                  <a:pt x="731" y="2981"/>
                  <a:pt x="731" y="2973"/>
                  <a:pt x="739" y="2973"/>
                </a:cubicBezTo>
                <a:lnTo>
                  <a:pt x="756" y="2965"/>
                </a:lnTo>
                <a:cubicBezTo>
                  <a:pt x="772" y="2965"/>
                  <a:pt x="780" y="2949"/>
                  <a:pt x="772" y="2926"/>
                </a:cubicBezTo>
                <a:cubicBezTo>
                  <a:pt x="772" y="2910"/>
                  <a:pt x="764" y="2902"/>
                  <a:pt x="772" y="2894"/>
                </a:cubicBezTo>
                <a:cubicBezTo>
                  <a:pt x="788" y="2886"/>
                  <a:pt x="780" y="2878"/>
                  <a:pt x="796" y="2886"/>
                </a:cubicBezTo>
                <a:cubicBezTo>
                  <a:pt x="812" y="2894"/>
                  <a:pt x="804" y="2894"/>
                  <a:pt x="821" y="2894"/>
                </a:cubicBezTo>
                <a:cubicBezTo>
                  <a:pt x="829" y="2886"/>
                  <a:pt x="829" y="2846"/>
                  <a:pt x="829" y="2846"/>
                </a:cubicBezTo>
                <a:cubicBezTo>
                  <a:pt x="821" y="2854"/>
                  <a:pt x="804" y="2838"/>
                  <a:pt x="804" y="2838"/>
                </a:cubicBezTo>
                <a:cubicBezTo>
                  <a:pt x="796" y="2838"/>
                  <a:pt x="796" y="2823"/>
                  <a:pt x="804" y="2815"/>
                </a:cubicBezTo>
                <a:cubicBezTo>
                  <a:pt x="804" y="2815"/>
                  <a:pt x="804" y="2799"/>
                  <a:pt x="812" y="2799"/>
                </a:cubicBezTo>
                <a:cubicBezTo>
                  <a:pt x="829" y="2799"/>
                  <a:pt x="829" y="2807"/>
                  <a:pt x="845" y="2799"/>
                </a:cubicBezTo>
                <a:cubicBezTo>
                  <a:pt x="853" y="2791"/>
                  <a:pt x="853" y="2791"/>
                  <a:pt x="861" y="2783"/>
                </a:cubicBezTo>
                <a:cubicBezTo>
                  <a:pt x="869" y="2775"/>
                  <a:pt x="877" y="2775"/>
                  <a:pt x="886" y="2759"/>
                </a:cubicBezTo>
                <a:cubicBezTo>
                  <a:pt x="886" y="2751"/>
                  <a:pt x="894" y="2704"/>
                  <a:pt x="894" y="2704"/>
                </a:cubicBezTo>
                <a:cubicBezTo>
                  <a:pt x="886" y="2696"/>
                  <a:pt x="902" y="2704"/>
                  <a:pt x="918" y="2696"/>
                </a:cubicBezTo>
                <a:cubicBezTo>
                  <a:pt x="926" y="2688"/>
                  <a:pt x="934" y="2640"/>
                  <a:pt x="942" y="2632"/>
                </a:cubicBezTo>
                <a:cubicBezTo>
                  <a:pt x="950" y="2616"/>
                  <a:pt x="975" y="2585"/>
                  <a:pt x="975" y="2577"/>
                </a:cubicBezTo>
                <a:cubicBezTo>
                  <a:pt x="975" y="2569"/>
                  <a:pt x="999" y="2513"/>
                  <a:pt x="999" y="2513"/>
                </a:cubicBezTo>
                <a:lnTo>
                  <a:pt x="1032" y="2458"/>
                </a:lnTo>
                <a:cubicBezTo>
                  <a:pt x="1032" y="2458"/>
                  <a:pt x="1032" y="2442"/>
                  <a:pt x="1024" y="2426"/>
                </a:cubicBezTo>
                <a:cubicBezTo>
                  <a:pt x="1024" y="2418"/>
                  <a:pt x="1015" y="2386"/>
                  <a:pt x="1024" y="2379"/>
                </a:cubicBezTo>
                <a:cubicBezTo>
                  <a:pt x="1032" y="2379"/>
                  <a:pt x="1040" y="2355"/>
                  <a:pt x="1040" y="2355"/>
                </a:cubicBezTo>
                <a:lnTo>
                  <a:pt x="1040" y="2323"/>
                </a:lnTo>
                <a:lnTo>
                  <a:pt x="1080" y="2299"/>
                </a:lnTo>
                <a:cubicBezTo>
                  <a:pt x="1129" y="2291"/>
                  <a:pt x="1097" y="2268"/>
                  <a:pt x="1154" y="2291"/>
                </a:cubicBezTo>
                <a:cubicBezTo>
                  <a:pt x="1154" y="2291"/>
                  <a:pt x="1186" y="2283"/>
                  <a:pt x="1178" y="2275"/>
                </a:cubicBezTo>
                <a:lnTo>
                  <a:pt x="1145" y="2244"/>
                </a:lnTo>
                <a:lnTo>
                  <a:pt x="1162" y="2220"/>
                </a:lnTo>
                <a:cubicBezTo>
                  <a:pt x="1162" y="2220"/>
                  <a:pt x="1186" y="2204"/>
                  <a:pt x="1162" y="2196"/>
                </a:cubicBezTo>
                <a:cubicBezTo>
                  <a:pt x="1145" y="2188"/>
                  <a:pt x="1129" y="2180"/>
                  <a:pt x="1129" y="2172"/>
                </a:cubicBezTo>
                <a:cubicBezTo>
                  <a:pt x="1129" y="2172"/>
                  <a:pt x="1121" y="2141"/>
                  <a:pt x="1121" y="2133"/>
                </a:cubicBezTo>
                <a:cubicBezTo>
                  <a:pt x="1121" y="2125"/>
                  <a:pt x="1113" y="2101"/>
                  <a:pt x="1113" y="2101"/>
                </a:cubicBezTo>
                <a:lnTo>
                  <a:pt x="1113" y="2061"/>
                </a:lnTo>
                <a:cubicBezTo>
                  <a:pt x="1113" y="2053"/>
                  <a:pt x="1105" y="2030"/>
                  <a:pt x="1097" y="2022"/>
                </a:cubicBezTo>
                <a:cubicBezTo>
                  <a:pt x="1089" y="2014"/>
                  <a:pt x="1056" y="1990"/>
                  <a:pt x="1056" y="1990"/>
                </a:cubicBezTo>
                <a:lnTo>
                  <a:pt x="999" y="1966"/>
                </a:lnTo>
                <a:lnTo>
                  <a:pt x="983" y="1982"/>
                </a:lnTo>
                <a:lnTo>
                  <a:pt x="942" y="1942"/>
                </a:lnTo>
                <a:lnTo>
                  <a:pt x="910" y="1934"/>
                </a:lnTo>
                <a:lnTo>
                  <a:pt x="877" y="1934"/>
                </a:lnTo>
                <a:lnTo>
                  <a:pt x="821" y="1816"/>
                </a:lnTo>
                <a:lnTo>
                  <a:pt x="772" y="1792"/>
                </a:lnTo>
                <a:lnTo>
                  <a:pt x="739" y="1760"/>
                </a:lnTo>
                <a:lnTo>
                  <a:pt x="739" y="1720"/>
                </a:lnTo>
                <a:lnTo>
                  <a:pt x="715" y="1689"/>
                </a:lnTo>
                <a:cubicBezTo>
                  <a:pt x="715" y="1689"/>
                  <a:pt x="723" y="1665"/>
                  <a:pt x="723" y="1657"/>
                </a:cubicBezTo>
                <a:cubicBezTo>
                  <a:pt x="731" y="1649"/>
                  <a:pt x="747" y="1609"/>
                  <a:pt x="747" y="1609"/>
                </a:cubicBezTo>
                <a:cubicBezTo>
                  <a:pt x="747" y="1609"/>
                  <a:pt x="739" y="1578"/>
                  <a:pt x="739" y="1570"/>
                </a:cubicBezTo>
                <a:cubicBezTo>
                  <a:pt x="739" y="1562"/>
                  <a:pt x="747" y="1522"/>
                  <a:pt x="747" y="1522"/>
                </a:cubicBezTo>
                <a:lnTo>
                  <a:pt x="739" y="1483"/>
                </a:lnTo>
                <a:lnTo>
                  <a:pt x="642" y="1371"/>
                </a:lnTo>
                <a:lnTo>
                  <a:pt x="650" y="1324"/>
                </a:lnTo>
                <a:lnTo>
                  <a:pt x="642" y="1300"/>
                </a:lnTo>
                <a:cubicBezTo>
                  <a:pt x="634" y="1276"/>
                  <a:pt x="634" y="1276"/>
                  <a:pt x="642" y="1260"/>
                </a:cubicBezTo>
                <a:lnTo>
                  <a:pt x="642" y="1253"/>
                </a:lnTo>
                <a:lnTo>
                  <a:pt x="609" y="1260"/>
                </a:lnTo>
                <a:lnTo>
                  <a:pt x="585" y="1229"/>
                </a:lnTo>
                <a:lnTo>
                  <a:pt x="593" y="1189"/>
                </a:lnTo>
                <a:lnTo>
                  <a:pt x="577" y="1094"/>
                </a:lnTo>
                <a:lnTo>
                  <a:pt x="593" y="1046"/>
                </a:lnTo>
                <a:lnTo>
                  <a:pt x="544" y="1023"/>
                </a:lnTo>
                <a:lnTo>
                  <a:pt x="512" y="975"/>
                </a:lnTo>
                <a:cubicBezTo>
                  <a:pt x="512" y="975"/>
                  <a:pt x="504" y="991"/>
                  <a:pt x="496" y="983"/>
                </a:cubicBezTo>
                <a:cubicBezTo>
                  <a:pt x="488" y="975"/>
                  <a:pt x="447" y="912"/>
                  <a:pt x="447" y="912"/>
                </a:cubicBezTo>
                <a:lnTo>
                  <a:pt x="374" y="888"/>
                </a:lnTo>
                <a:lnTo>
                  <a:pt x="341" y="872"/>
                </a:lnTo>
                <a:lnTo>
                  <a:pt x="301" y="864"/>
                </a:lnTo>
                <a:cubicBezTo>
                  <a:pt x="301" y="864"/>
                  <a:pt x="293" y="880"/>
                  <a:pt x="285" y="864"/>
                </a:cubicBezTo>
                <a:cubicBezTo>
                  <a:pt x="276" y="848"/>
                  <a:pt x="260" y="832"/>
                  <a:pt x="260" y="832"/>
                </a:cubicBezTo>
                <a:lnTo>
                  <a:pt x="228" y="840"/>
                </a:lnTo>
                <a:lnTo>
                  <a:pt x="203" y="808"/>
                </a:lnTo>
                <a:lnTo>
                  <a:pt x="187" y="808"/>
                </a:lnTo>
                <a:cubicBezTo>
                  <a:pt x="179" y="801"/>
                  <a:pt x="163" y="793"/>
                  <a:pt x="163" y="793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41" name="Freeform 233">
            <a:extLst>
              <a:ext uri="{FF2B5EF4-FFF2-40B4-BE49-F238E27FC236}">
                <a16:creationId xmlns:a16="http://schemas.microsoft.com/office/drawing/2014/main" id="{8FBFFEC4-B686-0673-4110-C71CDA30E3E7}"/>
              </a:ext>
            </a:extLst>
          </p:cNvPr>
          <p:cNvSpPr>
            <a:spLocks noChangeArrowheads="1"/>
          </p:cNvSpPr>
          <p:nvPr>
            <p:custDataLst>
              <p:tags r:id="rId232"/>
            </p:custDataLst>
          </p:nvPr>
        </p:nvSpPr>
        <p:spPr bwMode="auto">
          <a:xfrm>
            <a:off x="6603723" y="3950264"/>
            <a:ext cx="103239" cy="135842"/>
          </a:xfrm>
          <a:custGeom>
            <a:avLst/>
            <a:gdLst>
              <a:gd name="T0" fmla="*/ 6 w 252"/>
              <a:gd name="T1" fmla="*/ 264 h 329"/>
              <a:gd name="T2" fmla="*/ 15 w 252"/>
              <a:gd name="T3" fmla="*/ 256 h 329"/>
              <a:gd name="T4" fmla="*/ 39 w 252"/>
              <a:gd name="T5" fmla="*/ 256 h 329"/>
              <a:gd name="T6" fmla="*/ 48 w 252"/>
              <a:gd name="T7" fmla="*/ 241 h 329"/>
              <a:gd name="T8" fmla="*/ 64 w 252"/>
              <a:gd name="T9" fmla="*/ 225 h 329"/>
              <a:gd name="T10" fmla="*/ 64 w 252"/>
              <a:gd name="T11" fmla="*/ 210 h 329"/>
              <a:gd name="T12" fmla="*/ 56 w 252"/>
              <a:gd name="T13" fmla="*/ 186 h 329"/>
              <a:gd name="T14" fmla="*/ 48 w 252"/>
              <a:gd name="T15" fmla="*/ 186 h 329"/>
              <a:gd name="T16" fmla="*/ 39 w 252"/>
              <a:gd name="T17" fmla="*/ 171 h 329"/>
              <a:gd name="T18" fmla="*/ 31 w 252"/>
              <a:gd name="T19" fmla="*/ 155 h 329"/>
              <a:gd name="T20" fmla="*/ 23 w 252"/>
              <a:gd name="T21" fmla="*/ 155 h 329"/>
              <a:gd name="T22" fmla="*/ 31 w 252"/>
              <a:gd name="T23" fmla="*/ 140 h 329"/>
              <a:gd name="T24" fmla="*/ 31 w 252"/>
              <a:gd name="T25" fmla="*/ 124 h 329"/>
              <a:gd name="T26" fmla="*/ 23 w 252"/>
              <a:gd name="T27" fmla="*/ 116 h 329"/>
              <a:gd name="T28" fmla="*/ 23 w 252"/>
              <a:gd name="T29" fmla="*/ 109 h 329"/>
              <a:gd name="T30" fmla="*/ 48 w 252"/>
              <a:gd name="T31" fmla="*/ 93 h 329"/>
              <a:gd name="T32" fmla="*/ 56 w 252"/>
              <a:gd name="T33" fmla="*/ 70 h 329"/>
              <a:gd name="T34" fmla="*/ 56 w 252"/>
              <a:gd name="T35" fmla="*/ 62 h 329"/>
              <a:gd name="T36" fmla="*/ 64 w 252"/>
              <a:gd name="T37" fmla="*/ 46 h 329"/>
              <a:gd name="T38" fmla="*/ 73 w 252"/>
              <a:gd name="T39" fmla="*/ 31 h 329"/>
              <a:gd name="T40" fmla="*/ 81 w 252"/>
              <a:gd name="T41" fmla="*/ 23 h 329"/>
              <a:gd name="T42" fmla="*/ 97 w 252"/>
              <a:gd name="T43" fmla="*/ 8 h 329"/>
              <a:gd name="T44" fmla="*/ 106 w 252"/>
              <a:gd name="T45" fmla="*/ 0 h 329"/>
              <a:gd name="T46" fmla="*/ 122 w 252"/>
              <a:gd name="T47" fmla="*/ 8 h 329"/>
              <a:gd name="T48" fmla="*/ 130 w 252"/>
              <a:gd name="T49" fmla="*/ 0 h 329"/>
              <a:gd name="T50" fmla="*/ 145 w 252"/>
              <a:gd name="T51" fmla="*/ 4 h 329"/>
              <a:gd name="T52" fmla="*/ 137 w 252"/>
              <a:gd name="T53" fmla="*/ 43 h 329"/>
              <a:gd name="T54" fmla="*/ 145 w 252"/>
              <a:gd name="T55" fmla="*/ 83 h 329"/>
              <a:gd name="T56" fmla="*/ 161 w 252"/>
              <a:gd name="T57" fmla="*/ 107 h 329"/>
              <a:gd name="T58" fmla="*/ 169 w 252"/>
              <a:gd name="T59" fmla="*/ 146 h 329"/>
              <a:gd name="T60" fmla="*/ 202 w 252"/>
              <a:gd name="T61" fmla="*/ 162 h 329"/>
              <a:gd name="T62" fmla="*/ 243 w 252"/>
              <a:gd name="T63" fmla="*/ 170 h 329"/>
              <a:gd name="T64" fmla="*/ 251 w 252"/>
              <a:gd name="T65" fmla="*/ 201 h 329"/>
              <a:gd name="T66" fmla="*/ 234 w 252"/>
              <a:gd name="T67" fmla="*/ 225 h 329"/>
              <a:gd name="T68" fmla="*/ 218 w 252"/>
              <a:gd name="T69" fmla="*/ 249 h 329"/>
              <a:gd name="T70" fmla="*/ 194 w 252"/>
              <a:gd name="T71" fmla="*/ 265 h 329"/>
              <a:gd name="T72" fmla="*/ 202 w 252"/>
              <a:gd name="T73" fmla="*/ 312 h 329"/>
              <a:gd name="T74" fmla="*/ 202 w 252"/>
              <a:gd name="T75" fmla="*/ 320 h 329"/>
              <a:gd name="T76" fmla="*/ 188 w 252"/>
              <a:gd name="T77" fmla="*/ 320 h 329"/>
              <a:gd name="T78" fmla="*/ 171 w 252"/>
              <a:gd name="T79" fmla="*/ 320 h 329"/>
              <a:gd name="T80" fmla="*/ 163 w 252"/>
              <a:gd name="T81" fmla="*/ 328 h 329"/>
              <a:gd name="T82" fmla="*/ 139 w 252"/>
              <a:gd name="T83" fmla="*/ 320 h 329"/>
              <a:gd name="T84" fmla="*/ 139 w 252"/>
              <a:gd name="T85" fmla="*/ 304 h 329"/>
              <a:gd name="T86" fmla="*/ 131 w 252"/>
              <a:gd name="T87" fmla="*/ 296 h 329"/>
              <a:gd name="T88" fmla="*/ 114 w 252"/>
              <a:gd name="T89" fmla="*/ 296 h 329"/>
              <a:gd name="T90" fmla="*/ 98 w 252"/>
              <a:gd name="T91" fmla="*/ 304 h 329"/>
              <a:gd name="T92" fmla="*/ 90 w 252"/>
              <a:gd name="T93" fmla="*/ 312 h 329"/>
              <a:gd name="T94" fmla="*/ 82 w 252"/>
              <a:gd name="T95" fmla="*/ 320 h 329"/>
              <a:gd name="T96" fmla="*/ 49 w 252"/>
              <a:gd name="T97" fmla="*/ 320 h 329"/>
              <a:gd name="T98" fmla="*/ 49 w 252"/>
              <a:gd name="T99" fmla="*/ 304 h 329"/>
              <a:gd name="T100" fmla="*/ 33 w 252"/>
              <a:gd name="T101" fmla="*/ 296 h 329"/>
              <a:gd name="T102" fmla="*/ 25 w 252"/>
              <a:gd name="T103" fmla="*/ 296 h 329"/>
              <a:gd name="T104" fmla="*/ 17 w 252"/>
              <a:gd name="T105" fmla="*/ 288 h 329"/>
              <a:gd name="T106" fmla="*/ 8 w 252"/>
              <a:gd name="T107" fmla="*/ 280 h 329"/>
              <a:gd name="T108" fmla="*/ 0 w 252"/>
              <a:gd name="T109" fmla="*/ 272 h 329"/>
              <a:gd name="T110" fmla="*/ 17 w 252"/>
              <a:gd name="T111" fmla="*/ 272 h 329"/>
              <a:gd name="T112" fmla="*/ 17 w 252"/>
              <a:gd name="T113" fmla="*/ 264 h 329"/>
              <a:gd name="T114" fmla="*/ 6 w 252"/>
              <a:gd name="T115" fmla="*/ 264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52" h="329">
                <a:moveTo>
                  <a:pt x="6" y="264"/>
                </a:moveTo>
                <a:lnTo>
                  <a:pt x="15" y="256"/>
                </a:lnTo>
                <a:lnTo>
                  <a:pt x="39" y="256"/>
                </a:lnTo>
                <a:lnTo>
                  <a:pt x="48" y="241"/>
                </a:lnTo>
                <a:lnTo>
                  <a:pt x="64" y="225"/>
                </a:lnTo>
                <a:lnTo>
                  <a:pt x="64" y="210"/>
                </a:lnTo>
                <a:cubicBezTo>
                  <a:pt x="64" y="202"/>
                  <a:pt x="56" y="186"/>
                  <a:pt x="56" y="186"/>
                </a:cubicBezTo>
                <a:lnTo>
                  <a:pt x="48" y="186"/>
                </a:lnTo>
                <a:lnTo>
                  <a:pt x="39" y="171"/>
                </a:lnTo>
                <a:lnTo>
                  <a:pt x="31" y="155"/>
                </a:lnTo>
                <a:lnTo>
                  <a:pt x="23" y="155"/>
                </a:lnTo>
                <a:cubicBezTo>
                  <a:pt x="23" y="147"/>
                  <a:pt x="31" y="140"/>
                  <a:pt x="31" y="140"/>
                </a:cubicBezTo>
                <a:lnTo>
                  <a:pt x="31" y="124"/>
                </a:lnTo>
                <a:cubicBezTo>
                  <a:pt x="31" y="124"/>
                  <a:pt x="31" y="116"/>
                  <a:pt x="23" y="116"/>
                </a:cubicBezTo>
                <a:lnTo>
                  <a:pt x="23" y="109"/>
                </a:lnTo>
                <a:cubicBezTo>
                  <a:pt x="23" y="109"/>
                  <a:pt x="39" y="93"/>
                  <a:pt x="48" y="93"/>
                </a:cubicBezTo>
                <a:cubicBezTo>
                  <a:pt x="56" y="85"/>
                  <a:pt x="56" y="77"/>
                  <a:pt x="56" y="70"/>
                </a:cubicBezTo>
                <a:lnTo>
                  <a:pt x="56" y="62"/>
                </a:lnTo>
                <a:cubicBezTo>
                  <a:pt x="56" y="62"/>
                  <a:pt x="64" y="54"/>
                  <a:pt x="64" y="46"/>
                </a:cubicBezTo>
                <a:cubicBezTo>
                  <a:pt x="73" y="46"/>
                  <a:pt x="73" y="31"/>
                  <a:pt x="73" y="31"/>
                </a:cubicBezTo>
                <a:lnTo>
                  <a:pt x="81" y="23"/>
                </a:lnTo>
                <a:cubicBezTo>
                  <a:pt x="89" y="23"/>
                  <a:pt x="89" y="15"/>
                  <a:pt x="97" y="8"/>
                </a:cubicBezTo>
                <a:cubicBezTo>
                  <a:pt x="97" y="0"/>
                  <a:pt x="106" y="0"/>
                  <a:pt x="106" y="0"/>
                </a:cubicBezTo>
                <a:cubicBezTo>
                  <a:pt x="114" y="0"/>
                  <a:pt x="122" y="8"/>
                  <a:pt x="122" y="8"/>
                </a:cubicBezTo>
                <a:cubicBezTo>
                  <a:pt x="122" y="8"/>
                  <a:pt x="130" y="8"/>
                  <a:pt x="130" y="0"/>
                </a:cubicBezTo>
                <a:lnTo>
                  <a:pt x="145" y="4"/>
                </a:lnTo>
                <a:lnTo>
                  <a:pt x="137" y="43"/>
                </a:lnTo>
                <a:lnTo>
                  <a:pt x="145" y="83"/>
                </a:lnTo>
                <a:lnTo>
                  <a:pt x="161" y="107"/>
                </a:lnTo>
                <a:lnTo>
                  <a:pt x="169" y="146"/>
                </a:lnTo>
                <a:cubicBezTo>
                  <a:pt x="169" y="146"/>
                  <a:pt x="194" y="162"/>
                  <a:pt x="202" y="162"/>
                </a:cubicBezTo>
                <a:cubicBezTo>
                  <a:pt x="210" y="170"/>
                  <a:pt x="243" y="170"/>
                  <a:pt x="243" y="170"/>
                </a:cubicBezTo>
                <a:lnTo>
                  <a:pt x="251" y="201"/>
                </a:lnTo>
                <a:lnTo>
                  <a:pt x="234" y="225"/>
                </a:lnTo>
                <a:lnTo>
                  <a:pt x="218" y="249"/>
                </a:lnTo>
                <a:lnTo>
                  <a:pt x="194" y="265"/>
                </a:lnTo>
                <a:lnTo>
                  <a:pt x="202" y="312"/>
                </a:lnTo>
                <a:lnTo>
                  <a:pt x="202" y="320"/>
                </a:lnTo>
                <a:lnTo>
                  <a:pt x="188" y="320"/>
                </a:lnTo>
                <a:lnTo>
                  <a:pt x="171" y="320"/>
                </a:lnTo>
                <a:cubicBezTo>
                  <a:pt x="171" y="328"/>
                  <a:pt x="163" y="328"/>
                  <a:pt x="163" y="328"/>
                </a:cubicBezTo>
                <a:lnTo>
                  <a:pt x="139" y="320"/>
                </a:lnTo>
                <a:lnTo>
                  <a:pt x="139" y="304"/>
                </a:lnTo>
                <a:lnTo>
                  <a:pt x="131" y="296"/>
                </a:lnTo>
                <a:lnTo>
                  <a:pt x="114" y="296"/>
                </a:lnTo>
                <a:lnTo>
                  <a:pt x="98" y="304"/>
                </a:lnTo>
                <a:lnTo>
                  <a:pt x="90" y="312"/>
                </a:lnTo>
                <a:lnTo>
                  <a:pt x="82" y="320"/>
                </a:lnTo>
                <a:lnTo>
                  <a:pt x="49" y="320"/>
                </a:lnTo>
                <a:lnTo>
                  <a:pt x="49" y="304"/>
                </a:lnTo>
                <a:lnTo>
                  <a:pt x="33" y="296"/>
                </a:lnTo>
                <a:lnTo>
                  <a:pt x="25" y="296"/>
                </a:lnTo>
                <a:lnTo>
                  <a:pt x="17" y="288"/>
                </a:lnTo>
                <a:cubicBezTo>
                  <a:pt x="8" y="288"/>
                  <a:pt x="8" y="280"/>
                  <a:pt x="8" y="280"/>
                </a:cubicBezTo>
                <a:lnTo>
                  <a:pt x="0" y="272"/>
                </a:lnTo>
                <a:lnTo>
                  <a:pt x="17" y="272"/>
                </a:lnTo>
                <a:lnTo>
                  <a:pt x="17" y="264"/>
                </a:lnTo>
                <a:lnTo>
                  <a:pt x="6" y="264"/>
                </a:lnTo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42" name="Freeform 234">
            <a:extLst>
              <a:ext uri="{FF2B5EF4-FFF2-40B4-BE49-F238E27FC236}">
                <a16:creationId xmlns:a16="http://schemas.microsoft.com/office/drawing/2014/main" id="{D118CFD6-0C2A-D3F6-C9BA-FB43FB623FD3}"/>
              </a:ext>
            </a:extLst>
          </p:cNvPr>
          <p:cNvSpPr>
            <a:spLocks noChangeArrowheads="1"/>
          </p:cNvSpPr>
          <p:nvPr>
            <p:custDataLst>
              <p:tags r:id="rId233"/>
            </p:custDataLst>
          </p:nvPr>
        </p:nvSpPr>
        <p:spPr bwMode="auto">
          <a:xfrm>
            <a:off x="6603723" y="3950264"/>
            <a:ext cx="103239" cy="135842"/>
          </a:xfrm>
          <a:custGeom>
            <a:avLst/>
            <a:gdLst>
              <a:gd name="T0" fmla="*/ 6 w 252"/>
              <a:gd name="T1" fmla="*/ 264 h 329"/>
              <a:gd name="T2" fmla="*/ 15 w 252"/>
              <a:gd name="T3" fmla="*/ 256 h 329"/>
              <a:gd name="T4" fmla="*/ 39 w 252"/>
              <a:gd name="T5" fmla="*/ 256 h 329"/>
              <a:gd name="T6" fmla="*/ 48 w 252"/>
              <a:gd name="T7" fmla="*/ 241 h 329"/>
              <a:gd name="T8" fmla="*/ 64 w 252"/>
              <a:gd name="T9" fmla="*/ 225 h 329"/>
              <a:gd name="T10" fmla="*/ 64 w 252"/>
              <a:gd name="T11" fmla="*/ 210 h 329"/>
              <a:gd name="T12" fmla="*/ 56 w 252"/>
              <a:gd name="T13" fmla="*/ 186 h 329"/>
              <a:gd name="T14" fmla="*/ 48 w 252"/>
              <a:gd name="T15" fmla="*/ 186 h 329"/>
              <a:gd name="T16" fmla="*/ 39 w 252"/>
              <a:gd name="T17" fmla="*/ 171 h 329"/>
              <a:gd name="T18" fmla="*/ 31 w 252"/>
              <a:gd name="T19" fmla="*/ 155 h 329"/>
              <a:gd name="T20" fmla="*/ 23 w 252"/>
              <a:gd name="T21" fmla="*/ 155 h 329"/>
              <a:gd name="T22" fmla="*/ 31 w 252"/>
              <a:gd name="T23" fmla="*/ 140 h 329"/>
              <a:gd name="T24" fmla="*/ 31 w 252"/>
              <a:gd name="T25" fmla="*/ 124 h 329"/>
              <a:gd name="T26" fmla="*/ 23 w 252"/>
              <a:gd name="T27" fmla="*/ 116 h 329"/>
              <a:gd name="T28" fmla="*/ 23 w 252"/>
              <a:gd name="T29" fmla="*/ 109 h 329"/>
              <a:gd name="T30" fmla="*/ 48 w 252"/>
              <a:gd name="T31" fmla="*/ 93 h 329"/>
              <a:gd name="T32" fmla="*/ 56 w 252"/>
              <a:gd name="T33" fmla="*/ 70 h 329"/>
              <a:gd name="T34" fmla="*/ 56 w 252"/>
              <a:gd name="T35" fmla="*/ 62 h 329"/>
              <a:gd name="T36" fmla="*/ 64 w 252"/>
              <a:gd name="T37" fmla="*/ 46 h 329"/>
              <a:gd name="T38" fmla="*/ 73 w 252"/>
              <a:gd name="T39" fmla="*/ 31 h 329"/>
              <a:gd name="T40" fmla="*/ 81 w 252"/>
              <a:gd name="T41" fmla="*/ 23 h 329"/>
              <a:gd name="T42" fmla="*/ 97 w 252"/>
              <a:gd name="T43" fmla="*/ 8 h 329"/>
              <a:gd name="T44" fmla="*/ 106 w 252"/>
              <a:gd name="T45" fmla="*/ 0 h 329"/>
              <a:gd name="T46" fmla="*/ 122 w 252"/>
              <a:gd name="T47" fmla="*/ 8 h 329"/>
              <a:gd name="T48" fmla="*/ 130 w 252"/>
              <a:gd name="T49" fmla="*/ 0 h 329"/>
              <a:gd name="T50" fmla="*/ 145 w 252"/>
              <a:gd name="T51" fmla="*/ 4 h 329"/>
              <a:gd name="T52" fmla="*/ 137 w 252"/>
              <a:gd name="T53" fmla="*/ 43 h 329"/>
              <a:gd name="T54" fmla="*/ 145 w 252"/>
              <a:gd name="T55" fmla="*/ 83 h 329"/>
              <a:gd name="T56" fmla="*/ 161 w 252"/>
              <a:gd name="T57" fmla="*/ 107 h 329"/>
              <a:gd name="T58" fmla="*/ 169 w 252"/>
              <a:gd name="T59" fmla="*/ 146 h 329"/>
              <a:gd name="T60" fmla="*/ 202 w 252"/>
              <a:gd name="T61" fmla="*/ 162 h 329"/>
              <a:gd name="T62" fmla="*/ 243 w 252"/>
              <a:gd name="T63" fmla="*/ 170 h 329"/>
              <a:gd name="T64" fmla="*/ 251 w 252"/>
              <a:gd name="T65" fmla="*/ 201 h 329"/>
              <a:gd name="T66" fmla="*/ 234 w 252"/>
              <a:gd name="T67" fmla="*/ 225 h 329"/>
              <a:gd name="T68" fmla="*/ 218 w 252"/>
              <a:gd name="T69" fmla="*/ 249 h 329"/>
              <a:gd name="T70" fmla="*/ 194 w 252"/>
              <a:gd name="T71" fmla="*/ 265 h 329"/>
              <a:gd name="T72" fmla="*/ 202 w 252"/>
              <a:gd name="T73" fmla="*/ 312 h 329"/>
              <a:gd name="T74" fmla="*/ 202 w 252"/>
              <a:gd name="T75" fmla="*/ 320 h 329"/>
              <a:gd name="T76" fmla="*/ 188 w 252"/>
              <a:gd name="T77" fmla="*/ 320 h 329"/>
              <a:gd name="T78" fmla="*/ 171 w 252"/>
              <a:gd name="T79" fmla="*/ 320 h 329"/>
              <a:gd name="T80" fmla="*/ 163 w 252"/>
              <a:gd name="T81" fmla="*/ 328 h 329"/>
              <a:gd name="T82" fmla="*/ 139 w 252"/>
              <a:gd name="T83" fmla="*/ 320 h 329"/>
              <a:gd name="T84" fmla="*/ 139 w 252"/>
              <a:gd name="T85" fmla="*/ 304 h 329"/>
              <a:gd name="T86" fmla="*/ 131 w 252"/>
              <a:gd name="T87" fmla="*/ 296 h 329"/>
              <a:gd name="T88" fmla="*/ 114 w 252"/>
              <a:gd name="T89" fmla="*/ 296 h 329"/>
              <a:gd name="T90" fmla="*/ 98 w 252"/>
              <a:gd name="T91" fmla="*/ 304 h 329"/>
              <a:gd name="T92" fmla="*/ 90 w 252"/>
              <a:gd name="T93" fmla="*/ 312 h 329"/>
              <a:gd name="T94" fmla="*/ 82 w 252"/>
              <a:gd name="T95" fmla="*/ 320 h 329"/>
              <a:gd name="T96" fmla="*/ 49 w 252"/>
              <a:gd name="T97" fmla="*/ 320 h 329"/>
              <a:gd name="T98" fmla="*/ 49 w 252"/>
              <a:gd name="T99" fmla="*/ 304 h 329"/>
              <a:gd name="T100" fmla="*/ 33 w 252"/>
              <a:gd name="T101" fmla="*/ 296 h 329"/>
              <a:gd name="T102" fmla="*/ 25 w 252"/>
              <a:gd name="T103" fmla="*/ 296 h 329"/>
              <a:gd name="T104" fmla="*/ 17 w 252"/>
              <a:gd name="T105" fmla="*/ 288 h 329"/>
              <a:gd name="T106" fmla="*/ 8 w 252"/>
              <a:gd name="T107" fmla="*/ 280 h 329"/>
              <a:gd name="T108" fmla="*/ 0 w 252"/>
              <a:gd name="T109" fmla="*/ 272 h 329"/>
              <a:gd name="T110" fmla="*/ 17 w 252"/>
              <a:gd name="T111" fmla="*/ 272 h 329"/>
              <a:gd name="T112" fmla="*/ 17 w 252"/>
              <a:gd name="T113" fmla="*/ 264 h 329"/>
              <a:gd name="T114" fmla="*/ 6 w 252"/>
              <a:gd name="T115" fmla="*/ 264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52" h="329">
                <a:moveTo>
                  <a:pt x="6" y="264"/>
                </a:moveTo>
                <a:lnTo>
                  <a:pt x="15" y="256"/>
                </a:lnTo>
                <a:lnTo>
                  <a:pt x="39" y="256"/>
                </a:lnTo>
                <a:lnTo>
                  <a:pt x="48" y="241"/>
                </a:lnTo>
                <a:lnTo>
                  <a:pt x="64" y="225"/>
                </a:lnTo>
                <a:lnTo>
                  <a:pt x="64" y="210"/>
                </a:lnTo>
                <a:cubicBezTo>
                  <a:pt x="64" y="202"/>
                  <a:pt x="56" y="186"/>
                  <a:pt x="56" y="186"/>
                </a:cubicBezTo>
                <a:lnTo>
                  <a:pt x="48" y="186"/>
                </a:lnTo>
                <a:lnTo>
                  <a:pt x="39" y="171"/>
                </a:lnTo>
                <a:lnTo>
                  <a:pt x="31" y="155"/>
                </a:lnTo>
                <a:lnTo>
                  <a:pt x="23" y="155"/>
                </a:lnTo>
                <a:cubicBezTo>
                  <a:pt x="23" y="147"/>
                  <a:pt x="31" y="140"/>
                  <a:pt x="31" y="140"/>
                </a:cubicBezTo>
                <a:lnTo>
                  <a:pt x="31" y="124"/>
                </a:lnTo>
                <a:cubicBezTo>
                  <a:pt x="31" y="124"/>
                  <a:pt x="31" y="116"/>
                  <a:pt x="23" y="116"/>
                </a:cubicBezTo>
                <a:lnTo>
                  <a:pt x="23" y="109"/>
                </a:lnTo>
                <a:cubicBezTo>
                  <a:pt x="23" y="109"/>
                  <a:pt x="39" y="93"/>
                  <a:pt x="48" y="93"/>
                </a:cubicBezTo>
                <a:cubicBezTo>
                  <a:pt x="56" y="85"/>
                  <a:pt x="56" y="77"/>
                  <a:pt x="56" y="70"/>
                </a:cubicBezTo>
                <a:lnTo>
                  <a:pt x="56" y="62"/>
                </a:lnTo>
                <a:cubicBezTo>
                  <a:pt x="56" y="62"/>
                  <a:pt x="64" y="54"/>
                  <a:pt x="64" y="46"/>
                </a:cubicBezTo>
                <a:cubicBezTo>
                  <a:pt x="73" y="46"/>
                  <a:pt x="73" y="31"/>
                  <a:pt x="73" y="31"/>
                </a:cubicBezTo>
                <a:lnTo>
                  <a:pt x="81" y="23"/>
                </a:lnTo>
                <a:cubicBezTo>
                  <a:pt x="89" y="23"/>
                  <a:pt x="89" y="15"/>
                  <a:pt x="97" y="8"/>
                </a:cubicBezTo>
                <a:cubicBezTo>
                  <a:pt x="97" y="0"/>
                  <a:pt x="106" y="0"/>
                  <a:pt x="106" y="0"/>
                </a:cubicBezTo>
                <a:cubicBezTo>
                  <a:pt x="114" y="0"/>
                  <a:pt x="122" y="8"/>
                  <a:pt x="122" y="8"/>
                </a:cubicBezTo>
                <a:cubicBezTo>
                  <a:pt x="122" y="8"/>
                  <a:pt x="130" y="8"/>
                  <a:pt x="130" y="0"/>
                </a:cubicBezTo>
                <a:lnTo>
                  <a:pt x="145" y="4"/>
                </a:lnTo>
                <a:lnTo>
                  <a:pt x="137" y="43"/>
                </a:lnTo>
                <a:lnTo>
                  <a:pt x="145" y="83"/>
                </a:lnTo>
                <a:lnTo>
                  <a:pt x="161" y="107"/>
                </a:lnTo>
                <a:lnTo>
                  <a:pt x="169" y="146"/>
                </a:lnTo>
                <a:cubicBezTo>
                  <a:pt x="169" y="146"/>
                  <a:pt x="194" y="162"/>
                  <a:pt x="202" y="162"/>
                </a:cubicBezTo>
                <a:cubicBezTo>
                  <a:pt x="210" y="170"/>
                  <a:pt x="243" y="170"/>
                  <a:pt x="243" y="170"/>
                </a:cubicBezTo>
                <a:lnTo>
                  <a:pt x="251" y="201"/>
                </a:lnTo>
                <a:lnTo>
                  <a:pt x="234" y="225"/>
                </a:lnTo>
                <a:lnTo>
                  <a:pt x="218" y="249"/>
                </a:lnTo>
                <a:lnTo>
                  <a:pt x="194" y="265"/>
                </a:lnTo>
                <a:lnTo>
                  <a:pt x="202" y="312"/>
                </a:lnTo>
                <a:lnTo>
                  <a:pt x="202" y="320"/>
                </a:lnTo>
                <a:lnTo>
                  <a:pt x="188" y="320"/>
                </a:lnTo>
                <a:lnTo>
                  <a:pt x="171" y="320"/>
                </a:lnTo>
                <a:cubicBezTo>
                  <a:pt x="171" y="328"/>
                  <a:pt x="163" y="328"/>
                  <a:pt x="163" y="328"/>
                </a:cubicBezTo>
                <a:lnTo>
                  <a:pt x="139" y="320"/>
                </a:lnTo>
                <a:lnTo>
                  <a:pt x="139" y="304"/>
                </a:lnTo>
                <a:lnTo>
                  <a:pt x="131" y="296"/>
                </a:lnTo>
                <a:lnTo>
                  <a:pt x="114" y="296"/>
                </a:lnTo>
                <a:lnTo>
                  <a:pt x="98" y="304"/>
                </a:lnTo>
                <a:lnTo>
                  <a:pt x="90" y="312"/>
                </a:lnTo>
                <a:lnTo>
                  <a:pt x="82" y="320"/>
                </a:lnTo>
                <a:lnTo>
                  <a:pt x="49" y="320"/>
                </a:lnTo>
                <a:lnTo>
                  <a:pt x="49" y="304"/>
                </a:lnTo>
                <a:lnTo>
                  <a:pt x="33" y="296"/>
                </a:lnTo>
                <a:lnTo>
                  <a:pt x="25" y="296"/>
                </a:lnTo>
                <a:lnTo>
                  <a:pt x="17" y="288"/>
                </a:lnTo>
                <a:cubicBezTo>
                  <a:pt x="8" y="288"/>
                  <a:pt x="8" y="280"/>
                  <a:pt x="8" y="280"/>
                </a:cubicBezTo>
                <a:lnTo>
                  <a:pt x="0" y="272"/>
                </a:lnTo>
                <a:lnTo>
                  <a:pt x="17" y="272"/>
                </a:lnTo>
                <a:lnTo>
                  <a:pt x="17" y="264"/>
                </a:lnTo>
                <a:lnTo>
                  <a:pt x="6" y="264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43" name="Freeform 235">
            <a:extLst>
              <a:ext uri="{FF2B5EF4-FFF2-40B4-BE49-F238E27FC236}">
                <a16:creationId xmlns:a16="http://schemas.microsoft.com/office/drawing/2014/main" id="{28B467AD-9E91-CFE7-FCDC-09B613B4D98F}"/>
              </a:ext>
            </a:extLst>
          </p:cNvPr>
          <p:cNvSpPr>
            <a:spLocks noChangeArrowheads="1"/>
          </p:cNvSpPr>
          <p:nvPr>
            <p:custDataLst>
              <p:tags r:id="rId234"/>
            </p:custDataLst>
          </p:nvPr>
        </p:nvSpPr>
        <p:spPr bwMode="auto">
          <a:xfrm>
            <a:off x="5962553" y="5232606"/>
            <a:ext cx="48902" cy="38036"/>
          </a:xfrm>
          <a:custGeom>
            <a:avLst/>
            <a:gdLst>
              <a:gd name="T0" fmla="*/ 4 w 120"/>
              <a:gd name="T1" fmla="*/ 24 h 92"/>
              <a:gd name="T2" fmla="*/ 5 w 120"/>
              <a:gd name="T3" fmla="*/ 27 h 92"/>
              <a:gd name="T4" fmla="*/ 5 w 120"/>
              <a:gd name="T5" fmla="*/ 35 h 92"/>
              <a:gd name="T6" fmla="*/ 5 w 120"/>
              <a:gd name="T7" fmla="*/ 51 h 92"/>
              <a:gd name="T8" fmla="*/ 5 w 120"/>
              <a:gd name="T9" fmla="*/ 59 h 92"/>
              <a:gd name="T10" fmla="*/ 0 w 120"/>
              <a:gd name="T11" fmla="*/ 59 h 92"/>
              <a:gd name="T12" fmla="*/ 5 w 120"/>
              <a:gd name="T13" fmla="*/ 63 h 92"/>
              <a:gd name="T14" fmla="*/ 1 w 120"/>
              <a:gd name="T15" fmla="*/ 63 h 92"/>
              <a:gd name="T16" fmla="*/ 5 w 120"/>
              <a:gd name="T17" fmla="*/ 67 h 92"/>
              <a:gd name="T18" fmla="*/ 5 w 120"/>
              <a:gd name="T19" fmla="*/ 75 h 92"/>
              <a:gd name="T20" fmla="*/ 5 w 120"/>
              <a:gd name="T21" fmla="*/ 83 h 92"/>
              <a:gd name="T22" fmla="*/ 13 w 120"/>
              <a:gd name="T23" fmla="*/ 83 h 92"/>
              <a:gd name="T24" fmla="*/ 21 w 120"/>
              <a:gd name="T25" fmla="*/ 91 h 92"/>
              <a:gd name="T26" fmla="*/ 29 w 120"/>
              <a:gd name="T27" fmla="*/ 91 h 92"/>
              <a:gd name="T28" fmla="*/ 29 w 120"/>
              <a:gd name="T29" fmla="*/ 87 h 92"/>
              <a:gd name="T30" fmla="*/ 33 w 120"/>
              <a:gd name="T31" fmla="*/ 91 h 92"/>
              <a:gd name="T32" fmla="*/ 37 w 120"/>
              <a:gd name="T33" fmla="*/ 91 h 92"/>
              <a:gd name="T34" fmla="*/ 46 w 120"/>
              <a:gd name="T35" fmla="*/ 83 h 92"/>
              <a:gd name="T36" fmla="*/ 65 w 120"/>
              <a:gd name="T37" fmla="*/ 87 h 92"/>
              <a:gd name="T38" fmla="*/ 70 w 120"/>
              <a:gd name="T39" fmla="*/ 87 h 92"/>
              <a:gd name="T40" fmla="*/ 70 w 120"/>
              <a:gd name="T41" fmla="*/ 79 h 92"/>
              <a:gd name="T42" fmla="*/ 70 w 120"/>
              <a:gd name="T43" fmla="*/ 71 h 92"/>
              <a:gd name="T44" fmla="*/ 78 w 120"/>
              <a:gd name="T45" fmla="*/ 79 h 92"/>
              <a:gd name="T46" fmla="*/ 86 w 120"/>
              <a:gd name="T47" fmla="*/ 79 h 92"/>
              <a:gd name="T48" fmla="*/ 86 w 120"/>
              <a:gd name="T49" fmla="*/ 71 h 92"/>
              <a:gd name="T50" fmla="*/ 94 w 120"/>
              <a:gd name="T51" fmla="*/ 71 h 92"/>
              <a:gd name="T52" fmla="*/ 94 w 120"/>
              <a:gd name="T53" fmla="*/ 55 h 92"/>
              <a:gd name="T54" fmla="*/ 94 w 120"/>
              <a:gd name="T55" fmla="*/ 47 h 92"/>
              <a:gd name="T56" fmla="*/ 102 w 120"/>
              <a:gd name="T57" fmla="*/ 47 h 92"/>
              <a:gd name="T58" fmla="*/ 111 w 120"/>
              <a:gd name="T59" fmla="*/ 47 h 92"/>
              <a:gd name="T60" fmla="*/ 119 w 120"/>
              <a:gd name="T61" fmla="*/ 47 h 92"/>
              <a:gd name="T62" fmla="*/ 102 w 120"/>
              <a:gd name="T63" fmla="*/ 39 h 92"/>
              <a:gd name="T64" fmla="*/ 94 w 120"/>
              <a:gd name="T65" fmla="*/ 39 h 92"/>
              <a:gd name="T66" fmla="*/ 94 w 120"/>
              <a:gd name="T67" fmla="*/ 32 h 92"/>
              <a:gd name="T68" fmla="*/ 102 w 120"/>
              <a:gd name="T69" fmla="*/ 32 h 92"/>
              <a:gd name="T70" fmla="*/ 102 w 120"/>
              <a:gd name="T71" fmla="*/ 24 h 92"/>
              <a:gd name="T72" fmla="*/ 86 w 120"/>
              <a:gd name="T73" fmla="*/ 24 h 92"/>
              <a:gd name="T74" fmla="*/ 86 w 120"/>
              <a:gd name="T75" fmla="*/ 16 h 92"/>
              <a:gd name="T76" fmla="*/ 78 w 120"/>
              <a:gd name="T77" fmla="*/ 24 h 92"/>
              <a:gd name="T78" fmla="*/ 70 w 120"/>
              <a:gd name="T79" fmla="*/ 24 h 92"/>
              <a:gd name="T80" fmla="*/ 70 w 120"/>
              <a:gd name="T81" fmla="*/ 16 h 92"/>
              <a:gd name="T82" fmla="*/ 53 w 120"/>
              <a:gd name="T83" fmla="*/ 16 h 92"/>
              <a:gd name="T84" fmla="*/ 53 w 120"/>
              <a:gd name="T85" fmla="*/ 8 h 92"/>
              <a:gd name="T86" fmla="*/ 45 w 120"/>
              <a:gd name="T87" fmla="*/ 8 h 92"/>
              <a:gd name="T88" fmla="*/ 45 w 120"/>
              <a:gd name="T89" fmla="*/ 0 h 92"/>
              <a:gd name="T90" fmla="*/ 13 w 120"/>
              <a:gd name="T91" fmla="*/ 0 h 92"/>
              <a:gd name="T92" fmla="*/ 5 w 120"/>
              <a:gd name="T93" fmla="*/ 8 h 92"/>
              <a:gd name="T94" fmla="*/ 13 w 120"/>
              <a:gd name="T95" fmla="*/ 16 h 92"/>
              <a:gd name="T96" fmla="*/ 5 w 120"/>
              <a:gd name="T97" fmla="*/ 24 h 92"/>
              <a:gd name="T98" fmla="*/ 4 w 120"/>
              <a:gd name="T99" fmla="*/ 24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0" h="92">
                <a:moveTo>
                  <a:pt x="4" y="24"/>
                </a:moveTo>
                <a:cubicBezTo>
                  <a:pt x="4" y="25"/>
                  <a:pt x="4" y="26"/>
                  <a:pt x="5" y="27"/>
                </a:cubicBezTo>
                <a:lnTo>
                  <a:pt x="5" y="35"/>
                </a:lnTo>
                <a:lnTo>
                  <a:pt x="5" y="51"/>
                </a:lnTo>
                <a:lnTo>
                  <a:pt x="5" y="59"/>
                </a:lnTo>
                <a:lnTo>
                  <a:pt x="0" y="59"/>
                </a:lnTo>
                <a:lnTo>
                  <a:pt x="5" y="63"/>
                </a:lnTo>
                <a:lnTo>
                  <a:pt x="1" y="63"/>
                </a:lnTo>
                <a:lnTo>
                  <a:pt x="5" y="67"/>
                </a:lnTo>
                <a:lnTo>
                  <a:pt x="5" y="75"/>
                </a:lnTo>
                <a:lnTo>
                  <a:pt x="5" y="83"/>
                </a:lnTo>
                <a:lnTo>
                  <a:pt x="13" y="83"/>
                </a:lnTo>
                <a:lnTo>
                  <a:pt x="21" y="91"/>
                </a:lnTo>
                <a:lnTo>
                  <a:pt x="29" y="91"/>
                </a:lnTo>
                <a:lnTo>
                  <a:pt x="29" y="87"/>
                </a:lnTo>
                <a:lnTo>
                  <a:pt x="33" y="91"/>
                </a:lnTo>
                <a:lnTo>
                  <a:pt x="37" y="91"/>
                </a:lnTo>
                <a:cubicBezTo>
                  <a:pt x="37" y="91"/>
                  <a:pt x="46" y="91"/>
                  <a:pt x="46" y="83"/>
                </a:cubicBezTo>
                <a:lnTo>
                  <a:pt x="65" y="87"/>
                </a:lnTo>
                <a:lnTo>
                  <a:pt x="70" y="87"/>
                </a:lnTo>
                <a:lnTo>
                  <a:pt x="70" y="79"/>
                </a:lnTo>
                <a:lnTo>
                  <a:pt x="70" y="71"/>
                </a:lnTo>
                <a:lnTo>
                  <a:pt x="78" y="79"/>
                </a:lnTo>
                <a:lnTo>
                  <a:pt x="86" y="79"/>
                </a:lnTo>
                <a:lnTo>
                  <a:pt x="86" y="71"/>
                </a:lnTo>
                <a:lnTo>
                  <a:pt x="94" y="71"/>
                </a:lnTo>
                <a:lnTo>
                  <a:pt x="94" y="55"/>
                </a:lnTo>
                <a:lnTo>
                  <a:pt x="94" y="47"/>
                </a:lnTo>
                <a:lnTo>
                  <a:pt x="102" y="47"/>
                </a:lnTo>
                <a:lnTo>
                  <a:pt x="111" y="47"/>
                </a:lnTo>
                <a:lnTo>
                  <a:pt x="119" y="47"/>
                </a:lnTo>
                <a:lnTo>
                  <a:pt x="102" y="39"/>
                </a:lnTo>
                <a:lnTo>
                  <a:pt x="94" y="39"/>
                </a:lnTo>
                <a:lnTo>
                  <a:pt x="94" y="32"/>
                </a:lnTo>
                <a:lnTo>
                  <a:pt x="102" y="32"/>
                </a:lnTo>
                <a:lnTo>
                  <a:pt x="102" y="24"/>
                </a:lnTo>
                <a:lnTo>
                  <a:pt x="86" y="24"/>
                </a:lnTo>
                <a:lnTo>
                  <a:pt x="86" y="16"/>
                </a:lnTo>
                <a:cubicBezTo>
                  <a:pt x="86" y="16"/>
                  <a:pt x="78" y="16"/>
                  <a:pt x="78" y="24"/>
                </a:cubicBezTo>
                <a:lnTo>
                  <a:pt x="70" y="24"/>
                </a:lnTo>
                <a:lnTo>
                  <a:pt x="70" y="16"/>
                </a:lnTo>
                <a:lnTo>
                  <a:pt x="53" y="16"/>
                </a:lnTo>
                <a:lnTo>
                  <a:pt x="53" y="8"/>
                </a:lnTo>
                <a:lnTo>
                  <a:pt x="45" y="8"/>
                </a:lnTo>
                <a:lnTo>
                  <a:pt x="45" y="0"/>
                </a:lnTo>
                <a:lnTo>
                  <a:pt x="13" y="0"/>
                </a:lnTo>
                <a:cubicBezTo>
                  <a:pt x="13" y="8"/>
                  <a:pt x="5" y="8"/>
                  <a:pt x="5" y="8"/>
                </a:cubicBezTo>
                <a:cubicBezTo>
                  <a:pt x="5" y="8"/>
                  <a:pt x="13" y="8"/>
                  <a:pt x="13" y="16"/>
                </a:cubicBezTo>
                <a:lnTo>
                  <a:pt x="5" y="24"/>
                </a:lnTo>
                <a:lnTo>
                  <a:pt x="4" y="24"/>
                </a:lnTo>
              </a:path>
            </a:pathLst>
          </a:custGeom>
          <a:solidFill>
            <a:srgbClr val="D1D3D7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44" name="Freeform 236">
            <a:extLst>
              <a:ext uri="{FF2B5EF4-FFF2-40B4-BE49-F238E27FC236}">
                <a16:creationId xmlns:a16="http://schemas.microsoft.com/office/drawing/2014/main" id="{4BF08C23-EA82-2C05-59FC-3B4DD3ECC88D}"/>
              </a:ext>
            </a:extLst>
          </p:cNvPr>
          <p:cNvSpPr>
            <a:spLocks noChangeArrowheads="1"/>
          </p:cNvSpPr>
          <p:nvPr>
            <p:custDataLst>
              <p:tags r:id="rId235"/>
            </p:custDataLst>
          </p:nvPr>
        </p:nvSpPr>
        <p:spPr bwMode="auto">
          <a:xfrm>
            <a:off x="5962553" y="5232606"/>
            <a:ext cx="48902" cy="38036"/>
          </a:xfrm>
          <a:custGeom>
            <a:avLst/>
            <a:gdLst>
              <a:gd name="T0" fmla="*/ 4 w 120"/>
              <a:gd name="T1" fmla="*/ 24 h 92"/>
              <a:gd name="T2" fmla="*/ 5 w 120"/>
              <a:gd name="T3" fmla="*/ 27 h 92"/>
              <a:gd name="T4" fmla="*/ 5 w 120"/>
              <a:gd name="T5" fmla="*/ 35 h 92"/>
              <a:gd name="T6" fmla="*/ 5 w 120"/>
              <a:gd name="T7" fmla="*/ 51 h 92"/>
              <a:gd name="T8" fmla="*/ 5 w 120"/>
              <a:gd name="T9" fmla="*/ 59 h 92"/>
              <a:gd name="T10" fmla="*/ 0 w 120"/>
              <a:gd name="T11" fmla="*/ 59 h 92"/>
              <a:gd name="T12" fmla="*/ 5 w 120"/>
              <a:gd name="T13" fmla="*/ 63 h 92"/>
              <a:gd name="T14" fmla="*/ 1 w 120"/>
              <a:gd name="T15" fmla="*/ 63 h 92"/>
              <a:gd name="T16" fmla="*/ 5 w 120"/>
              <a:gd name="T17" fmla="*/ 67 h 92"/>
              <a:gd name="T18" fmla="*/ 5 w 120"/>
              <a:gd name="T19" fmla="*/ 75 h 92"/>
              <a:gd name="T20" fmla="*/ 5 w 120"/>
              <a:gd name="T21" fmla="*/ 83 h 92"/>
              <a:gd name="T22" fmla="*/ 13 w 120"/>
              <a:gd name="T23" fmla="*/ 83 h 92"/>
              <a:gd name="T24" fmla="*/ 21 w 120"/>
              <a:gd name="T25" fmla="*/ 91 h 92"/>
              <a:gd name="T26" fmla="*/ 29 w 120"/>
              <a:gd name="T27" fmla="*/ 91 h 92"/>
              <a:gd name="T28" fmla="*/ 29 w 120"/>
              <a:gd name="T29" fmla="*/ 87 h 92"/>
              <a:gd name="T30" fmla="*/ 33 w 120"/>
              <a:gd name="T31" fmla="*/ 91 h 92"/>
              <a:gd name="T32" fmla="*/ 37 w 120"/>
              <a:gd name="T33" fmla="*/ 91 h 92"/>
              <a:gd name="T34" fmla="*/ 46 w 120"/>
              <a:gd name="T35" fmla="*/ 83 h 92"/>
              <a:gd name="T36" fmla="*/ 65 w 120"/>
              <a:gd name="T37" fmla="*/ 87 h 92"/>
              <a:gd name="T38" fmla="*/ 70 w 120"/>
              <a:gd name="T39" fmla="*/ 87 h 92"/>
              <a:gd name="T40" fmla="*/ 70 w 120"/>
              <a:gd name="T41" fmla="*/ 79 h 92"/>
              <a:gd name="T42" fmla="*/ 70 w 120"/>
              <a:gd name="T43" fmla="*/ 71 h 92"/>
              <a:gd name="T44" fmla="*/ 78 w 120"/>
              <a:gd name="T45" fmla="*/ 79 h 92"/>
              <a:gd name="T46" fmla="*/ 86 w 120"/>
              <a:gd name="T47" fmla="*/ 79 h 92"/>
              <a:gd name="T48" fmla="*/ 86 w 120"/>
              <a:gd name="T49" fmla="*/ 71 h 92"/>
              <a:gd name="T50" fmla="*/ 94 w 120"/>
              <a:gd name="T51" fmla="*/ 71 h 92"/>
              <a:gd name="T52" fmla="*/ 94 w 120"/>
              <a:gd name="T53" fmla="*/ 55 h 92"/>
              <a:gd name="T54" fmla="*/ 94 w 120"/>
              <a:gd name="T55" fmla="*/ 47 h 92"/>
              <a:gd name="T56" fmla="*/ 102 w 120"/>
              <a:gd name="T57" fmla="*/ 47 h 92"/>
              <a:gd name="T58" fmla="*/ 111 w 120"/>
              <a:gd name="T59" fmla="*/ 47 h 92"/>
              <a:gd name="T60" fmla="*/ 119 w 120"/>
              <a:gd name="T61" fmla="*/ 47 h 92"/>
              <a:gd name="T62" fmla="*/ 102 w 120"/>
              <a:gd name="T63" fmla="*/ 39 h 92"/>
              <a:gd name="T64" fmla="*/ 94 w 120"/>
              <a:gd name="T65" fmla="*/ 39 h 92"/>
              <a:gd name="T66" fmla="*/ 94 w 120"/>
              <a:gd name="T67" fmla="*/ 32 h 92"/>
              <a:gd name="T68" fmla="*/ 102 w 120"/>
              <a:gd name="T69" fmla="*/ 32 h 92"/>
              <a:gd name="T70" fmla="*/ 102 w 120"/>
              <a:gd name="T71" fmla="*/ 24 h 92"/>
              <a:gd name="T72" fmla="*/ 86 w 120"/>
              <a:gd name="T73" fmla="*/ 24 h 92"/>
              <a:gd name="T74" fmla="*/ 86 w 120"/>
              <a:gd name="T75" fmla="*/ 16 h 92"/>
              <a:gd name="T76" fmla="*/ 78 w 120"/>
              <a:gd name="T77" fmla="*/ 24 h 92"/>
              <a:gd name="T78" fmla="*/ 70 w 120"/>
              <a:gd name="T79" fmla="*/ 24 h 92"/>
              <a:gd name="T80" fmla="*/ 70 w 120"/>
              <a:gd name="T81" fmla="*/ 16 h 92"/>
              <a:gd name="T82" fmla="*/ 53 w 120"/>
              <a:gd name="T83" fmla="*/ 16 h 92"/>
              <a:gd name="T84" fmla="*/ 53 w 120"/>
              <a:gd name="T85" fmla="*/ 8 h 92"/>
              <a:gd name="T86" fmla="*/ 45 w 120"/>
              <a:gd name="T87" fmla="*/ 8 h 92"/>
              <a:gd name="T88" fmla="*/ 45 w 120"/>
              <a:gd name="T89" fmla="*/ 0 h 92"/>
              <a:gd name="T90" fmla="*/ 13 w 120"/>
              <a:gd name="T91" fmla="*/ 0 h 92"/>
              <a:gd name="T92" fmla="*/ 5 w 120"/>
              <a:gd name="T93" fmla="*/ 8 h 92"/>
              <a:gd name="T94" fmla="*/ 13 w 120"/>
              <a:gd name="T95" fmla="*/ 16 h 92"/>
              <a:gd name="T96" fmla="*/ 5 w 120"/>
              <a:gd name="T97" fmla="*/ 24 h 92"/>
              <a:gd name="T98" fmla="*/ 4 w 120"/>
              <a:gd name="T99" fmla="*/ 24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0" h="92">
                <a:moveTo>
                  <a:pt x="4" y="24"/>
                </a:moveTo>
                <a:cubicBezTo>
                  <a:pt x="4" y="25"/>
                  <a:pt x="4" y="26"/>
                  <a:pt x="5" y="27"/>
                </a:cubicBezTo>
                <a:lnTo>
                  <a:pt x="5" y="35"/>
                </a:lnTo>
                <a:lnTo>
                  <a:pt x="5" y="51"/>
                </a:lnTo>
                <a:lnTo>
                  <a:pt x="5" y="59"/>
                </a:lnTo>
                <a:lnTo>
                  <a:pt x="0" y="59"/>
                </a:lnTo>
                <a:lnTo>
                  <a:pt x="5" y="63"/>
                </a:lnTo>
                <a:lnTo>
                  <a:pt x="1" y="63"/>
                </a:lnTo>
                <a:lnTo>
                  <a:pt x="5" y="67"/>
                </a:lnTo>
                <a:lnTo>
                  <a:pt x="5" y="75"/>
                </a:lnTo>
                <a:lnTo>
                  <a:pt x="5" y="83"/>
                </a:lnTo>
                <a:lnTo>
                  <a:pt x="13" y="83"/>
                </a:lnTo>
                <a:lnTo>
                  <a:pt x="21" y="91"/>
                </a:lnTo>
                <a:lnTo>
                  <a:pt x="29" y="91"/>
                </a:lnTo>
                <a:lnTo>
                  <a:pt x="29" y="87"/>
                </a:lnTo>
                <a:lnTo>
                  <a:pt x="33" y="91"/>
                </a:lnTo>
                <a:lnTo>
                  <a:pt x="37" y="91"/>
                </a:lnTo>
                <a:cubicBezTo>
                  <a:pt x="37" y="91"/>
                  <a:pt x="46" y="91"/>
                  <a:pt x="46" y="83"/>
                </a:cubicBezTo>
                <a:lnTo>
                  <a:pt x="65" y="87"/>
                </a:lnTo>
                <a:lnTo>
                  <a:pt x="70" y="87"/>
                </a:lnTo>
                <a:lnTo>
                  <a:pt x="70" y="79"/>
                </a:lnTo>
                <a:lnTo>
                  <a:pt x="70" y="71"/>
                </a:lnTo>
                <a:lnTo>
                  <a:pt x="78" y="79"/>
                </a:lnTo>
                <a:lnTo>
                  <a:pt x="86" y="79"/>
                </a:lnTo>
                <a:lnTo>
                  <a:pt x="86" y="71"/>
                </a:lnTo>
                <a:lnTo>
                  <a:pt x="94" y="71"/>
                </a:lnTo>
                <a:lnTo>
                  <a:pt x="94" y="55"/>
                </a:lnTo>
                <a:lnTo>
                  <a:pt x="94" y="47"/>
                </a:lnTo>
                <a:lnTo>
                  <a:pt x="102" y="47"/>
                </a:lnTo>
                <a:lnTo>
                  <a:pt x="111" y="47"/>
                </a:lnTo>
                <a:lnTo>
                  <a:pt x="119" y="47"/>
                </a:lnTo>
                <a:lnTo>
                  <a:pt x="102" y="39"/>
                </a:lnTo>
                <a:lnTo>
                  <a:pt x="94" y="39"/>
                </a:lnTo>
                <a:lnTo>
                  <a:pt x="94" y="32"/>
                </a:lnTo>
                <a:lnTo>
                  <a:pt x="102" y="32"/>
                </a:lnTo>
                <a:lnTo>
                  <a:pt x="102" y="24"/>
                </a:lnTo>
                <a:lnTo>
                  <a:pt x="86" y="24"/>
                </a:lnTo>
                <a:lnTo>
                  <a:pt x="86" y="16"/>
                </a:lnTo>
                <a:cubicBezTo>
                  <a:pt x="86" y="16"/>
                  <a:pt x="78" y="16"/>
                  <a:pt x="78" y="24"/>
                </a:cubicBezTo>
                <a:lnTo>
                  <a:pt x="70" y="24"/>
                </a:lnTo>
                <a:lnTo>
                  <a:pt x="70" y="16"/>
                </a:lnTo>
                <a:lnTo>
                  <a:pt x="53" y="16"/>
                </a:lnTo>
                <a:lnTo>
                  <a:pt x="53" y="8"/>
                </a:lnTo>
                <a:lnTo>
                  <a:pt x="45" y="8"/>
                </a:lnTo>
                <a:lnTo>
                  <a:pt x="45" y="0"/>
                </a:lnTo>
                <a:lnTo>
                  <a:pt x="13" y="0"/>
                </a:lnTo>
                <a:cubicBezTo>
                  <a:pt x="13" y="8"/>
                  <a:pt x="5" y="8"/>
                  <a:pt x="5" y="8"/>
                </a:cubicBezTo>
                <a:cubicBezTo>
                  <a:pt x="5" y="8"/>
                  <a:pt x="13" y="8"/>
                  <a:pt x="13" y="16"/>
                </a:cubicBezTo>
                <a:lnTo>
                  <a:pt x="5" y="24"/>
                </a:lnTo>
                <a:lnTo>
                  <a:pt x="4" y="24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45" name="Freeform 237">
            <a:extLst>
              <a:ext uri="{FF2B5EF4-FFF2-40B4-BE49-F238E27FC236}">
                <a16:creationId xmlns:a16="http://schemas.microsoft.com/office/drawing/2014/main" id="{F0484ACA-48BD-0550-1267-AE9BCAE3E654}"/>
              </a:ext>
            </a:extLst>
          </p:cNvPr>
          <p:cNvSpPr>
            <a:spLocks noChangeArrowheads="1"/>
          </p:cNvSpPr>
          <p:nvPr>
            <p:custDataLst>
              <p:tags r:id="rId236"/>
            </p:custDataLst>
          </p:nvPr>
        </p:nvSpPr>
        <p:spPr bwMode="auto">
          <a:xfrm>
            <a:off x="8293588" y="0"/>
            <a:ext cx="3216721" cy="4412125"/>
          </a:xfrm>
          <a:custGeom>
            <a:avLst/>
            <a:gdLst>
              <a:gd name="T0" fmla="*/ 3244 w 7833"/>
              <a:gd name="T1" fmla="*/ 468 h 10742"/>
              <a:gd name="T2" fmla="*/ 3032 w 7833"/>
              <a:gd name="T3" fmla="*/ 864 h 10742"/>
              <a:gd name="T4" fmla="*/ 2942 w 7833"/>
              <a:gd name="T5" fmla="*/ 508 h 10742"/>
              <a:gd name="T6" fmla="*/ 2682 w 7833"/>
              <a:gd name="T7" fmla="*/ 270 h 10742"/>
              <a:gd name="T8" fmla="*/ 2576 w 7833"/>
              <a:gd name="T9" fmla="*/ 603 h 10742"/>
              <a:gd name="T10" fmla="*/ 2853 w 7833"/>
              <a:gd name="T11" fmla="*/ 999 h 10742"/>
              <a:gd name="T12" fmla="*/ 2673 w 7833"/>
              <a:gd name="T13" fmla="*/ 1316 h 10742"/>
              <a:gd name="T14" fmla="*/ 2510 w 7833"/>
              <a:gd name="T15" fmla="*/ 2045 h 10742"/>
              <a:gd name="T16" fmla="*/ 2519 w 7833"/>
              <a:gd name="T17" fmla="*/ 2299 h 10742"/>
              <a:gd name="T18" fmla="*/ 1948 w 7833"/>
              <a:gd name="T19" fmla="*/ 2323 h 10742"/>
              <a:gd name="T20" fmla="*/ 2258 w 7833"/>
              <a:gd name="T21" fmla="*/ 2497 h 10742"/>
              <a:gd name="T22" fmla="*/ 2013 w 7833"/>
              <a:gd name="T23" fmla="*/ 2719 h 10742"/>
              <a:gd name="T24" fmla="*/ 1695 w 7833"/>
              <a:gd name="T25" fmla="*/ 2561 h 10742"/>
              <a:gd name="T26" fmla="*/ 1500 w 7833"/>
              <a:gd name="T27" fmla="*/ 2220 h 10742"/>
              <a:gd name="T28" fmla="*/ 1166 w 7833"/>
              <a:gd name="T29" fmla="*/ 1935 h 10742"/>
              <a:gd name="T30" fmla="*/ 823 w 7833"/>
              <a:gd name="T31" fmla="*/ 1752 h 10742"/>
              <a:gd name="T32" fmla="*/ 1280 w 7833"/>
              <a:gd name="T33" fmla="*/ 1816 h 10742"/>
              <a:gd name="T34" fmla="*/ 1801 w 7833"/>
              <a:gd name="T35" fmla="*/ 1792 h 10742"/>
              <a:gd name="T36" fmla="*/ 2364 w 7833"/>
              <a:gd name="T37" fmla="*/ 1245 h 10742"/>
              <a:gd name="T38" fmla="*/ 2005 w 7833"/>
              <a:gd name="T39" fmla="*/ 920 h 10742"/>
              <a:gd name="T40" fmla="*/ 1549 w 7833"/>
              <a:gd name="T41" fmla="*/ 825 h 10742"/>
              <a:gd name="T42" fmla="*/ 840 w 7833"/>
              <a:gd name="T43" fmla="*/ 730 h 10742"/>
              <a:gd name="T44" fmla="*/ 489 w 7833"/>
              <a:gd name="T45" fmla="*/ 722 h 10742"/>
              <a:gd name="T46" fmla="*/ 399 w 7833"/>
              <a:gd name="T47" fmla="*/ 587 h 10742"/>
              <a:gd name="T48" fmla="*/ 253 w 7833"/>
              <a:gd name="T49" fmla="*/ 849 h 10742"/>
              <a:gd name="T50" fmla="*/ 57 w 7833"/>
              <a:gd name="T51" fmla="*/ 1277 h 10742"/>
              <a:gd name="T52" fmla="*/ 391 w 7833"/>
              <a:gd name="T53" fmla="*/ 1728 h 10742"/>
              <a:gd name="T54" fmla="*/ 595 w 7833"/>
              <a:gd name="T55" fmla="*/ 2307 h 10742"/>
              <a:gd name="T56" fmla="*/ 669 w 7833"/>
              <a:gd name="T57" fmla="*/ 2751 h 10742"/>
              <a:gd name="T58" fmla="*/ 962 w 7833"/>
              <a:gd name="T59" fmla="*/ 3084 h 10742"/>
              <a:gd name="T60" fmla="*/ 1312 w 7833"/>
              <a:gd name="T61" fmla="*/ 3480 h 10742"/>
              <a:gd name="T62" fmla="*/ 986 w 7833"/>
              <a:gd name="T63" fmla="*/ 4479 h 10742"/>
              <a:gd name="T64" fmla="*/ 1068 w 7833"/>
              <a:gd name="T65" fmla="*/ 4582 h 10742"/>
              <a:gd name="T66" fmla="*/ 1369 w 7833"/>
              <a:gd name="T67" fmla="*/ 4765 h 10742"/>
              <a:gd name="T68" fmla="*/ 1092 w 7833"/>
              <a:gd name="T69" fmla="*/ 5042 h 10742"/>
              <a:gd name="T70" fmla="*/ 1084 w 7833"/>
              <a:gd name="T71" fmla="*/ 5629 h 10742"/>
              <a:gd name="T72" fmla="*/ 1174 w 7833"/>
              <a:gd name="T73" fmla="*/ 5970 h 10742"/>
              <a:gd name="T74" fmla="*/ 1418 w 7833"/>
              <a:gd name="T75" fmla="*/ 6350 h 10742"/>
              <a:gd name="T76" fmla="*/ 1752 w 7833"/>
              <a:gd name="T77" fmla="*/ 6516 h 10742"/>
              <a:gd name="T78" fmla="*/ 2209 w 7833"/>
              <a:gd name="T79" fmla="*/ 6556 h 10742"/>
              <a:gd name="T80" fmla="*/ 2478 w 7833"/>
              <a:gd name="T81" fmla="*/ 7079 h 10742"/>
              <a:gd name="T82" fmla="*/ 2853 w 7833"/>
              <a:gd name="T83" fmla="*/ 7262 h 10742"/>
              <a:gd name="T84" fmla="*/ 2616 w 7833"/>
              <a:gd name="T85" fmla="*/ 7571 h 10742"/>
              <a:gd name="T86" fmla="*/ 3008 w 7833"/>
              <a:gd name="T87" fmla="*/ 7864 h 10742"/>
              <a:gd name="T88" fmla="*/ 3431 w 7833"/>
              <a:gd name="T89" fmla="*/ 7658 h 10742"/>
              <a:gd name="T90" fmla="*/ 3635 w 7833"/>
              <a:gd name="T91" fmla="*/ 8022 h 10742"/>
              <a:gd name="T92" fmla="*/ 4124 w 7833"/>
              <a:gd name="T93" fmla="*/ 8283 h 10742"/>
              <a:gd name="T94" fmla="*/ 4597 w 7833"/>
              <a:gd name="T95" fmla="*/ 8109 h 10742"/>
              <a:gd name="T96" fmla="*/ 5110 w 7833"/>
              <a:gd name="T97" fmla="*/ 8117 h 10742"/>
              <a:gd name="T98" fmla="*/ 5453 w 7833"/>
              <a:gd name="T99" fmla="*/ 8347 h 10742"/>
              <a:gd name="T100" fmla="*/ 5599 w 7833"/>
              <a:gd name="T101" fmla="*/ 8688 h 10742"/>
              <a:gd name="T102" fmla="*/ 5330 w 7833"/>
              <a:gd name="T103" fmla="*/ 9258 h 10742"/>
              <a:gd name="T104" fmla="*/ 4972 w 7833"/>
              <a:gd name="T105" fmla="*/ 9623 h 10742"/>
              <a:gd name="T106" fmla="*/ 5176 w 7833"/>
              <a:gd name="T107" fmla="*/ 9758 h 10742"/>
              <a:gd name="T108" fmla="*/ 5607 w 7833"/>
              <a:gd name="T109" fmla="*/ 10273 h 10742"/>
              <a:gd name="T110" fmla="*/ 6863 w 7833"/>
              <a:gd name="T111" fmla="*/ 10677 h 10742"/>
              <a:gd name="T112" fmla="*/ 7286 w 7833"/>
              <a:gd name="T113" fmla="*/ 10709 h 10742"/>
              <a:gd name="T114" fmla="*/ 7832 w 7833"/>
              <a:gd name="T115" fmla="*/ 10727 h 107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833" h="10742">
                <a:moveTo>
                  <a:pt x="3415" y="0"/>
                </a:moveTo>
                <a:lnTo>
                  <a:pt x="3391" y="64"/>
                </a:lnTo>
                <a:lnTo>
                  <a:pt x="3366" y="119"/>
                </a:lnTo>
                <a:lnTo>
                  <a:pt x="3326" y="214"/>
                </a:lnTo>
                <a:lnTo>
                  <a:pt x="3293" y="230"/>
                </a:lnTo>
                <a:lnTo>
                  <a:pt x="3268" y="262"/>
                </a:lnTo>
                <a:lnTo>
                  <a:pt x="3301" y="302"/>
                </a:lnTo>
                <a:lnTo>
                  <a:pt x="3285" y="333"/>
                </a:lnTo>
                <a:lnTo>
                  <a:pt x="3228" y="405"/>
                </a:lnTo>
                <a:lnTo>
                  <a:pt x="3211" y="436"/>
                </a:lnTo>
                <a:lnTo>
                  <a:pt x="3244" y="468"/>
                </a:lnTo>
                <a:lnTo>
                  <a:pt x="3252" y="508"/>
                </a:lnTo>
                <a:lnTo>
                  <a:pt x="3268" y="547"/>
                </a:lnTo>
                <a:lnTo>
                  <a:pt x="3293" y="603"/>
                </a:lnTo>
                <a:lnTo>
                  <a:pt x="3309" y="650"/>
                </a:lnTo>
                <a:cubicBezTo>
                  <a:pt x="3309" y="650"/>
                  <a:pt x="3317" y="714"/>
                  <a:pt x="3301" y="745"/>
                </a:cubicBezTo>
                <a:lnTo>
                  <a:pt x="3260" y="785"/>
                </a:lnTo>
                <a:lnTo>
                  <a:pt x="3236" y="817"/>
                </a:lnTo>
                <a:lnTo>
                  <a:pt x="3195" y="841"/>
                </a:lnTo>
                <a:lnTo>
                  <a:pt x="3138" y="880"/>
                </a:lnTo>
                <a:lnTo>
                  <a:pt x="3081" y="888"/>
                </a:lnTo>
                <a:lnTo>
                  <a:pt x="3032" y="864"/>
                </a:lnTo>
                <a:lnTo>
                  <a:pt x="2975" y="809"/>
                </a:lnTo>
                <a:lnTo>
                  <a:pt x="2902" y="801"/>
                </a:lnTo>
                <a:cubicBezTo>
                  <a:pt x="2902" y="801"/>
                  <a:pt x="2828" y="785"/>
                  <a:pt x="2828" y="777"/>
                </a:cubicBezTo>
                <a:lnTo>
                  <a:pt x="2812" y="745"/>
                </a:lnTo>
                <a:lnTo>
                  <a:pt x="2804" y="706"/>
                </a:lnTo>
                <a:lnTo>
                  <a:pt x="2820" y="658"/>
                </a:lnTo>
                <a:lnTo>
                  <a:pt x="2812" y="627"/>
                </a:lnTo>
                <a:lnTo>
                  <a:pt x="2828" y="595"/>
                </a:lnTo>
                <a:lnTo>
                  <a:pt x="2869" y="555"/>
                </a:lnTo>
                <a:lnTo>
                  <a:pt x="2910" y="524"/>
                </a:lnTo>
                <a:lnTo>
                  <a:pt x="2942" y="508"/>
                </a:lnTo>
                <a:lnTo>
                  <a:pt x="2975" y="492"/>
                </a:lnTo>
                <a:lnTo>
                  <a:pt x="2975" y="460"/>
                </a:lnTo>
                <a:lnTo>
                  <a:pt x="2975" y="428"/>
                </a:lnTo>
                <a:lnTo>
                  <a:pt x="2918" y="397"/>
                </a:lnTo>
                <a:lnTo>
                  <a:pt x="2885" y="349"/>
                </a:lnTo>
                <a:lnTo>
                  <a:pt x="2853" y="333"/>
                </a:lnTo>
                <a:lnTo>
                  <a:pt x="2804" y="325"/>
                </a:lnTo>
                <a:lnTo>
                  <a:pt x="2771" y="317"/>
                </a:lnTo>
                <a:lnTo>
                  <a:pt x="2739" y="302"/>
                </a:lnTo>
                <a:lnTo>
                  <a:pt x="2739" y="270"/>
                </a:lnTo>
                <a:lnTo>
                  <a:pt x="2682" y="270"/>
                </a:lnTo>
                <a:lnTo>
                  <a:pt x="2625" y="278"/>
                </a:lnTo>
                <a:lnTo>
                  <a:pt x="2502" y="341"/>
                </a:lnTo>
                <a:lnTo>
                  <a:pt x="2445" y="381"/>
                </a:lnTo>
                <a:lnTo>
                  <a:pt x="2339" y="381"/>
                </a:lnTo>
                <a:lnTo>
                  <a:pt x="2299" y="413"/>
                </a:lnTo>
                <a:lnTo>
                  <a:pt x="2356" y="436"/>
                </a:lnTo>
                <a:lnTo>
                  <a:pt x="2462" y="468"/>
                </a:lnTo>
                <a:lnTo>
                  <a:pt x="2527" y="484"/>
                </a:lnTo>
                <a:lnTo>
                  <a:pt x="2543" y="539"/>
                </a:lnTo>
                <a:lnTo>
                  <a:pt x="2559" y="571"/>
                </a:lnTo>
                <a:lnTo>
                  <a:pt x="2576" y="603"/>
                </a:lnTo>
                <a:lnTo>
                  <a:pt x="2592" y="642"/>
                </a:lnTo>
                <a:lnTo>
                  <a:pt x="2616" y="706"/>
                </a:lnTo>
                <a:lnTo>
                  <a:pt x="2625" y="769"/>
                </a:lnTo>
                <a:lnTo>
                  <a:pt x="2641" y="841"/>
                </a:lnTo>
                <a:lnTo>
                  <a:pt x="2649" y="896"/>
                </a:lnTo>
                <a:lnTo>
                  <a:pt x="2673" y="936"/>
                </a:lnTo>
                <a:lnTo>
                  <a:pt x="2706" y="936"/>
                </a:lnTo>
                <a:lnTo>
                  <a:pt x="2739" y="928"/>
                </a:lnTo>
                <a:lnTo>
                  <a:pt x="2779" y="936"/>
                </a:lnTo>
                <a:lnTo>
                  <a:pt x="2837" y="967"/>
                </a:lnTo>
                <a:lnTo>
                  <a:pt x="2853" y="999"/>
                </a:lnTo>
                <a:lnTo>
                  <a:pt x="2885" y="1063"/>
                </a:lnTo>
                <a:lnTo>
                  <a:pt x="2902" y="1102"/>
                </a:lnTo>
                <a:lnTo>
                  <a:pt x="2910" y="1150"/>
                </a:lnTo>
                <a:cubicBezTo>
                  <a:pt x="2910" y="1150"/>
                  <a:pt x="2918" y="1213"/>
                  <a:pt x="2918" y="1245"/>
                </a:cubicBezTo>
                <a:lnTo>
                  <a:pt x="2926" y="1285"/>
                </a:lnTo>
                <a:lnTo>
                  <a:pt x="2975" y="1340"/>
                </a:lnTo>
                <a:lnTo>
                  <a:pt x="2918" y="1316"/>
                </a:lnTo>
                <a:lnTo>
                  <a:pt x="2869" y="1340"/>
                </a:lnTo>
                <a:lnTo>
                  <a:pt x="2861" y="1300"/>
                </a:lnTo>
                <a:lnTo>
                  <a:pt x="2771" y="1269"/>
                </a:lnTo>
                <a:cubicBezTo>
                  <a:pt x="2771" y="1269"/>
                  <a:pt x="2706" y="1308"/>
                  <a:pt x="2673" y="1316"/>
                </a:cubicBezTo>
                <a:lnTo>
                  <a:pt x="2567" y="1316"/>
                </a:lnTo>
                <a:lnTo>
                  <a:pt x="2567" y="1443"/>
                </a:lnTo>
                <a:lnTo>
                  <a:pt x="2551" y="1514"/>
                </a:lnTo>
                <a:lnTo>
                  <a:pt x="2527" y="1586"/>
                </a:lnTo>
                <a:lnTo>
                  <a:pt x="2445" y="1681"/>
                </a:lnTo>
                <a:lnTo>
                  <a:pt x="2429" y="1752"/>
                </a:lnTo>
                <a:lnTo>
                  <a:pt x="2388" y="1832"/>
                </a:lnTo>
                <a:lnTo>
                  <a:pt x="2380" y="1871"/>
                </a:lnTo>
                <a:cubicBezTo>
                  <a:pt x="2380" y="1871"/>
                  <a:pt x="2372" y="1942"/>
                  <a:pt x="2388" y="1982"/>
                </a:cubicBezTo>
                <a:lnTo>
                  <a:pt x="2421" y="1990"/>
                </a:lnTo>
                <a:cubicBezTo>
                  <a:pt x="2421" y="1990"/>
                  <a:pt x="2494" y="2030"/>
                  <a:pt x="2510" y="2045"/>
                </a:cubicBezTo>
                <a:lnTo>
                  <a:pt x="2559" y="2061"/>
                </a:lnTo>
                <a:lnTo>
                  <a:pt x="2592" y="2069"/>
                </a:lnTo>
                <a:lnTo>
                  <a:pt x="2616" y="2101"/>
                </a:lnTo>
                <a:lnTo>
                  <a:pt x="2625" y="2133"/>
                </a:lnTo>
                <a:lnTo>
                  <a:pt x="2641" y="2164"/>
                </a:lnTo>
                <a:lnTo>
                  <a:pt x="2690" y="2228"/>
                </a:lnTo>
                <a:lnTo>
                  <a:pt x="2641" y="2244"/>
                </a:lnTo>
                <a:lnTo>
                  <a:pt x="2608" y="2236"/>
                </a:lnTo>
                <a:lnTo>
                  <a:pt x="2567" y="2236"/>
                </a:lnTo>
                <a:lnTo>
                  <a:pt x="2567" y="2275"/>
                </a:lnTo>
                <a:lnTo>
                  <a:pt x="2519" y="2299"/>
                </a:lnTo>
                <a:lnTo>
                  <a:pt x="2453" y="2283"/>
                </a:lnTo>
                <a:lnTo>
                  <a:pt x="2290" y="2283"/>
                </a:lnTo>
                <a:lnTo>
                  <a:pt x="2250" y="2291"/>
                </a:lnTo>
                <a:lnTo>
                  <a:pt x="2176" y="2291"/>
                </a:lnTo>
                <a:lnTo>
                  <a:pt x="2136" y="2260"/>
                </a:lnTo>
                <a:lnTo>
                  <a:pt x="2087" y="2236"/>
                </a:lnTo>
                <a:lnTo>
                  <a:pt x="2054" y="2228"/>
                </a:lnTo>
                <a:lnTo>
                  <a:pt x="2005" y="2212"/>
                </a:lnTo>
                <a:lnTo>
                  <a:pt x="1932" y="2228"/>
                </a:lnTo>
                <a:lnTo>
                  <a:pt x="1940" y="2267"/>
                </a:lnTo>
                <a:lnTo>
                  <a:pt x="1948" y="2323"/>
                </a:lnTo>
                <a:lnTo>
                  <a:pt x="1940" y="2371"/>
                </a:lnTo>
                <a:lnTo>
                  <a:pt x="1899" y="2371"/>
                </a:lnTo>
                <a:lnTo>
                  <a:pt x="1932" y="2402"/>
                </a:lnTo>
                <a:lnTo>
                  <a:pt x="1956" y="2442"/>
                </a:lnTo>
                <a:lnTo>
                  <a:pt x="1997" y="2442"/>
                </a:lnTo>
                <a:lnTo>
                  <a:pt x="2030" y="2466"/>
                </a:lnTo>
                <a:lnTo>
                  <a:pt x="2103" y="2537"/>
                </a:lnTo>
                <a:lnTo>
                  <a:pt x="2136" y="2553"/>
                </a:lnTo>
                <a:lnTo>
                  <a:pt x="2184" y="2537"/>
                </a:lnTo>
                <a:lnTo>
                  <a:pt x="2225" y="2513"/>
                </a:lnTo>
                <a:lnTo>
                  <a:pt x="2258" y="2497"/>
                </a:lnTo>
                <a:lnTo>
                  <a:pt x="2299" y="2545"/>
                </a:lnTo>
                <a:lnTo>
                  <a:pt x="2339" y="2577"/>
                </a:lnTo>
                <a:lnTo>
                  <a:pt x="2348" y="2608"/>
                </a:lnTo>
                <a:lnTo>
                  <a:pt x="2331" y="2688"/>
                </a:lnTo>
                <a:lnTo>
                  <a:pt x="2299" y="2711"/>
                </a:lnTo>
                <a:lnTo>
                  <a:pt x="2290" y="2751"/>
                </a:lnTo>
                <a:lnTo>
                  <a:pt x="2201" y="2751"/>
                </a:lnTo>
                <a:lnTo>
                  <a:pt x="2152" y="2767"/>
                </a:lnTo>
                <a:cubicBezTo>
                  <a:pt x="2152" y="2767"/>
                  <a:pt x="2070" y="2759"/>
                  <a:pt x="2038" y="2751"/>
                </a:cubicBezTo>
                <a:lnTo>
                  <a:pt x="1997" y="2751"/>
                </a:lnTo>
                <a:lnTo>
                  <a:pt x="2013" y="2719"/>
                </a:lnTo>
                <a:lnTo>
                  <a:pt x="1989" y="2680"/>
                </a:lnTo>
                <a:lnTo>
                  <a:pt x="1948" y="2688"/>
                </a:lnTo>
                <a:lnTo>
                  <a:pt x="1940" y="2656"/>
                </a:lnTo>
                <a:lnTo>
                  <a:pt x="1891" y="2656"/>
                </a:lnTo>
                <a:lnTo>
                  <a:pt x="1842" y="2648"/>
                </a:lnTo>
                <a:lnTo>
                  <a:pt x="1826" y="2680"/>
                </a:lnTo>
                <a:lnTo>
                  <a:pt x="1793" y="2688"/>
                </a:lnTo>
                <a:lnTo>
                  <a:pt x="1761" y="2688"/>
                </a:lnTo>
                <a:lnTo>
                  <a:pt x="1704" y="2632"/>
                </a:lnTo>
                <a:lnTo>
                  <a:pt x="1687" y="2593"/>
                </a:lnTo>
                <a:lnTo>
                  <a:pt x="1695" y="2561"/>
                </a:lnTo>
                <a:lnTo>
                  <a:pt x="1663" y="2561"/>
                </a:lnTo>
                <a:lnTo>
                  <a:pt x="1663" y="2513"/>
                </a:lnTo>
                <a:lnTo>
                  <a:pt x="1630" y="2489"/>
                </a:lnTo>
                <a:lnTo>
                  <a:pt x="1614" y="2450"/>
                </a:lnTo>
                <a:lnTo>
                  <a:pt x="1573" y="2418"/>
                </a:lnTo>
                <a:lnTo>
                  <a:pt x="1541" y="2386"/>
                </a:lnTo>
                <a:lnTo>
                  <a:pt x="1516" y="2355"/>
                </a:lnTo>
                <a:lnTo>
                  <a:pt x="1483" y="2331"/>
                </a:lnTo>
                <a:lnTo>
                  <a:pt x="1508" y="2291"/>
                </a:lnTo>
                <a:lnTo>
                  <a:pt x="1516" y="2252"/>
                </a:lnTo>
                <a:lnTo>
                  <a:pt x="1500" y="2220"/>
                </a:lnTo>
                <a:lnTo>
                  <a:pt x="1475" y="2157"/>
                </a:lnTo>
                <a:lnTo>
                  <a:pt x="1516" y="2157"/>
                </a:lnTo>
                <a:lnTo>
                  <a:pt x="1492" y="2093"/>
                </a:lnTo>
                <a:lnTo>
                  <a:pt x="1443" y="2069"/>
                </a:lnTo>
                <a:lnTo>
                  <a:pt x="1386" y="2038"/>
                </a:lnTo>
                <a:lnTo>
                  <a:pt x="1329" y="2014"/>
                </a:lnTo>
                <a:lnTo>
                  <a:pt x="1296" y="2006"/>
                </a:lnTo>
                <a:lnTo>
                  <a:pt x="1263" y="2006"/>
                </a:lnTo>
                <a:lnTo>
                  <a:pt x="1206" y="1998"/>
                </a:lnTo>
                <a:lnTo>
                  <a:pt x="1198" y="1966"/>
                </a:lnTo>
                <a:lnTo>
                  <a:pt x="1166" y="1935"/>
                </a:lnTo>
                <a:lnTo>
                  <a:pt x="1109" y="1935"/>
                </a:lnTo>
                <a:lnTo>
                  <a:pt x="1117" y="1895"/>
                </a:lnTo>
                <a:lnTo>
                  <a:pt x="1076" y="1879"/>
                </a:lnTo>
                <a:lnTo>
                  <a:pt x="1011" y="1879"/>
                </a:lnTo>
                <a:lnTo>
                  <a:pt x="995" y="1847"/>
                </a:lnTo>
                <a:lnTo>
                  <a:pt x="962" y="1847"/>
                </a:lnTo>
                <a:lnTo>
                  <a:pt x="929" y="1832"/>
                </a:lnTo>
                <a:lnTo>
                  <a:pt x="921" y="1800"/>
                </a:lnTo>
                <a:lnTo>
                  <a:pt x="921" y="1760"/>
                </a:lnTo>
                <a:lnTo>
                  <a:pt x="864" y="1760"/>
                </a:lnTo>
                <a:lnTo>
                  <a:pt x="823" y="1752"/>
                </a:lnTo>
                <a:lnTo>
                  <a:pt x="856" y="1736"/>
                </a:lnTo>
                <a:lnTo>
                  <a:pt x="913" y="1736"/>
                </a:lnTo>
                <a:lnTo>
                  <a:pt x="954" y="1752"/>
                </a:lnTo>
                <a:lnTo>
                  <a:pt x="986" y="1784"/>
                </a:lnTo>
                <a:lnTo>
                  <a:pt x="1027" y="1816"/>
                </a:lnTo>
                <a:lnTo>
                  <a:pt x="1076" y="1832"/>
                </a:lnTo>
                <a:lnTo>
                  <a:pt x="1117" y="1832"/>
                </a:lnTo>
                <a:lnTo>
                  <a:pt x="1133" y="1800"/>
                </a:lnTo>
                <a:lnTo>
                  <a:pt x="1182" y="1824"/>
                </a:lnTo>
                <a:lnTo>
                  <a:pt x="1223" y="1816"/>
                </a:lnTo>
                <a:lnTo>
                  <a:pt x="1280" y="1816"/>
                </a:lnTo>
                <a:lnTo>
                  <a:pt x="1296" y="1847"/>
                </a:lnTo>
                <a:lnTo>
                  <a:pt x="1329" y="1847"/>
                </a:lnTo>
                <a:lnTo>
                  <a:pt x="1337" y="1816"/>
                </a:lnTo>
                <a:lnTo>
                  <a:pt x="1378" y="1816"/>
                </a:lnTo>
                <a:lnTo>
                  <a:pt x="1435" y="1832"/>
                </a:lnTo>
                <a:lnTo>
                  <a:pt x="1492" y="1847"/>
                </a:lnTo>
                <a:lnTo>
                  <a:pt x="1524" y="1847"/>
                </a:lnTo>
                <a:lnTo>
                  <a:pt x="1606" y="1832"/>
                </a:lnTo>
                <a:lnTo>
                  <a:pt x="1671" y="1832"/>
                </a:lnTo>
                <a:lnTo>
                  <a:pt x="1744" y="1808"/>
                </a:lnTo>
                <a:lnTo>
                  <a:pt x="1801" y="1792"/>
                </a:lnTo>
                <a:lnTo>
                  <a:pt x="1899" y="1816"/>
                </a:lnTo>
                <a:lnTo>
                  <a:pt x="1964" y="1816"/>
                </a:lnTo>
                <a:cubicBezTo>
                  <a:pt x="1964" y="1816"/>
                  <a:pt x="2046" y="1808"/>
                  <a:pt x="2070" y="1784"/>
                </a:cubicBezTo>
                <a:lnTo>
                  <a:pt x="2119" y="1760"/>
                </a:lnTo>
                <a:lnTo>
                  <a:pt x="2217" y="1665"/>
                </a:lnTo>
                <a:cubicBezTo>
                  <a:pt x="2217" y="1665"/>
                  <a:pt x="2250" y="1602"/>
                  <a:pt x="2266" y="1578"/>
                </a:cubicBezTo>
                <a:lnTo>
                  <a:pt x="2290" y="1530"/>
                </a:lnTo>
                <a:lnTo>
                  <a:pt x="2331" y="1451"/>
                </a:lnTo>
                <a:lnTo>
                  <a:pt x="2348" y="1404"/>
                </a:lnTo>
                <a:lnTo>
                  <a:pt x="2348" y="1340"/>
                </a:lnTo>
                <a:lnTo>
                  <a:pt x="2364" y="1245"/>
                </a:lnTo>
                <a:lnTo>
                  <a:pt x="2339" y="1174"/>
                </a:lnTo>
                <a:lnTo>
                  <a:pt x="2290" y="1118"/>
                </a:lnTo>
                <a:lnTo>
                  <a:pt x="2258" y="1118"/>
                </a:lnTo>
                <a:lnTo>
                  <a:pt x="2201" y="1039"/>
                </a:lnTo>
                <a:lnTo>
                  <a:pt x="2193" y="1007"/>
                </a:lnTo>
                <a:lnTo>
                  <a:pt x="2176" y="975"/>
                </a:lnTo>
                <a:lnTo>
                  <a:pt x="2152" y="944"/>
                </a:lnTo>
                <a:lnTo>
                  <a:pt x="2103" y="952"/>
                </a:lnTo>
                <a:lnTo>
                  <a:pt x="2062" y="968"/>
                </a:lnTo>
                <a:lnTo>
                  <a:pt x="2046" y="936"/>
                </a:lnTo>
                <a:lnTo>
                  <a:pt x="2005" y="920"/>
                </a:lnTo>
                <a:lnTo>
                  <a:pt x="1956" y="888"/>
                </a:lnTo>
                <a:lnTo>
                  <a:pt x="1924" y="872"/>
                </a:lnTo>
                <a:lnTo>
                  <a:pt x="1891" y="864"/>
                </a:lnTo>
                <a:lnTo>
                  <a:pt x="1899" y="904"/>
                </a:lnTo>
                <a:lnTo>
                  <a:pt x="1850" y="912"/>
                </a:lnTo>
                <a:lnTo>
                  <a:pt x="1793" y="896"/>
                </a:lnTo>
                <a:cubicBezTo>
                  <a:pt x="1793" y="896"/>
                  <a:pt x="1712" y="872"/>
                  <a:pt x="1704" y="864"/>
                </a:cubicBezTo>
                <a:lnTo>
                  <a:pt x="1663" y="857"/>
                </a:lnTo>
                <a:lnTo>
                  <a:pt x="1630" y="872"/>
                </a:lnTo>
                <a:lnTo>
                  <a:pt x="1598" y="841"/>
                </a:lnTo>
                <a:lnTo>
                  <a:pt x="1549" y="825"/>
                </a:lnTo>
                <a:lnTo>
                  <a:pt x="1500" y="793"/>
                </a:lnTo>
                <a:cubicBezTo>
                  <a:pt x="1500" y="793"/>
                  <a:pt x="1394" y="777"/>
                  <a:pt x="1378" y="769"/>
                </a:cubicBezTo>
                <a:lnTo>
                  <a:pt x="1321" y="738"/>
                </a:lnTo>
                <a:lnTo>
                  <a:pt x="1247" y="722"/>
                </a:lnTo>
                <a:lnTo>
                  <a:pt x="1141" y="690"/>
                </a:lnTo>
                <a:cubicBezTo>
                  <a:pt x="1141" y="690"/>
                  <a:pt x="1019" y="674"/>
                  <a:pt x="1003" y="674"/>
                </a:cubicBezTo>
                <a:lnTo>
                  <a:pt x="986" y="714"/>
                </a:lnTo>
                <a:lnTo>
                  <a:pt x="954" y="730"/>
                </a:lnTo>
                <a:lnTo>
                  <a:pt x="913" y="730"/>
                </a:lnTo>
                <a:lnTo>
                  <a:pt x="880" y="722"/>
                </a:lnTo>
                <a:lnTo>
                  <a:pt x="840" y="730"/>
                </a:lnTo>
                <a:lnTo>
                  <a:pt x="799" y="730"/>
                </a:lnTo>
                <a:lnTo>
                  <a:pt x="750" y="761"/>
                </a:lnTo>
                <a:lnTo>
                  <a:pt x="726" y="809"/>
                </a:lnTo>
                <a:lnTo>
                  <a:pt x="709" y="777"/>
                </a:lnTo>
                <a:lnTo>
                  <a:pt x="717" y="746"/>
                </a:lnTo>
                <a:lnTo>
                  <a:pt x="693" y="714"/>
                </a:lnTo>
                <a:lnTo>
                  <a:pt x="660" y="730"/>
                </a:lnTo>
                <a:lnTo>
                  <a:pt x="628" y="722"/>
                </a:lnTo>
                <a:lnTo>
                  <a:pt x="595" y="738"/>
                </a:lnTo>
                <a:lnTo>
                  <a:pt x="530" y="746"/>
                </a:lnTo>
                <a:lnTo>
                  <a:pt x="489" y="722"/>
                </a:lnTo>
                <a:lnTo>
                  <a:pt x="457" y="706"/>
                </a:lnTo>
                <a:lnTo>
                  <a:pt x="489" y="690"/>
                </a:lnTo>
                <a:lnTo>
                  <a:pt x="522" y="690"/>
                </a:lnTo>
                <a:lnTo>
                  <a:pt x="563" y="690"/>
                </a:lnTo>
                <a:lnTo>
                  <a:pt x="595" y="682"/>
                </a:lnTo>
                <a:lnTo>
                  <a:pt x="611" y="643"/>
                </a:lnTo>
                <a:lnTo>
                  <a:pt x="587" y="603"/>
                </a:lnTo>
                <a:lnTo>
                  <a:pt x="514" y="603"/>
                </a:lnTo>
                <a:lnTo>
                  <a:pt x="481" y="595"/>
                </a:lnTo>
                <a:lnTo>
                  <a:pt x="432" y="571"/>
                </a:lnTo>
                <a:lnTo>
                  <a:pt x="399" y="587"/>
                </a:lnTo>
                <a:lnTo>
                  <a:pt x="416" y="635"/>
                </a:lnTo>
                <a:lnTo>
                  <a:pt x="383" y="635"/>
                </a:lnTo>
                <a:lnTo>
                  <a:pt x="375" y="666"/>
                </a:lnTo>
                <a:lnTo>
                  <a:pt x="399" y="698"/>
                </a:lnTo>
                <a:lnTo>
                  <a:pt x="351" y="714"/>
                </a:lnTo>
                <a:lnTo>
                  <a:pt x="310" y="698"/>
                </a:lnTo>
                <a:lnTo>
                  <a:pt x="269" y="722"/>
                </a:lnTo>
                <a:lnTo>
                  <a:pt x="269" y="754"/>
                </a:lnTo>
                <a:lnTo>
                  <a:pt x="285" y="793"/>
                </a:lnTo>
                <a:lnTo>
                  <a:pt x="302" y="825"/>
                </a:lnTo>
                <a:lnTo>
                  <a:pt x="253" y="849"/>
                </a:lnTo>
                <a:lnTo>
                  <a:pt x="188" y="841"/>
                </a:lnTo>
                <a:lnTo>
                  <a:pt x="196" y="904"/>
                </a:lnTo>
                <a:lnTo>
                  <a:pt x="139" y="960"/>
                </a:lnTo>
                <a:lnTo>
                  <a:pt x="98" y="991"/>
                </a:lnTo>
                <a:lnTo>
                  <a:pt x="106" y="1023"/>
                </a:lnTo>
                <a:cubicBezTo>
                  <a:pt x="114" y="1047"/>
                  <a:pt x="98" y="1118"/>
                  <a:pt x="98" y="1118"/>
                </a:cubicBezTo>
                <a:lnTo>
                  <a:pt x="57" y="1126"/>
                </a:lnTo>
                <a:lnTo>
                  <a:pt x="25" y="1158"/>
                </a:lnTo>
                <a:lnTo>
                  <a:pt x="0" y="1189"/>
                </a:lnTo>
                <a:lnTo>
                  <a:pt x="57" y="1205"/>
                </a:lnTo>
                <a:lnTo>
                  <a:pt x="57" y="1277"/>
                </a:lnTo>
                <a:lnTo>
                  <a:pt x="49" y="1324"/>
                </a:lnTo>
                <a:lnTo>
                  <a:pt x="25" y="1356"/>
                </a:lnTo>
                <a:lnTo>
                  <a:pt x="57" y="1404"/>
                </a:lnTo>
                <a:lnTo>
                  <a:pt x="98" y="1467"/>
                </a:lnTo>
                <a:lnTo>
                  <a:pt x="163" y="1491"/>
                </a:lnTo>
                <a:lnTo>
                  <a:pt x="220" y="1499"/>
                </a:lnTo>
                <a:lnTo>
                  <a:pt x="277" y="1514"/>
                </a:lnTo>
                <a:lnTo>
                  <a:pt x="294" y="1562"/>
                </a:lnTo>
                <a:lnTo>
                  <a:pt x="326" y="1602"/>
                </a:lnTo>
                <a:lnTo>
                  <a:pt x="399" y="1657"/>
                </a:lnTo>
                <a:lnTo>
                  <a:pt x="391" y="1728"/>
                </a:lnTo>
                <a:lnTo>
                  <a:pt x="367" y="1768"/>
                </a:lnTo>
                <a:lnTo>
                  <a:pt x="375" y="1800"/>
                </a:lnTo>
                <a:lnTo>
                  <a:pt x="375" y="1839"/>
                </a:lnTo>
                <a:lnTo>
                  <a:pt x="351" y="1911"/>
                </a:lnTo>
                <a:cubicBezTo>
                  <a:pt x="351" y="1919"/>
                  <a:pt x="334" y="1982"/>
                  <a:pt x="334" y="1982"/>
                </a:cubicBezTo>
                <a:lnTo>
                  <a:pt x="359" y="2038"/>
                </a:lnTo>
                <a:lnTo>
                  <a:pt x="391" y="2069"/>
                </a:lnTo>
                <a:lnTo>
                  <a:pt x="440" y="2125"/>
                </a:lnTo>
                <a:lnTo>
                  <a:pt x="505" y="2196"/>
                </a:lnTo>
                <a:lnTo>
                  <a:pt x="530" y="2252"/>
                </a:lnTo>
                <a:cubicBezTo>
                  <a:pt x="530" y="2252"/>
                  <a:pt x="595" y="2291"/>
                  <a:pt x="595" y="2307"/>
                </a:cubicBezTo>
                <a:lnTo>
                  <a:pt x="620" y="2347"/>
                </a:lnTo>
                <a:lnTo>
                  <a:pt x="652" y="2402"/>
                </a:lnTo>
                <a:lnTo>
                  <a:pt x="644" y="2442"/>
                </a:lnTo>
                <a:lnTo>
                  <a:pt x="620" y="2505"/>
                </a:lnTo>
                <a:lnTo>
                  <a:pt x="644" y="2537"/>
                </a:lnTo>
                <a:lnTo>
                  <a:pt x="636" y="2569"/>
                </a:lnTo>
                <a:lnTo>
                  <a:pt x="660" y="2616"/>
                </a:lnTo>
                <a:lnTo>
                  <a:pt x="644" y="2648"/>
                </a:lnTo>
                <a:lnTo>
                  <a:pt x="685" y="2664"/>
                </a:lnTo>
                <a:lnTo>
                  <a:pt x="677" y="2696"/>
                </a:lnTo>
                <a:lnTo>
                  <a:pt x="669" y="2751"/>
                </a:lnTo>
                <a:lnTo>
                  <a:pt x="709" y="2814"/>
                </a:lnTo>
                <a:lnTo>
                  <a:pt x="766" y="2822"/>
                </a:lnTo>
                <a:lnTo>
                  <a:pt x="799" y="2830"/>
                </a:lnTo>
                <a:lnTo>
                  <a:pt x="815" y="2862"/>
                </a:lnTo>
                <a:lnTo>
                  <a:pt x="791" y="2910"/>
                </a:lnTo>
                <a:lnTo>
                  <a:pt x="823" y="2949"/>
                </a:lnTo>
                <a:lnTo>
                  <a:pt x="856" y="2973"/>
                </a:lnTo>
                <a:lnTo>
                  <a:pt x="888" y="3005"/>
                </a:lnTo>
                <a:lnTo>
                  <a:pt x="921" y="3013"/>
                </a:lnTo>
                <a:lnTo>
                  <a:pt x="946" y="3052"/>
                </a:lnTo>
                <a:lnTo>
                  <a:pt x="962" y="3084"/>
                </a:lnTo>
                <a:lnTo>
                  <a:pt x="962" y="3131"/>
                </a:lnTo>
                <a:lnTo>
                  <a:pt x="954" y="3179"/>
                </a:lnTo>
                <a:lnTo>
                  <a:pt x="913" y="3243"/>
                </a:lnTo>
                <a:lnTo>
                  <a:pt x="946" y="3282"/>
                </a:lnTo>
                <a:lnTo>
                  <a:pt x="994" y="3314"/>
                </a:lnTo>
                <a:lnTo>
                  <a:pt x="1043" y="3338"/>
                </a:lnTo>
                <a:lnTo>
                  <a:pt x="1109" y="3353"/>
                </a:lnTo>
                <a:lnTo>
                  <a:pt x="1157" y="3385"/>
                </a:lnTo>
                <a:lnTo>
                  <a:pt x="1215" y="3417"/>
                </a:lnTo>
                <a:lnTo>
                  <a:pt x="1263" y="3441"/>
                </a:lnTo>
                <a:lnTo>
                  <a:pt x="1312" y="3480"/>
                </a:lnTo>
                <a:lnTo>
                  <a:pt x="1329" y="3575"/>
                </a:lnTo>
                <a:cubicBezTo>
                  <a:pt x="1329" y="3575"/>
                  <a:pt x="1312" y="3718"/>
                  <a:pt x="1304" y="3734"/>
                </a:cubicBezTo>
                <a:cubicBezTo>
                  <a:pt x="1304" y="3750"/>
                  <a:pt x="1280" y="3821"/>
                  <a:pt x="1272" y="3829"/>
                </a:cubicBezTo>
                <a:lnTo>
                  <a:pt x="1239" y="3861"/>
                </a:lnTo>
                <a:cubicBezTo>
                  <a:pt x="1239" y="3877"/>
                  <a:pt x="1215" y="3964"/>
                  <a:pt x="1215" y="3964"/>
                </a:cubicBezTo>
                <a:lnTo>
                  <a:pt x="1190" y="4019"/>
                </a:lnTo>
                <a:lnTo>
                  <a:pt x="1190" y="4051"/>
                </a:lnTo>
                <a:lnTo>
                  <a:pt x="1166" y="4114"/>
                </a:lnTo>
                <a:cubicBezTo>
                  <a:pt x="1157" y="4122"/>
                  <a:pt x="1141" y="4186"/>
                  <a:pt x="1141" y="4186"/>
                </a:cubicBezTo>
                <a:lnTo>
                  <a:pt x="1035" y="4392"/>
                </a:lnTo>
                <a:lnTo>
                  <a:pt x="986" y="4479"/>
                </a:lnTo>
                <a:lnTo>
                  <a:pt x="970" y="4519"/>
                </a:lnTo>
                <a:lnTo>
                  <a:pt x="954" y="4558"/>
                </a:lnTo>
                <a:cubicBezTo>
                  <a:pt x="954" y="4574"/>
                  <a:pt x="913" y="4646"/>
                  <a:pt x="913" y="4646"/>
                </a:cubicBezTo>
                <a:lnTo>
                  <a:pt x="897" y="4685"/>
                </a:lnTo>
                <a:lnTo>
                  <a:pt x="872" y="4717"/>
                </a:lnTo>
                <a:lnTo>
                  <a:pt x="905" y="4717"/>
                </a:lnTo>
                <a:lnTo>
                  <a:pt x="962" y="4693"/>
                </a:lnTo>
                <a:lnTo>
                  <a:pt x="978" y="4661"/>
                </a:lnTo>
                <a:lnTo>
                  <a:pt x="994" y="4630"/>
                </a:lnTo>
                <a:lnTo>
                  <a:pt x="1019" y="4598"/>
                </a:lnTo>
                <a:lnTo>
                  <a:pt x="1068" y="4582"/>
                </a:lnTo>
                <a:lnTo>
                  <a:pt x="1060" y="4630"/>
                </a:lnTo>
                <a:lnTo>
                  <a:pt x="1051" y="4685"/>
                </a:lnTo>
                <a:lnTo>
                  <a:pt x="1027" y="4653"/>
                </a:lnTo>
                <a:lnTo>
                  <a:pt x="1027" y="4685"/>
                </a:lnTo>
                <a:lnTo>
                  <a:pt x="1068" y="4741"/>
                </a:lnTo>
                <a:lnTo>
                  <a:pt x="1100" y="4749"/>
                </a:lnTo>
                <a:lnTo>
                  <a:pt x="1157" y="4780"/>
                </a:lnTo>
                <a:lnTo>
                  <a:pt x="1215" y="4788"/>
                </a:lnTo>
                <a:lnTo>
                  <a:pt x="1255" y="4780"/>
                </a:lnTo>
                <a:lnTo>
                  <a:pt x="1320" y="4765"/>
                </a:lnTo>
                <a:lnTo>
                  <a:pt x="1369" y="4765"/>
                </a:lnTo>
                <a:lnTo>
                  <a:pt x="1394" y="4804"/>
                </a:lnTo>
                <a:lnTo>
                  <a:pt x="1443" y="4812"/>
                </a:lnTo>
                <a:lnTo>
                  <a:pt x="1508" y="4828"/>
                </a:lnTo>
                <a:lnTo>
                  <a:pt x="1492" y="4860"/>
                </a:lnTo>
                <a:lnTo>
                  <a:pt x="1377" y="4860"/>
                </a:lnTo>
                <a:cubicBezTo>
                  <a:pt x="1369" y="4852"/>
                  <a:pt x="1280" y="4852"/>
                  <a:pt x="1280" y="4852"/>
                </a:cubicBezTo>
                <a:lnTo>
                  <a:pt x="1231" y="4860"/>
                </a:lnTo>
                <a:lnTo>
                  <a:pt x="1206" y="4891"/>
                </a:lnTo>
                <a:lnTo>
                  <a:pt x="1182" y="4963"/>
                </a:lnTo>
                <a:lnTo>
                  <a:pt x="1109" y="4979"/>
                </a:lnTo>
                <a:lnTo>
                  <a:pt x="1092" y="5042"/>
                </a:lnTo>
                <a:lnTo>
                  <a:pt x="1043" y="5010"/>
                </a:lnTo>
                <a:lnTo>
                  <a:pt x="1035" y="5050"/>
                </a:lnTo>
                <a:lnTo>
                  <a:pt x="1060" y="5153"/>
                </a:lnTo>
                <a:lnTo>
                  <a:pt x="1100" y="5185"/>
                </a:lnTo>
                <a:lnTo>
                  <a:pt x="1060" y="5216"/>
                </a:lnTo>
                <a:lnTo>
                  <a:pt x="1060" y="5272"/>
                </a:lnTo>
                <a:cubicBezTo>
                  <a:pt x="1051" y="5351"/>
                  <a:pt x="1027" y="5391"/>
                  <a:pt x="1019" y="5438"/>
                </a:cubicBezTo>
                <a:lnTo>
                  <a:pt x="994" y="5470"/>
                </a:lnTo>
                <a:lnTo>
                  <a:pt x="1035" y="5526"/>
                </a:lnTo>
                <a:lnTo>
                  <a:pt x="1035" y="5581"/>
                </a:lnTo>
                <a:lnTo>
                  <a:pt x="1084" y="5629"/>
                </a:lnTo>
                <a:lnTo>
                  <a:pt x="1068" y="5668"/>
                </a:lnTo>
                <a:lnTo>
                  <a:pt x="1100" y="5708"/>
                </a:lnTo>
                <a:lnTo>
                  <a:pt x="1141" y="5732"/>
                </a:lnTo>
                <a:lnTo>
                  <a:pt x="1157" y="5763"/>
                </a:lnTo>
                <a:lnTo>
                  <a:pt x="1174" y="5795"/>
                </a:lnTo>
                <a:lnTo>
                  <a:pt x="1215" y="5811"/>
                </a:lnTo>
                <a:lnTo>
                  <a:pt x="1190" y="5851"/>
                </a:lnTo>
                <a:lnTo>
                  <a:pt x="1149" y="5874"/>
                </a:lnTo>
                <a:lnTo>
                  <a:pt x="1125" y="5930"/>
                </a:lnTo>
                <a:lnTo>
                  <a:pt x="1141" y="5977"/>
                </a:lnTo>
                <a:lnTo>
                  <a:pt x="1174" y="5970"/>
                </a:lnTo>
                <a:lnTo>
                  <a:pt x="1198" y="6017"/>
                </a:lnTo>
                <a:lnTo>
                  <a:pt x="1255" y="6041"/>
                </a:lnTo>
                <a:lnTo>
                  <a:pt x="1288" y="6049"/>
                </a:lnTo>
                <a:lnTo>
                  <a:pt x="1280" y="6152"/>
                </a:lnTo>
                <a:lnTo>
                  <a:pt x="1296" y="6215"/>
                </a:lnTo>
                <a:lnTo>
                  <a:pt x="1296" y="6247"/>
                </a:lnTo>
                <a:lnTo>
                  <a:pt x="1329" y="6223"/>
                </a:lnTo>
                <a:lnTo>
                  <a:pt x="1345" y="6271"/>
                </a:lnTo>
                <a:lnTo>
                  <a:pt x="1386" y="6302"/>
                </a:lnTo>
                <a:lnTo>
                  <a:pt x="1418" y="6318"/>
                </a:lnTo>
                <a:lnTo>
                  <a:pt x="1418" y="6350"/>
                </a:lnTo>
                <a:lnTo>
                  <a:pt x="1451" y="6366"/>
                </a:lnTo>
                <a:lnTo>
                  <a:pt x="1467" y="6413"/>
                </a:lnTo>
                <a:lnTo>
                  <a:pt x="1500" y="6437"/>
                </a:lnTo>
                <a:lnTo>
                  <a:pt x="1492" y="6501"/>
                </a:lnTo>
                <a:lnTo>
                  <a:pt x="1500" y="6532"/>
                </a:lnTo>
                <a:lnTo>
                  <a:pt x="1532" y="6540"/>
                </a:lnTo>
                <a:lnTo>
                  <a:pt x="1565" y="6524"/>
                </a:lnTo>
                <a:lnTo>
                  <a:pt x="1630" y="6516"/>
                </a:lnTo>
                <a:lnTo>
                  <a:pt x="1646" y="6548"/>
                </a:lnTo>
                <a:lnTo>
                  <a:pt x="1695" y="6532"/>
                </a:lnTo>
                <a:lnTo>
                  <a:pt x="1752" y="6516"/>
                </a:lnTo>
                <a:lnTo>
                  <a:pt x="1818" y="6516"/>
                </a:lnTo>
                <a:lnTo>
                  <a:pt x="1826" y="6588"/>
                </a:lnTo>
                <a:lnTo>
                  <a:pt x="1867" y="6604"/>
                </a:lnTo>
                <a:lnTo>
                  <a:pt x="1907" y="6580"/>
                </a:lnTo>
                <a:lnTo>
                  <a:pt x="1932" y="6540"/>
                </a:lnTo>
                <a:lnTo>
                  <a:pt x="1964" y="6524"/>
                </a:lnTo>
                <a:lnTo>
                  <a:pt x="2021" y="6508"/>
                </a:lnTo>
                <a:lnTo>
                  <a:pt x="2095" y="6524"/>
                </a:lnTo>
                <a:lnTo>
                  <a:pt x="2144" y="6564"/>
                </a:lnTo>
                <a:lnTo>
                  <a:pt x="2176" y="6572"/>
                </a:lnTo>
                <a:lnTo>
                  <a:pt x="2209" y="6556"/>
                </a:lnTo>
                <a:lnTo>
                  <a:pt x="2225" y="6588"/>
                </a:lnTo>
                <a:lnTo>
                  <a:pt x="2225" y="6699"/>
                </a:lnTo>
                <a:lnTo>
                  <a:pt x="2298" y="6754"/>
                </a:lnTo>
                <a:lnTo>
                  <a:pt x="2290" y="6818"/>
                </a:lnTo>
                <a:lnTo>
                  <a:pt x="2266" y="6881"/>
                </a:lnTo>
                <a:lnTo>
                  <a:pt x="2323" y="6897"/>
                </a:lnTo>
                <a:lnTo>
                  <a:pt x="2355" y="6929"/>
                </a:lnTo>
                <a:lnTo>
                  <a:pt x="2388" y="6929"/>
                </a:lnTo>
                <a:lnTo>
                  <a:pt x="2396" y="6992"/>
                </a:lnTo>
                <a:lnTo>
                  <a:pt x="2437" y="7024"/>
                </a:lnTo>
                <a:lnTo>
                  <a:pt x="2478" y="7079"/>
                </a:lnTo>
                <a:lnTo>
                  <a:pt x="2567" y="7095"/>
                </a:lnTo>
                <a:lnTo>
                  <a:pt x="2608" y="7111"/>
                </a:lnTo>
                <a:lnTo>
                  <a:pt x="2624" y="7143"/>
                </a:lnTo>
                <a:lnTo>
                  <a:pt x="2633" y="7214"/>
                </a:lnTo>
                <a:lnTo>
                  <a:pt x="2673" y="7214"/>
                </a:lnTo>
                <a:lnTo>
                  <a:pt x="2722" y="7182"/>
                </a:lnTo>
                <a:lnTo>
                  <a:pt x="2755" y="7190"/>
                </a:lnTo>
                <a:lnTo>
                  <a:pt x="2796" y="7198"/>
                </a:lnTo>
                <a:lnTo>
                  <a:pt x="2836" y="7198"/>
                </a:lnTo>
                <a:lnTo>
                  <a:pt x="2820" y="7238"/>
                </a:lnTo>
                <a:lnTo>
                  <a:pt x="2853" y="7262"/>
                </a:lnTo>
                <a:lnTo>
                  <a:pt x="2885" y="7270"/>
                </a:lnTo>
                <a:lnTo>
                  <a:pt x="2926" y="7285"/>
                </a:lnTo>
                <a:lnTo>
                  <a:pt x="2910" y="7357"/>
                </a:lnTo>
                <a:lnTo>
                  <a:pt x="2877" y="7365"/>
                </a:lnTo>
                <a:lnTo>
                  <a:pt x="2869" y="7420"/>
                </a:lnTo>
                <a:lnTo>
                  <a:pt x="2812" y="7468"/>
                </a:lnTo>
                <a:lnTo>
                  <a:pt x="2755" y="7484"/>
                </a:lnTo>
                <a:lnTo>
                  <a:pt x="2698" y="7460"/>
                </a:lnTo>
                <a:lnTo>
                  <a:pt x="2665" y="7468"/>
                </a:lnTo>
                <a:lnTo>
                  <a:pt x="2633" y="7492"/>
                </a:lnTo>
                <a:lnTo>
                  <a:pt x="2616" y="7571"/>
                </a:lnTo>
                <a:lnTo>
                  <a:pt x="2649" y="7595"/>
                </a:lnTo>
                <a:lnTo>
                  <a:pt x="2690" y="7602"/>
                </a:lnTo>
                <a:lnTo>
                  <a:pt x="2730" y="7658"/>
                </a:lnTo>
                <a:lnTo>
                  <a:pt x="2730" y="7706"/>
                </a:lnTo>
                <a:lnTo>
                  <a:pt x="2747" y="7737"/>
                </a:lnTo>
                <a:lnTo>
                  <a:pt x="2771" y="7785"/>
                </a:lnTo>
                <a:lnTo>
                  <a:pt x="2796" y="7832"/>
                </a:lnTo>
                <a:lnTo>
                  <a:pt x="2828" y="7856"/>
                </a:lnTo>
                <a:lnTo>
                  <a:pt x="2869" y="7887"/>
                </a:lnTo>
                <a:lnTo>
                  <a:pt x="2967" y="7895"/>
                </a:lnTo>
                <a:lnTo>
                  <a:pt x="3008" y="7864"/>
                </a:lnTo>
                <a:lnTo>
                  <a:pt x="2999" y="7817"/>
                </a:lnTo>
                <a:lnTo>
                  <a:pt x="3016" y="7769"/>
                </a:lnTo>
                <a:lnTo>
                  <a:pt x="3089" y="7753"/>
                </a:lnTo>
                <a:lnTo>
                  <a:pt x="3138" y="7745"/>
                </a:lnTo>
                <a:lnTo>
                  <a:pt x="3170" y="7737"/>
                </a:lnTo>
                <a:lnTo>
                  <a:pt x="3219" y="7666"/>
                </a:lnTo>
                <a:lnTo>
                  <a:pt x="3285" y="7642"/>
                </a:lnTo>
                <a:lnTo>
                  <a:pt x="3317" y="7674"/>
                </a:lnTo>
                <a:cubicBezTo>
                  <a:pt x="3317" y="7674"/>
                  <a:pt x="3342" y="7602"/>
                  <a:pt x="3374" y="7618"/>
                </a:cubicBezTo>
                <a:lnTo>
                  <a:pt x="3407" y="7626"/>
                </a:lnTo>
                <a:lnTo>
                  <a:pt x="3431" y="7658"/>
                </a:lnTo>
                <a:lnTo>
                  <a:pt x="3480" y="7690"/>
                </a:lnTo>
                <a:lnTo>
                  <a:pt x="3488" y="7737"/>
                </a:lnTo>
                <a:lnTo>
                  <a:pt x="3578" y="7777"/>
                </a:lnTo>
                <a:lnTo>
                  <a:pt x="3611" y="7824"/>
                </a:lnTo>
                <a:lnTo>
                  <a:pt x="3554" y="7864"/>
                </a:lnTo>
                <a:lnTo>
                  <a:pt x="3537" y="7895"/>
                </a:lnTo>
                <a:lnTo>
                  <a:pt x="3611" y="7919"/>
                </a:lnTo>
                <a:lnTo>
                  <a:pt x="3611" y="7958"/>
                </a:lnTo>
                <a:lnTo>
                  <a:pt x="3603" y="7990"/>
                </a:lnTo>
                <a:lnTo>
                  <a:pt x="3651" y="7990"/>
                </a:lnTo>
                <a:lnTo>
                  <a:pt x="3635" y="8022"/>
                </a:lnTo>
                <a:lnTo>
                  <a:pt x="3643" y="8053"/>
                </a:lnTo>
                <a:lnTo>
                  <a:pt x="3684" y="8014"/>
                </a:lnTo>
                <a:lnTo>
                  <a:pt x="3749" y="7998"/>
                </a:lnTo>
                <a:lnTo>
                  <a:pt x="3814" y="8006"/>
                </a:lnTo>
                <a:lnTo>
                  <a:pt x="3855" y="7958"/>
                </a:lnTo>
                <a:lnTo>
                  <a:pt x="3920" y="8006"/>
                </a:lnTo>
                <a:lnTo>
                  <a:pt x="3937" y="8085"/>
                </a:lnTo>
                <a:lnTo>
                  <a:pt x="4026" y="8164"/>
                </a:lnTo>
                <a:lnTo>
                  <a:pt x="4035" y="8220"/>
                </a:lnTo>
                <a:lnTo>
                  <a:pt x="4083" y="8252"/>
                </a:lnTo>
                <a:lnTo>
                  <a:pt x="4124" y="8283"/>
                </a:lnTo>
                <a:lnTo>
                  <a:pt x="4140" y="8252"/>
                </a:lnTo>
                <a:cubicBezTo>
                  <a:pt x="4149" y="8244"/>
                  <a:pt x="4222" y="8212"/>
                  <a:pt x="4246" y="8220"/>
                </a:cubicBezTo>
                <a:lnTo>
                  <a:pt x="4287" y="8244"/>
                </a:lnTo>
                <a:lnTo>
                  <a:pt x="4320" y="8259"/>
                </a:lnTo>
                <a:lnTo>
                  <a:pt x="4352" y="8228"/>
                </a:lnTo>
                <a:lnTo>
                  <a:pt x="4393" y="8244"/>
                </a:lnTo>
                <a:lnTo>
                  <a:pt x="4434" y="8220"/>
                </a:lnTo>
                <a:lnTo>
                  <a:pt x="4466" y="8172"/>
                </a:lnTo>
                <a:lnTo>
                  <a:pt x="4515" y="8156"/>
                </a:lnTo>
                <a:cubicBezTo>
                  <a:pt x="4524" y="8149"/>
                  <a:pt x="4548" y="8085"/>
                  <a:pt x="4548" y="8085"/>
                </a:cubicBezTo>
                <a:lnTo>
                  <a:pt x="4597" y="8109"/>
                </a:lnTo>
                <a:lnTo>
                  <a:pt x="4646" y="8125"/>
                </a:lnTo>
                <a:lnTo>
                  <a:pt x="4703" y="8180"/>
                </a:lnTo>
                <a:lnTo>
                  <a:pt x="4744" y="8188"/>
                </a:lnTo>
                <a:lnTo>
                  <a:pt x="4792" y="8220"/>
                </a:lnTo>
                <a:lnTo>
                  <a:pt x="4833" y="8196"/>
                </a:lnTo>
                <a:lnTo>
                  <a:pt x="4841" y="8133"/>
                </a:lnTo>
                <a:lnTo>
                  <a:pt x="4890" y="8156"/>
                </a:lnTo>
                <a:lnTo>
                  <a:pt x="4947" y="8149"/>
                </a:lnTo>
                <a:lnTo>
                  <a:pt x="5013" y="8140"/>
                </a:lnTo>
                <a:cubicBezTo>
                  <a:pt x="5013" y="8140"/>
                  <a:pt x="5078" y="8156"/>
                  <a:pt x="5086" y="8149"/>
                </a:cubicBezTo>
                <a:lnTo>
                  <a:pt x="5110" y="8117"/>
                </a:lnTo>
                <a:cubicBezTo>
                  <a:pt x="5110" y="8117"/>
                  <a:pt x="5176" y="8156"/>
                  <a:pt x="5192" y="8133"/>
                </a:cubicBezTo>
                <a:lnTo>
                  <a:pt x="5257" y="8149"/>
                </a:lnTo>
                <a:lnTo>
                  <a:pt x="5290" y="8172"/>
                </a:lnTo>
                <a:lnTo>
                  <a:pt x="5347" y="8172"/>
                </a:lnTo>
                <a:lnTo>
                  <a:pt x="5363" y="8140"/>
                </a:lnTo>
                <a:lnTo>
                  <a:pt x="5371" y="8109"/>
                </a:lnTo>
                <a:lnTo>
                  <a:pt x="5420" y="8125"/>
                </a:lnTo>
                <a:cubicBezTo>
                  <a:pt x="5420" y="8125"/>
                  <a:pt x="5469" y="8220"/>
                  <a:pt x="5477" y="8228"/>
                </a:cubicBezTo>
                <a:lnTo>
                  <a:pt x="5477" y="8259"/>
                </a:lnTo>
                <a:lnTo>
                  <a:pt x="5485" y="8307"/>
                </a:lnTo>
                <a:lnTo>
                  <a:pt x="5453" y="8347"/>
                </a:lnTo>
                <a:lnTo>
                  <a:pt x="5412" y="8370"/>
                </a:lnTo>
                <a:lnTo>
                  <a:pt x="5404" y="8410"/>
                </a:lnTo>
                <a:lnTo>
                  <a:pt x="5445" y="8410"/>
                </a:lnTo>
                <a:lnTo>
                  <a:pt x="5493" y="8402"/>
                </a:lnTo>
                <a:lnTo>
                  <a:pt x="5526" y="8394"/>
                </a:lnTo>
                <a:lnTo>
                  <a:pt x="5502" y="8434"/>
                </a:lnTo>
                <a:lnTo>
                  <a:pt x="5477" y="8466"/>
                </a:lnTo>
                <a:lnTo>
                  <a:pt x="5493" y="8545"/>
                </a:lnTo>
                <a:lnTo>
                  <a:pt x="5567" y="8592"/>
                </a:lnTo>
                <a:cubicBezTo>
                  <a:pt x="5583" y="8608"/>
                  <a:pt x="5526" y="8632"/>
                  <a:pt x="5599" y="8640"/>
                </a:cubicBezTo>
                <a:cubicBezTo>
                  <a:pt x="5673" y="8648"/>
                  <a:pt x="5608" y="8672"/>
                  <a:pt x="5599" y="8688"/>
                </a:cubicBezTo>
                <a:lnTo>
                  <a:pt x="5608" y="8767"/>
                </a:lnTo>
                <a:lnTo>
                  <a:pt x="5624" y="8806"/>
                </a:lnTo>
                <a:lnTo>
                  <a:pt x="5648" y="8838"/>
                </a:lnTo>
                <a:cubicBezTo>
                  <a:pt x="5673" y="8878"/>
                  <a:pt x="5591" y="8870"/>
                  <a:pt x="5583" y="8870"/>
                </a:cubicBezTo>
                <a:cubicBezTo>
                  <a:pt x="5575" y="8870"/>
                  <a:pt x="5444" y="8917"/>
                  <a:pt x="5420" y="8925"/>
                </a:cubicBezTo>
                <a:lnTo>
                  <a:pt x="5387" y="8949"/>
                </a:lnTo>
                <a:lnTo>
                  <a:pt x="5379" y="8989"/>
                </a:lnTo>
                <a:lnTo>
                  <a:pt x="5330" y="9060"/>
                </a:lnTo>
                <a:lnTo>
                  <a:pt x="5282" y="9076"/>
                </a:lnTo>
                <a:lnTo>
                  <a:pt x="5282" y="9147"/>
                </a:lnTo>
                <a:cubicBezTo>
                  <a:pt x="5282" y="9163"/>
                  <a:pt x="5322" y="9227"/>
                  <a:pt x="5330" y="9258"/>
                </a:cubicBezTo>
                <a:lnTo>
                  <a:pt x="5306" y="9298"/>
                </a:lnTo>
                <a:lnTo>
                  <a:pt x="5306" y="9330"/>
                </a:lnTo>
                <a:lnTo>
                  <a:pt x="5265" y="9353"/>
                </a:lnTo>
                <a:lnTo>
                  <a:pt x="5167" y="9353"/>
                </a:lnTo>
                <a:lnTo>
                  <a:pt x="5208" y="9401"/>
                </a:lnTo>
                <a:cubicBezTo>
                  <a:pt x="5216" y="9409"/>
                  <a:pt x="5118" y="9433"/>
                  <a:pt x="5102" y="9457"/>
                </a:cubicBezTo>
                <a:lnTo>
                  <a:pt x="5078" y="9488"/>
                </a:lnTo>
                <a:lnTo>
                  <a:pt x="5061" y="9528"/>
                </a:lnTo>
                <a:lnTo>
                  <a:pt x="5045" y="9560"/>
                </a:lnTo>
                <a:lnTo>
                  <a:pt x="5013" y="9567"/>
                </a:lnTo>
                <a:lnTo>
                  <a:pt x="4972" y="9623"/>
                </a:lnTo>
                <a:lnTo>
                  <a:pt x="4890" y="9671"/>
                </a:lnTo>
                <a:cubicBezTo>
                  <a:pt x="4890" y="9671"/>
                  <a:pt x="4768" y="9710"/>
                  <a:pt x="4744" y="9718"/>
                </a:cubicBezTo>
                <a:lnTo>
                  <a:pt x="4735" y="9750"/>
                </a:lnTo>
                <a:lnTo>
                  <a:pt x="4801" y="9758"/>
                </a:lnTo>
                <a:lnTo>
                  <a:pt x="4996" y="9758"/>
                </a:lnTo>
                <a:lnTo>
                  <a:pt x="5167" y="9615"/>
                </a:lnTo>
                <a:lnTo>
                  <a:pt x="5298" y="9639"/>
                </a:lnTo>
                <a:lnTo>
                  <a:pt x="5436" y="9591"/>
                </a:lnTo>
                <a:lnTo>
                  <a:pt x="5485" y="9671"/>
                </a:lnTo>
                <a:lnTo>
                  <a:pt x="5339" y="9750"/>
                </a:lnTo>
                <a:lnTo>
                  <a:pt x="5176" y="9758"/>
                </a:lnTo>
                <a:lnTo>
                  <a:pt x="5208" y="9908"/>
                </a:lnTo>
                <a:lnTo>
                  <a:pt x="5224" y="10019"/>
                </a:lnTo>
                <a:lnTo>
                  <a:pt x="5192" y="10114"/>
                </a:lnTo>
                <a:cubicBezTo>
                  <a:pt x="5159" y="10099"/>
                  <a:pt x="5135" y="10178"/>
                  <a:pt x="5135" y="10194"/>
                </a:cubicBezTo>
                <a:lnTo>
                  <a:pt x="5265" y="10186"/>
                </a:lnTo>
                <a:cubicBezTo>
                  <a:pt x="5265" y="10186"/>
                  <a:pt x="5396" y="10099"/>
                  <a:pt x="5428" y="10114"/>
                </a:cubicBezTo>
                <a:cubicBezTo>
                  <a:pt x="5453" y="10130"/>
                  <a:pt x="5591" y="10059"/>
                  <a:pt x="5591" y="10059"/>
                </a:cubicBezTo>
                <a:lnTo>
                  <a:pt x="5713" y="10130"/>
                </a:lnTo>
                <a:lnTo>
                  <a:pt x="5713" y="10170"/>
                </a:lnTo>
                <a:lnTo>
                  <a:pt x="5665" y="10225"/>
                </a:lnTo>
                <a:lnTo>
                  <a:pt x="5607" y="10273"/>
                </a:lnTo>
                <a:lnTo>
                  <a:pt x="5575" y="10289"/>
                </a:lnTo>
                <a:cubicBezTo>
                  <a:pt x="5542" y="10305"/>
                  <a:pt x="5550" y="10376"/>
                  <a:pt x="5550" y="10400"/>
                </a:cubicBezTo>
                <a:cubicBezTo>
                  <a:pt x="5550" y="10424"/>
                  <a:pt x="5616" y="10511"/>
                  <a:pt x="5648" y="10511"/>
                </a:cubicBezTo>
                <a:cubicBezTo>
                  <a:pt x="5681" y="10511"/>
                  <a:pt x="5885" y="10558"/>
                  <a:pt x="5885" y="10558"/>
                </a:cubicBezTo>
                <a:cubicBezTo>
                  <a:pt x="6129" y="10622"/>
                  <a:pt x="6414" y="10717"/>
                  <a:pt x="6675" y="10741"/>
                </a:cubicBezTo>
                <a:lnTo>
                  <a:pt x="6659" y="10709"/>
                </a:lnTo>
                <a:lnTo>
                  <a:pt x="6692" y="10685"/>
                </a:lnTo>
                <a:lnTo>
                  <a:pt x="6724" y="10677"/>
                </a:lnTo>
                <a:lnTo>
                  <a:pt x="6773" y="10693"/>
                </a:lnTo>
                <a:lnTo>
                  <a:pt x="6830" y="10669"/>
                </a:lnTo>
                <a:lnTo>
                  <a:pt x="6863" y="10677"/>
                </a:lnTo>
                <a:lnTo>
                  <a:pt x="6904" y="10685"/>
                </a:lnTo>
                <a:lnTo>
                  <a:pt x="6969" y="10709"/>
                </a:lnTo>
                <a:lnTo>
                  <a:pt x="7009" y="10701"/>
                </a:lnTo>
                <a:lnTo>
                  <a:pt x="7042" y="10701"/>
                </a:lnTo>
                <a:lnTo>
                  <a:pt x="7083" y="10709"/>
                </a:lnTo>
                <a:lnTo>
                  <a:pt x="7115" y="10717"/>
                </a:lnTo>
                <a:lnTo>
                  <a:pt x="7148" y="10733"/>
                </a:lnTo>
                <a:lnTo>
                  <a:pt x="7189" y="10725"/>
                </a:lnTo>
                <a:lnTo>
                  <a:pt x="7221" y="10725"/>
                </a:lnTo>
                <a:lnTo>
                  <a:pt x="7254" y="10725"/>
                </a:lnTo>
                <a:lnTo>
                  <a:pt x="7286" y="10709"/>
                </a:lnTo>
                <a:lnTo>
                  <a:pt x="7327" y="10701"/>
                </a:lnTo>
                <a:lnTo>
                  <a:pt x="7360" y="10677"/>
                </a:lnTo>
                <a:lnTo>
                  <a:pt x="7392" y="10669"/>
                </a:lnTo>
                <a:lnTo>
                  <a:pt x="7433" y="10661"/>
                </a:lnTo>
                <a:lnTo>
                  <a:pt x="7490" y="10685"/>
                </a:lnTo>
                <a:lnTo>
                  <a:pt x="7547" y="10646"/>
                </a:lnTo>
                <a:lnTo>
                  <a:pt x="7612" y="10661"/>
                </a:lnTo>
                <a:lnTo>
                  <a:pt x="7653" y="10701"/>
                </a:lnTo>
                <a:lnTo>
                  <a:pt x="7718" y="10717"/>
                </a:lnTo>
                <a:lnTo>
                  <a:pt x="7824" y="10725"/>
                </a:lnTo>
                <a:lnTo>
                  <a:pt x="7832" y="10727"/>
                </a:lnTo>
                <a:lnTo>
                  <a:pt x="7832" y="0"/>
                </a:lnTo>
                <a:lnTo>
                  <a:pt x="3415" y="0"/>
                </a:lnTo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46" name="Freeform 238">
            <a:extLst>
              <a:ext uri="{FF2B5EF4-FFF2-40B4-BE49-F238E27FC236}">
                <a16:creationId xmlns:a16="http://schemas.microsoft.com/office/drawing/2014/main" id="{B7999216-C97E-89EF-A305-8FE3AA2B6130}"/>
              </a:ext>
            </a:extLst>
          </p:cNvPr>
          <p:cNvSpPr>
            <a:spLocks noChangeArrowheads="1"/>
          </p:cNvSpPr>
          <p:nvPr>
            <p:custDataLst>
              <p:tags r:id="rId237"/>
            </p:custDataLst>
          </p:nvPr>
        </p:nvSpPr>
        <p:spPr bwMode="auto">
          <a:xfrm>
            <a:off x="8293588" y="0"/>
            <a:ext cx="3216721" cy="4412125"/>
          </a:xfrm>
          <a:custGeom>
            <a:avLst/>
            <a:gdLst>
              <a:gd name="T0" fmla="*/ 3211 w 7833"/>
              <a:gd name="T1" fmla="*/ 436 h 10742"/>
              <a:gd name="T2" fmla="*/ 3081 w 7833"/>
              <a:gd name="T3" fmla="*/ 888 h 10742"/>
              <a:gd name="T4" fmla="*/ 2910 w 7833"/>
              <a:gd name="T5" fmla="*/ 524 h 10742"/>
              <a:gd name="T6" fmla="*/ 2739 w 7833"/>
              <a:gd name="T7" fmla="*/ 270 h 10742"/>
              <a:gd name="T8" fmla="*/ 2559 w 7833"/>
              <a:gd name="T9" fmla="*/ 571 h 10742"/>
              <a:gd name="T10" fmla="*/ 2837 w 7833"/>
              <a:gd name="T11" fmla="*/ 967 h 10742"/>
              <a:gd name="T12" fmla="*/ 2771 w 7833"/>
              <a:gd name="T13" fmla="*/ 1269 h 10742"/>
              <a:gd name="T14" fmla="*/ 2421 w 7833"/>
              <a:gd name="T15" fmla="*/ 1990 h 10742"/>
              <a:gd name="T16" fmla="*/ 2567 w 7833"/>
              <a:gd name="T17" fmla="*/ 2275 h 10742"/>
              <a:gd name="T18" fmla="*/ 1940 w 7833"/>
              <a:gd name="T19" fmla="*/ 2267 h 10742"/>
              <a:gd name="T20" fmla="*/ 2225 w 7833"/>
              <a:gd name="T21" fmla="*/ 2513 h 10742"/>
              <a:gd name="T22" fmla="*/ 1997 w 7833"/>
              <a:gd name="T23" fmla="*/ 2751 h 10742"/>
              <a:gd name="T24" fmla="*/ 1687 w 7833"/>
              <a:gd name="T25" fmla="*/ 2593 h 10742"/>
              <a:gd name="T26" fmla="*/ 1516 w 7833"/>
              <a:gd name="T27" fmla="*/ 2252 h 10742"/>
              <a:gd name="T28" fmla="*/ 1198 w 7833"/>
              <a:gd name="T29" fmla="*/ 1966 h 10742"/>
              <a:gd name="T30" fmla="*/ 864 w 7833"/>
              <a:gd name="T31" fmla="*/ 1760 h 10742"/>
              <a:gd name="T32" fmla="*/ 1223 w 7833"/>
              <a:gd name="T33" fmla="*/ 1816 h 10742"/>
              <a:gd name="T34" fmla="*/ 1744 w 7833"/>
              <a:gd name="T35" fmla="*/ 1808 h 10742"/>
              <a:gd name="T36" fmla="*/ 2348 w 7833"/>
              <a:gd name="T37" fmla="*/ 1340 h 10742"/>
              <a:gd name="T38" fmla="*/ 2046 w 7833"/>
              <a:gd name="T39" fmla="*/ 936 h 10742"/>
              <a:gd name="T40" fmla="*/ 1598 w 7833"/>
              <a:gd name="T41" fmla="*/ 841 h 10742"/>
              <a:gd name="T42" fmla="*/ 880 w 7833"/>
              <a:gd name="T43" fmla="*/ 722 h 10742"/>
              <a:gd name="T44" fmla="*/ 530 w 7833"/>
              <a:gd name="T45" fmla="*/ 746 h 10742"/>
              <a:gd name="T46" fmla="*/ 432 w 7833"/>
              <a:gd name="T47" fmla="*/ 571 h 10742"/>
              <a:gd name="T48" fmla="*/ 302 w 7833"/>
              <a:gd name="T49" fmla="*/ 825 h 10742"/>
              <a:gd name="T50" fmla="*/ 57 w 7833"/>
              <a:gd name="T51" fmla="*/ 1205 h 10742"/>
              <a:gd name="T52" fmla="*/ 399 w 7833"/>
              <a:gd name="T53" fmla="*/ 1657 h 10742"/>
              <a:gd name="T54" fmla="*/ 530 w 7833"/>
              <a:gd name="T55" fmla="*/ 2252 h 10742"/>
              <a:gd name="T56" fmla="*/ 677 w 7833"/>
              <a:gd name="T57" fmla="*/ 2696 h 10742"/>
              <a:gd name="T58" fmla="*/ 946 w 7833"/>
              <a:gd name="T59" fmla="*/ 3052 h 10742"/>
              <a:gd name="T60" fmla="*/ 1263 w 7833"/>
              <a:gd name="T61" fmla="*/ 3441 h 10742"/>
              <a:gd name="T62" fmla="*/ 1035 w 7833"/>
              <a:gd name="T63" fmla="*/ 4392 h 10742"/>
              <a:gd name="T64" fmla="*/ 1019 w 7833"/>
              <a:gd name="T65" fmla="*/ 4598 h 10742"/>
              <a:gd name="T66" fmla="*/ 1320 w 7833"/>
              <a:gd name="T67" fmla="*/ 4765 h 10742"/>
              <a:gd name="T68" fmla="*/ 1109 w 7833"/>
              <a:gd name="T69" fmla="*/ 4979 h 10742"/>
              <a:gd name="T70" fmla="*/ 1035 w 7833"/>
              <a:gd name="T71" fmla="*/ 5581 h 10742"/>
              <a:gd name="T72" fmla="*/ 1141 w 7833"/>
              <a:gd name="T73" fmla="*/ 5977 h 10742"/>
              <a:gd name="T74" fmla="*/ 1418 w 7833"/>
              <a:gd name="T75" fmla="*/ 6318 h 10742"/>
              <a:gd name="T76" fmla="*/ 1695 w 7833"/>
              <a:gd name="T77" fmla="*/ 6532 h 10742"/>
              <a:gd name="T78" fmla="*/ 2176 w 7833"/>
              <a:gd name="T79" fmla="*/ 6572 h 10742"/>
              <a:gd name="T80" fmla="*/ 2437 w 7833"/>
              <a:gd name="T81" fmla="*/ 7024 h 10742"/>
              <a:gd name="T82" fmla="*/ 2820 w 7833"/>
              <a:gd name="T83" fmla="*/ 7238 h 10742"/>
              <a:gd name="T84" fmla="*/ 2633 w 7833"/>
              <a:gd name="T85" fmla="*/ 7492 h 10742"/>
              <a:gd name="T86" fmla="*/ 2967 w 7833"/>
              <a:gd name="T87" fmla="*/ 7895 h 10742"/>
              <a:gd name="T88" fmla="*/ 3407 w 7833"/>
              <a:gd name="T89" fmla="*/ 7626 h 10742"/>
              <a:gd name="T90" fmla="*/ 3651 w 7833"/>
              <a:gd name="T91" fmla="*/ 7990 h 10742"/>
              <a:gd name="T92" fmla="*/ 4083 w 7833"/>
              <a:gd name="T93" fmla="*/ 8252 h 10742"/>
              <a:gd name="T94" fmla="*/ 4548 w 7833"/>
              <a:gd name="T95" fmla="*/ 8085 h 10742"/>
              <a:gd name="T96" fmla="*/ 5086 w 7833"/>
              <a:gd name="T97" fmla="*/ 8149 h 10742"/>
              <a:gd name="T98" fmla="*/ 5485 w 7833"/>
              <a:gd name="T99" fmla="*/ 8307 h 10742"/>
              <a:gd name="T100" fmla="*/ 5599 w 7833"/>
              <a:gd name="T101" fmla="*/ 8640 h 10742"/>
              <a:gd name="T102" fmla="*/ 5282 w 7833"/>
              <a:gd name="T103" fmla="*/ 9147 h 10742"/>
              <a:gd name="T104" fmla="*/ 5013 w 7833"/>
              <a:gd name="T105" fmla="*/ 9567 h 10742"/>
              <a:gd name="T106" fmla="*/ 5339 w 7833"/>
              <a:gd name="T107" fmla="*/ 9750 h 10742"/>
              <a:gd name="T108" fmla="*/ 5665 w 7833"/>
              <a:gd name="T109" fmla="*/ 10225 h 10742"/>
              <a:gd name="T110" fmla="*/ 6830 w 7833"/>
              <a:gd name="T111" fmla="*/ 10669 h 10742"/>
              <a:gd name="T112" fmla="*/ 7254 w 7833"/>
              <a:gd name="T113" fmla="*/ 10725 h 10742"/>
              <a:gd name="T114" fmla="*/ 7824 w 7833"/>
              <a:gd name="T115" fmla="*/ 10725 h 107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833" h="10742">
                <a:moveTo>
                  <a:pt x="7832" y="0"/>
                </a:moveTo>
                <a:lnTo>
                  <a:pt x="3415" y="0"/>
                </a:lnTo>
                <a:lnTo>
                  <a:pt x="3391" y="64"/>
                </a:lnTo>
                <a:lnTo>
                  <a:pt x="3366" y="119"/>
                </a:lnTo>
                <a:lnTo>
                  <a:pt x="3326" y="214"/>
                </a:lnTo>
                <a:lnTo>
                  <a:pt x="3293" y="230"/>
                </a:lnTo>
                <a:lnTo>
                  <a:pt x="3268" y="262"/>
                </a:lnTo>
                <a:lnTo>
                  <a:pt x="3301" y="302"/>
                </a:lnTo>
                <a:lnTo>
                  <a:pt x="3285" y="333"/>
                </a:lnTo>
                <a:lnTo>
                  <a:pt x="3228" y="405"/>
                </a:lnTo>
                <a:lnTo>
                  <a:pt x="3211" y="436"/>
                </a:lnTo>
                <a:lnTo>
                  <a:pt x="3244" y="468"/>
                </a:lnTo>
                <a:lnTo>
                  <a:pt x="3252" y="508"/>
                </a:lnTo>
                <a:lnTo>
                  <a:pt x="3268" y="547"/>
                </a:lnTo>
                <a:lnTo>
                  <a:pt x="3293" y="603"/>
                </a:lnTo>
                <a:lnTo>
                  <a:pt x="3309" y="650"/>
                </a:lnTo>
                <a:cubicBezTo>
                  <a:pt x="3309" y="650"/>
                  <a:pt x="3317" y="714"/>
                  <a:pt x="3301" y="745"/>
                </a:cubicBezTo>
                <a:lnTo>
                  <a:pt x="3260" y="785"/>
                </a:lnTo>
                <a:lnTo>
                  <a:pt x="3236" y="817"/>
                </a:lnTo>
                <a:lnTo>
                  <a:pt x="3195" y="841"/>
                </a:lnTo>
                <a:lnTo>
                  <a:pt x="3138" y="880"/>
                </a:lnTo>
                <a:lnTo>
                  <a:pt x="3081" y="888"/>
                </a:lnTo>
                <a:lnTo>
                  <a:pt x="3032" y="864"/>
                </a:lnTo>
                <a:lnTo>
                  <a:pt x="2975" y="809"/>
                </a:lnTo>
                <a:lnTo>
                  <a:pt x="2902" y="801"/>
                </a:lnTo>
                <a:cubicBezTo>
                  <a:pt x="2902" y="801"/>
                  <a:pt x="2828" y="785"/>
                  <a:pt x="2828" y="777"/>
                </a:cubicBezTo>
                <a:lnTo>
                  <a:pt x="2812" y="745"/>
                </a:lnTo>
                <a:lnTo>
                  <a:pt x="2804" y="706"/>
                </a:lnTo>
                <a:lnTo>
                  <a:pt x="2820" y="658"/>
                </a:lnTo>
                <a:lnTo>
                  <a:pt x="2812" y="627"/>
                </a:lnTo>
                <a:lnTo>
                  <a:pt x="2828" y="595"/>
                </a:lnTo>
                <a:lnTo>
                  <a:pt x="2869" y="555"/>
                </a:lnTo>
                <a:lnTo>
                  <a:pt x="2910" y="524"/>
                </a:lnTo>
                <a:lnTo>
                  <a:pt x="2942" y="508"/>
                </a:lnTo>
                <a:lnTo>
                  <a:pt x="2975" y="492"/>
                </a:lnTo>
                <a:lnTo>
                  <a:pt x="2975" y="460"/>
                </a:lnTo>
                <a:lnTo>
                  <a:pt x="2975" y="428"/>
                </a:lnTo>
                <a:lnTo>
                  <a:pt x="2918" y="397"/>
                </a:lnTo>
                <a:lnTo>
                  <a:pt x="2885" y="349"/>
                </a:lnTo>
                <a:lnTo>
                  <a:pt x="2853" y="333"/>
                </a:lnTo>
                <a:lnTo>
                  <a:pt x="2804" y="325"/>
                </a:lnTo>
                <a:lnTo>
                  <a:pt x="2771" y="317"/>
                </a:lnTo>
                <a:lnTo>
                  <a:pt x="2739" y="302"/>
                </a:lnTo>
                <a:lnTo>
                  <a:pt x="2739" y="270"/>
                </a:lnTo>
                <a:lnTo>
                  <a:pt x="2682" y="270"/>
                </a:lnTo>
                <a:lnTo>
                  <a:pt x="2625" y="278"/>
                </a:lnTo>
                <a:lnTo>
                  <a:pt x="2502" y="341"/>
                </a:lnTo>
                <a:lnTo>
                  <a:pt x="2445" y="381"/>
                </a:lnTo>
                <a:lnTo>
                  <a:pt x="2339" y="381"/>
                </a:lnTo>
                <a:lnTo>
                  <a:pt x="2299" y="413"/>
                </a:lnTo>
                <a:lnTo>
                  <a:pt x="2356" y="436"/>
                </a:lnTo>
                <a:lnTo>
                  <a:pt x="2462" y="468"/>
                </a:lnTo>
                <a:lnTo>
                  <a:pt x="2527" y="484"/>
                </a:lnTo>
                <a:lnTo>
                  <a:pt x="2543" y="539"/>
                </a:lnTo>
                <a:lnTo>
                  <a:pt x="2559" y="571"/>
                </a:lnTo>
                <a:lnTo>
                  <a:pt x="2576" y="603"/>
                </a:lnTo>
                <a:lnTo>
                  <a:pt x="2592" y="642"/>
                </a:lnTo>
                <a:lnTo>
                  <a:pt x="2616" y="706"/>
                </a:lnTo>
                <a:lnTo>
                  <a:pt x="2625" y="769"/>
                </a:lnTo>
                <a:lnTo>
                  <a:pt x="2641" y="841"/>
                </a:lnTo>
                <a:lnTo>
                  <a:pt x="2649" y="896"/>
                </a:lnTo>
                <a:lnTo>
                  <a:pt x="2673" y="936"/>
                </a:lnTo>
                <a:lnTo>
                  <a:pt x="2706" y="936"/>
                </a:lnTo>
                <a:lnTo>
                  <a:pt x="2739" y="928"/>
                </a:lnTo>
                <a:lnTo>
                  <a:pt x="2779" y="936"/>
                </a:lnTo>
                <a:lnTo>
                  <a:pt x="2837" y="967"/>
                </a:lnTo>
                <a:lnTo>
                  <a:pt x="2853" y="999"/>
                </a:lnTo>
                <a:lnTo>
                  <a:pt x="2885" y="1063"/>
                </a:lnTo>
                <a:lnTo>
                  <a:pt x="2902" y="1102"/>
                </a:lnTo>
                <a:lnTo>
                  <a:pt x="2910" y="1150"/>
                </a:lnTo>
                <a:cubicBezTo>
                  <a:pt x="2910" y="1150"/>
                  <a:pt x="2918" y="1213"/>
                  <a:pt x="2918" y="1245"/>
                </a:cubicBezTo>
                <a:lnTo>
                  <a:pt x="2926" y="1285"/>
                </a:lnTo>
                <a:lnTo>
                  <a:pt x="2975" y="1340"/>
                </a:lnTo>
                <a:lnTo>
                  <a:pt x="2918" y="1316"/>
                </a:lnTo>
                <a:lnTo>
                  <a:pt x="2869" y="1340"/>
                </a:lnTo>
                <a:lnTo>
                  <a:pt x="2861" y="1300"/>
                </a:lnTo>
                <a:lnTo>
                  <a:pt x="2771" y="1269"/>
                </a:lnTo>
                <a:cubicBezTo>
                  <a:pt x="2771" y="1269"/>
                  <a:pt x="2706" y="1308"/>
                  <a:pt x="2673" y="1316"/>
                </a:cubicBezTo>
                <a:lnTo>
                  <a:pt x="2567" y="1316"/>
                </a:lnTo>
                <a:lnTo>
                  <a:pt x="2567" y="1443"/>
                </a:lnTo>
                <a:lnTo>
                  <a:pt x="2551" y="1514"/>
                </a:lnTo>
                <a:lnTo>
                  <a:pt x="2527" y="1586"/>
                </a:lnTo>
                <a:lnTo>
                  <a:pt x="2445" y="1681"/>
                </a:lnTo>
                <a:lnTo>
                  <a:pt x="2429" y="1752"/>
                </a:lnTo>
                <a:lnTo>
                  <a:pt x="2388" y="1832"/>
                </a:lnTo>
                <a:lnTo>
                  <a:pt x="2380" y="1871"/>
                </a:lnTo>
                <a:cubicBezTo>
                  <a:pt x="2380" y="1871"/>
                  <a:pt x="2372" y="1942"/>
                  <a:pt x="2388" y="1982"/>
                </a:cubicBezTo>
                <a:lnTo>
                  <a:pt x="2421" y="1990"/>
                </a:lnTo>
                <a:cubicBezTo>
                  <a:pt x="2421" y="1990"/>
                  <a:pt x="2494" y="2030"/>
                  <a:pt x="2510" y="2045"/>
                </a:cubicBezTo>
                <a:lnTo>
                  <a:pt x="2559" y="2061"/>
                </a:lnTo>
                <a:lnTo>
                  <a:pt x="2592" y="2069"/>
                </a:lnTo>
                <a:lnTo>
                  <a:pt x="2616" y="2101"/>
                </a:lnTo>
                <a:lnTo>
                  <a:pt x="2625" y="2133"/>
                </a:lnTo>
                <a:lnTo>
                  <a:pt x="2641" y="2164"/>
                </a:lnTo>
                <a:lnTo>
                  <a:pt x="2690" y="2228"/>
                </a:lnTo>
                <a:lnTo>
                  <a:pt x="2641" y="2244"/>
                </a:lnTo>
                <a:lnTo>
                  <a:pt x="2608" y="2236"/>
                </a:lnTo>
                <a:lnTo>
                  <a:pt x="2567" y="2236"/>
                </a:lnTo>
                <a:lnTo>
                  <a:pt x="2567" y="2275"/>
                </a:lnTo>
                <a:lnTo>
                  <a:pt x="2519" y="2299"/>
                </a:lnTo>
                <a:lnTo>
                  <a:pt x="2453" y="2283"/>
                </a:lnTo>
                <a:lnTo>
                  <a:pt x="2290" y="2283"/>
                </a:lnTo>
                <a:lnTo>
                  <a:pt x="2250" y="2291"/>
                </a:lnTo>
                <a:lnTo>
                  <a:pt x="2176" y="2291"/>
                </a:lnTo>
                <a:lnTo>
                  <a:pt x="2136" y="2260"/>
                </a:lnTo>
                <a:lnTo>
                  <a:pt x="2087" y="2236"/>
                </a:lnTo>
                <a:lnTo>
                  <a:pt x="2054" y="2228"/>
                </a:lnTo>
                <a:lnTo>
                  <a:pt x="2005" y="2212"/>
                </a:lnTo>
                <a:lnTo>
                  <a:pt x="1932" y="2228"/>
                </a:lnTo>
                <a:lnTo>
                  <a:pt x="1940" y="2267"/>
                </a:lnTo>
                <a:lnTo>
                  <a:pt x="1948" y="2323"/>
                </a:lnTo>
                <a:lnTo>
                  <a:pt x="1940" y="2371"/>
                </a:lnTo>
                <a:lnTo>
                  <a:pt x="1899" y="2371"/>
                </a:lnTo>
                <a:lnTo>
                  <a:pt x="1932" y="2402"/>
                </a:lnTo>
                <a:lnTo>
                  <a:pt x="1956" y="2442"/>
                </a:lnTo>
                <a:lnTo>
                  <a:pt x="1997" y="2442"/>
                </a:lnTo>
                <a:lnTo>
                  <a:pt x="2030" y="2466"/>
                </a:lnTo>
                <a:lnTo>
                  <a:pt x="2103" y="2537"/>
                </a:lnTo>
                <a:lnTo>
                  <a:pt x="2136" y="2553"/>
                </a:lnTo>
                <a:lnTo>
                  <a:pt x="2184" y="2537"/>
                </a:lnTo>
                <a:lnTo>
                  <a:pt x="2225" y="2513"/>
                </a:lnTo>
                <a:lnTo>
                  <a:pt x="2258" y="2497"/>
                </a:lnTo>
                <a:lnTo>
                  <a:pt x="2299" y="2545"/>
                </a:lnTo>
                <a:lnTo>
                  <a:pt x="2339" y="2577"/>
                </a:lnTo>
                <a:lnTo>
                  <a:pt x="2348" y="2608"/>
                </a:lnTo>
                <a:lnTo>
                  <a:pt x="2331" y="2688"/>
                </a:lnTo>
                <a:lnTo>
                  <a:pt x="2299" y="2711"/>
                </a:lnTo>
                <a:lnTo>
                  <a:pt x="2290" y="2751"/>
                </a:lnTo>
                <a:lnTo>
                  <a:pt x="2201" y="2751"/>
                </a:lnTo>
                <a:lnTo>
                  <a:pt x="2152" y="2767"/>
                </a:lnTo>
                <a:cubicBezTo>
                  <a:pt x="2152" y="2767"/>
                  <a:pt x="2070" y="2759"/>
                  <a:pt x="2038" y="2751"/>
                </a:cubicBezTo>
                <a:lnTo>
                  <a:pt x="1997" y="2751"/>
                </a:lnTo>
                <a:lnTo>
                  <a:pt x="2013" y="2719"/>
                </a:lnTo>
                <a:lnTo>
                  <a:pt x="1989" y="2680"/>
                </a:lnTo>
                <a:lnTo>
                  <a:pt x="1948" y="2688"/>
                </a:lnTo>
                <a:lnTo>
                  <a:pt x="1940" y="2656"/>
                </a:lnTo>
                <a:lnTo>
                  <a:pt x="1891" y="2656"/>
                </a:lnTo>
                <a:lnTo>
                  <a:pt x="1842" y="2648"/>
                </a:lnTo>
                <a:lnTo>
                  <a:pt x="1826" y="2680"/>
                </a:lnTo>
                <a:lnTo>
                  <a:pt x="1793" y="2688"/>
                </a:lnTo>
                <a:lnTo>
                  <a:pt x="1761" y="2688"/>
                </a:lnTo>
                <a:lnTo>
                  <a:pt x="1704" y="2632"/>
                </a:lnTo>
                <a:lnTo>
                  <a:pt x="1687" y="2593"/>
                </a:lnTo>
                <a:lnTo>
                  <a:pt x="1695" y="2561"/>
                </a:lnTo>
                <a:lnTo>
                  <a:pt x="1663" y="2561"/>
                </a:lnTo>
                <a:lnTo>
                  <a:pt x="1663" y="2513"/>
                </a:lnTo>
                <a:lnTo>
                  <a:pt x="1630" y="2489"/>
                </a:lnTo>
                <a:lnTo>
                  <a:pt x="1614" y="2450"/>
                </a:lnTo>
                <a:lnTo>
                  <a:pt x="1573" y="2418"/>
                </a:lnTo>
                <a:lnTo>
                  <a:pt x="1541" y="2386"/>
                </a:lnTo>
                <a:lnTo>
                  <a:pt x="1516" y="2355"/>
                </a:lnTo>
                <a:lnTo>
                  <a:pt x="1483" y="2331"/>
                </a:lnTo>
                <a:lnTo>
                  <a:pt x="1508" y="2291"/>
                </a:lnTo>
                <a:lnTo>
                  <a:pt x="1516" y="2252"/>
                </a:lnTo>
                <a:lnTo>
                  <a:pt x="1500" y="2220"/>
                </a:lnTo>
                <a:lnTo>
                  <a:pt x="1475" y="2157"/>
                </a:lnTo>
                <a:lnTo>
                  <a:pt x="1516" y="2157"/>
                </a:lnTo>
                <a:lnTo>
                  <a:pt x="1492" y="2093"/>
                </a:lnTo>
                <a:lnTo>
                  <a:pt x="1443" y="2069"/>
                </a:lnTo>
                <a:lnTo>
                  <a:pt x="1386" y="2038"/>
                </a:lnTo>
                <a:lnTo>
                  <a:pt x="1329" y="2014"/>
                </a:lnTo>
                <a:lnTo>
                  <a:pt x="1296" y="2006"/>
                </a:lnTo>
                <a:lnTo>
                  <a:pt x="1263" y="2006"/>
                </a:lnTo>
                <a:lnTo>
                  <a:pt x="1206" y="1998"/>
                </a:lnTo>
                <a:lnTo>
                  <a:pt x="1198" y="1966"/>
                </a:lnTo>
                <a:lnTo>
                  <a:pt x="1166" y="1935"/>
                </a:lnTo>
                <a:lnTo>
                  <a:pt x="1109" y="1935"/>
                </a:lnTo>
                <a:lnTo>
                  <a:pt x="1117" y="1895"/>
                </a:lnTo>
                <a:lnTo>
                  <a:pt x="1076" y="1879"/>
                </a:lnTo>
                <a:lnTo>
                  <a:pt x="1011" y="1879"/>
                </a:lnTo>
                <a:lnTo>
                  <a:pt x="995" y="1847"/>
                </a:lnTo>
                <a:lnTo>
                  <a:pt x="962" y="1847"/>
                </a:lnTo>
                <a:lnTo>
                  <a:pt x="929" y="1832"/>
                </a:lnTo>
                <a:lnTo>
                  <a:pt x="921" y="1800"/>
                </a:lnTo>
                <a:lnTo>
                  <a:pt x="921" y="1760"/>
                </a:lnTo>
                <a:lnTo>
                  <a:pt x="864" y="1760"/>
                </a:lnTo>
                <a:lnTo>
                  <a:pt x="823" y="1752"/>
                </a:lnTo>
                <a:lnTo>
                  <a:pt x="856" y="1736"/>
                </a:lnTo>
                <a:lnTo>
                  <a:pt x="913" y="1736"/>
                </a:lnTo>
                <a:lnTo>
                  <a:pt x="954" y="1752"/>
                </a:lnTo>
                <a:lnTo>
                  <a:pt x="986" y="1784"/>
                </a:lnTo>
                <a:lnTo>
                  <a:pt x="1027" y="1816"/>
                </a:lnTo>
                <a:lnTo>
                  <a:pt x="1076" y="1832"/>
                </a:lnTo>
                <a:lnTo>
                  <a:pt x="1117" y="1832"/>
                </a:lnTo>
                <a:lnTo>
                  <a:pt x="1133" y="1800"/>
                </a:lnTo>
                <a:lnTo>
                  <a:pt x="1182" y="1824"/>
                </a:lnTo>
                <a:lnTo>
                  <a:pt x="1223" y="1816"/>
                </a:lnTo>
                <a:lnTo>
                  <a:pt x="1280" y="1816"/>
                </a:lnTo>
                <a:lnTo>
                  <a:pt x="1296" y="1847"/>
                </a:lnTo>
                <a:lnTo>
                  <a:pt x="1329" y="1847"/>
                </a:lnTo>
                <a:lnTo>
                  <a:pt x="1337" y="1816"/>
                </a:lnTo>
                <a:lnTo>
                  <a:pt x="1378" y="1816"/>
                </a:lnTo>
                <a:lnTo>
                  <a:pt x="1435" y="1832"/>
                </a:lnTo>
                <a:lnTo>
                  <a:pt x="1492" y="1847"/>
                </a:lnTo>
                <a:lnTo>
                  <a:pt x="1524" y="1847"/>
                </a:lnTo>
                <a:lnTo>
                  <a:pt x="1606" y="1832"/>
                </a:lnTo>
                <a:lnTo>
                  <a:pt x="1671" y="1832"/>
                </a:lnTo>
                <a:lnTo>
                  <a:pt x="1744" y="1808"/>
                </a:lnTo>
                <a:lnTo>
                  <a:pt x="1801" y="1792"/>
                </a:lnTo>
                <a:lnTo>
                  <a:pt x="1899" y="1816"/>
                </a:lnTo>
                <a:lnTo>
                  <a:pt x="1964" y="1816"/>
                </a:lnTo>
                <a:cubicBezTo>
                  <a:pt x="1964" y="1816"/>
                  <a:pt x="2046" y="1808"/>
                  <a:pt x="2070" y="1784"/>
                </a:cubicBezTo>
                <a:lnTo>
                  <a:pt x="2119" y="1760"/>
                </a:lnTo>
                <a:lnTo>
                  <a:pt x="2217" y="1665"/>
                </a:lnTo>
                <a:cubicBezTo>
                  <a:pt x="2217" y="1665"/>
                  <a:pt x="2250" y="1602"/>
                  <a:pt x="2266" y="1578"/>
                </a:cubicBezTo>
                <a:lnTo>
                  <a:pt x="2290" y="1530"/>
                </a:lnTo>
                <a:lnTo>
                  <a:pt x="2331" y="1451"/>
                </a:lnTo>
                <a:lnTo>
                  <a:pt x="2348" y="1404"/>
                </a:lnTo>
                <a:lnTo>
                  <a:pt x="2348" y="1340"/>
                </a:lnTo>
                <a:lnTo>
                  <a:pt x="2364" y="1245"/>
                </a:lnTo>
                <a:lnTo>
                  <a:pt x="2339" y="1174"/>
                </a:lnTo>
                <a:lnTo>
                  <a:pt x="2290" y="1118"/>
                </a:lnTo>
                <a:lnTo>
                  <a:pt x="2258" y="1118"/>
                </a:lnTo>
                <a:lnTo>
                  <a:pt x="2201" y="1039"/>
                </a:lnTo>
                <a:lnTo>
                  <a:pt x="2193" y="1007"/>
                </a:lnTo>
                <a:lnTo>
                  <a:pt x="2176" y="975"/>
                </a:lnTo>
                <a:lnTo>
                  <a:pt x="2152" y="944"/>
                </a:lnTo>
                <a:lnTo>
                  <a:pt x="2103" y="952"/>
                </a:lnTo>
                <a:lnTo>
                  <a:pt x="2062" y="968"/>
                </a:lnTo>
                <a:lnTo>
                  <a:pt x="2046" y="936"/>
                </a:lnTo>
                <a:lnTo>
                  <a:pt x="2005" y="920"/>
                </a:lnTo>
                <a:lnTo>
                  <a:pt x="1956" y="888"/>
                </a:lnTo>
                <a:lnTo>
                  <a:pt x="1924" y="872"/>
                </a:lnTo>
                <a:lnTo>
                  <a:pt x="1891" y="864"/>
                </a:lnTo>
                <a:lnTo>
                  <a:pt x="1899" y="904"/>
                </a:lnTo>
                <a:lnTo>
                  <a:pt x="1850" y="912"/>
                </a:lnTo>
                <a:lnTo>
                  <a:pt x="1793" y="896"/>
                </a:lnTo>
                <a:cubicBezTo>
                  <a:pt x="1793" y="896"/>
                  <a:pt x="1712" y="872"/>
                  <a:pt x="1704" y="864"/>
                </a:cubicBezTo>
                <a:lnTo>
                  <a:pt x="1663" y="857"/>
                </a:lnTo>
                <a:lnTo>
                  <a:pt x="1630" y="872"/>
                </a:lnTo>
                <a:lnTo>
                  <a:pt x="1598" y="841"/>
                </a:lnTo>
                <a:lnTo>
                  <a:pt x="1549" y="825"/>
                </a:lnTo>
                <a:lnTo>
                  <a:pt x="1500" y="793"/>
                </a:lnTo>
                <a:cubicBezTo>
                  <a:pt x="1500" y="793"/>
                  <a:pt x="1394" y="777"/>
                  <a:pt x="1378" y="769"/>
                </a:cubicBezTo>
                <a:lnTo>
                  <a:pt x="1321" y="738"/>
                </a:lnTo>
                <a:lnTo>
                  <a:pt x="1247" y="722"/>
                </a:lnTo>
                <a:lnTo>
                  <a:pt x="1141" y="690"/>
                </a:lnTo>
                <a:cubicBezTo>
                  <a:pt x="1141" y="690"/>
                  <a:pt x="1019" y="674"/>
                  <a:pt x="1003" y="674"/>
                </a:cubicBezTo>
                <a:lnTo>
                  <a:pt x="986" y="714"/>
                </a:lnTo>
                <a:lnTo>
                  <a:pt x="954" y="730"/>
                </a:lnTo>
                <a:lnTo>
                  <a:pt x="913" y="730"/>
                </a:lnTo>
                <a:lnTo>
                  <a:pt x="880" y="722"/>
                </a:lnTo>
                <a:lnTo>
                  <a:pt x="840" y="730"/>
                </a:lnTo>
                <a:lnTo>
                  <a:pt x="799" y="730"/>
                </a:lnTo>
                <a:lnTo>
                  <a:pt x="750" y="761"/>
                </a:lnTo>
                <a:lnTo>
                  <a:pt x="726" y="809"/>
                </a:lnTo>
                <a:lnTo>
                  <a:pt x="709" y="777"/>
                </a:lnTo>
                <a:lnTo>
                  <a:pt x="717" y="746"/>
                </a:lnTo>
                <a:lnTo>
                  <a:pt x="693" y="714"/>
                </a:lnTo>
                <a:lnTo>
                  <a:pt x="660" y="730"/>
                </a:lnTo>
                <a:lnTo>
                  <a:pt x="628" y="722"/>
                </a:lnTo>
                <a:lnTo>
                  <a:pt x="595" y="738"/>
                </a:lnTo>
                <a:lnTo>
                  <a:pt x="530" y="746"/>
                </a:lnTo>
                <a:lnTo>
                  <a:pt x="489" y="722"/>
                </a:lnTo>
                <a:lnTo>
                  <a:pt x="457" y="706"/>
                </a:lnTo>
                <a:lnTo>
                  <a:pt x="489" y="690"/>
                </a:lnTo>
                <a:lnTo>
                  <a:pt x="522" y="690"/>
                </a:lnTo>
                <a:lnTo>
                  <a:pt x="563" y="690"/>
                </a:lnTo>
                <a:lnTo>
                  <a:pt x="595" y="682"/>
                </a:lnTo>
                <a:lnTo>
                  <a:pt x="611" y="643"/>
                </a:lnTo>
                <a:lnTo>
                  <a:pt x="587" y="603"/>
                </a:lnTo>
                <a:lnTo>
                  <a:pt x="514" y="603"/>
                </a:lnTo>
                <a:lnTo>
                  <a:pt x="481" y="595"/>
                </a:lnTo>
                <a:lnTo>
                  <a:pt x="432" y="571"/>
                </a:lnTo>
                <a:lnTo>
                  <a:pt x="399" y="587"/>
                </a:lnTo>
                <a:lnTo>
                  <a:pt x="416" y="635"/>
                </a:lnTo>
                <a:lnTo>
                  <a:pt x="383" y="635"/>
                </a:lnTo>
                <a:lnTo>
                  <a:pt x="375" y="666"/>
                </a:lnTo>
                <a:lnTo>
                  <a:pt x="399" y="698"/>
                </a:lnTo>
                <a:lnTo>
                  <a:pt x="351" y="714"/>
                </a:lnTo>
                <a:lnTo>
                  <a:pt x="310" y="698"/>
                </a:lnTo>
                <a:lnTo>
                  <a:pt x="269" y="722"/>
                </a:lnTo>
                <a:lnTo>
                  <a:pt x="269" y="754"/>
                </a:lnTo>
                <a:lnTo>
                  <a:pt x="285" y="793"/>
                </a:lnTo>
                <a:lnTo>
                  <a:pt x="302" y="825"/>
                </a:lnTo>
                <a:lnTo>
                  <a:pt x="253" y="849"/>
                </a:lnTo>
                <a:lnTo>
                  <a:pt x="188" y="841"/>
                </a:lnTo>
                <a:lnTo>
                  <a:pt x="196" y="904"/>
                </a:lnTo>
                <a:lnTo>
                  <a:pt x="139" y="960"/>
                </a:lnTo>
                <a:lnTo>
                  <a:pt x="98" y="991"/>
                </a:lnTo>
                <a:lnTo>
                  <a:pt x="106" y="1023"/>
                </a:lnTo>
                <a:cubicBezTo>
                  <a:pt x="114" y="1047"/>
                  <a:pt x="98" y="1118"/>
                  <a:pt x="98" y="1118"/>
                </a:cubicBezTo>
                <a:lnTo>
                  <a:pt x="57" y="1126"/>
                </a:lnTo>
                <a:lnTo>
                  <a:pt x="25" y="1158"/>
                </a:lnTo>
                <a:lnTo>
                  <a:pt x="0" y="1189"/>
                </a:lnTo>
                <a:lnTo>
                  <a:pt x="57" y="1205"/>
                </a:lnTo>
                <a:lnTo>
                  <a:pt x="57" y="1277"/>
                </a:lnTo>
                <a:lnTo>
                  <a:pt x="49" y="1324"/>
                </a:lnTo>
                <a:lnTo>
                  <a:pt x="25" y="1356"/>
                </a:lnTo>
                <a:lnTo>
                  <a:pt x="57" y="1404"/>
                </a:lnTo>
                <a:lnTo>
                  <a:pt x="98" y="1467"/>
                </a:lnTo>
                <a:lnTo>
                  <a:pt x="163" y="1491"/>
                </a:lnTo>
                <a:lnTo>
                  <a:pt x="220" y="1499"/>
                </a:lnTo>
                <a:lnTo>
                  <a:pt x="277" y="1514"/>
                </a:lnTo>
                <a:lnTo>
                  <a:pt x="294" y="1562"/>
                </a:lnTo>
                <a:lnTo>
                  <a:pt x="326" y="1602"/>
                </a:lnTo>
                <a:lnTo>
                  <a:pt x="399" y="1657"/>
                </a:lnTo>
                <a:lnTo>
                  <a:pt x="391" y="1728"/>
                </a:lnTo>
                <a:lnTo>
                  <a:pt x="367" y="1768"/>
                </a:lnTo>
                <a:lnTo>
                  <a:pt x="375" y="1800"/>
                </a:lnTo>
                <a:lnTo>
                  <a:pt x="375" y="1839"/>
                </a:lnTo>
                <a:lnTo>
                  <a:pt x="351" y="1911"/>
                </a:lnTo>
                <a:cubicBezTo>
                  <a:pt x="351" y="1919"/>
                  <a:pt x="334" y="1982"/>
                  <a:pt x="334" y="1982"/>
                </a:cubicBezTo>
                <a:lnTo>
                  <a:pt x="359" y="2038"/>
                </a:lnTo>
                <a:lnTo>
                  <a:pt x="391" y="2069"/>
                </a:lnTo>
                <a:lnTo>
                  <a:pt x="440" y="2125"/>
                </a:lnTo>
                <a:lnTo>
                  <a:pt x="505" y="2196"/>
                </a:lnTo>
                <a:lnTo>
                  <a:pt x="530" y="2252"/>
                </a:lnTo>
                <a:cubicBezTo>
                  <a:pt x="530" y="2252"/>
                  <a:pt x="595" y="2291"/>
                  <a:pt x="595" y="2307"/>
                </a:cubicBezTo>
                <a:lnTo>
                  <a:pt x="620" y="2347"/>
                </a:lnTo>
                <a:lnTo>
                  <a:pt x="652" y="2402"/>
                </a:lnTo>
                <a:lnTo>
                  <a:pt x="644" y="2442"/>
                </a:lnTo>
                <a:lnTo>
                  <a:pt x="620" y="2505"/>
                </a:lnTo>
                <a:lnTo>
                  <a:pt x="644" y="2537"/>
                </a:lnTo>
                <a:lnTo>
                  <a:pt x="636" y="2569"/>
                </a:lnTo>
                <a:lnTo>
                  <a:pt x="660" y="2616"/>
                </a:lnTo>
                <a:lnTo>
                  <a:pt x="644" y="2648"/>
                </a:lnTo>
                <a:lnTo>
                  <a:pt x="685" y="2664"/>
                </a:lnTo>
                <a:lnTo>
                  <a:pt x="677" y="2696"/>
                </a:lnTo>
                <a:lnTo>
                  <a:pt x="669" y="2751"/>
                </a:lnTo>
                <a:lnTo>
                  <a:pt x="709" y="2814"/>
                </a:lnTo>
                <a:lnTo>
                  <a:pt x="766" y="2822"/>
                </a:lnTo>
                <a:lnTo>
                  <a:pt x="799" y="2830"/>
                </a:lnTo>
                <a:lnTo>
                  <a:pt x="815" y="2862"/>
                </a:lnTo>
                <a:lnTo>
                  <a:pt x="791" y="2910"/>
                </a:lnTo>
                <a:lnTo>
                  <a:pt x="823" y="2949"/>
                </a:lnTo>
                <a:lnTo>
                  <a:pt x="856" y="2973"/>
                </a:lnTo>
                <a:lnTo>
                  <a:pt x="888" y="3005"/>
                </a:lnTo>
                <a:lnTo>
                  <a:pt x="921" y="3013"/>
                </a:lnTo>
                <a:lnTo>
                  <a:pt x="946" y="3052"/>
                </a:lnTo>
                <a:lnTo>
                  <a:pt x="962" y="3084"/>
                </a:lnTo>
                <a:lnTo>
                  <a:pt x="962" y="3131"/>
                </a:lnTo>
                <a:lnTo>
                  <a:pt x="954" y="3179"/>
                </a:lnTo>
                <a:lnTo>
                  <a:pt x="913" y="3243"/>
                </a:lnTo>
                <a:lnTo>
                  <a:pt x="946" y="3282"/>
                </a:lnTo>
                <a:lnTo>
                  <a:pt x="994" y="3314"/>
                </a:lnTo>
                <a:lnTo>
                  <a:pt x="1043" y="3338"/>
                </a:lnTo>
                <a:lnTo>
                  <a:pt x="1109" y="3353"/>
                </a:lnTo>
                <a:lnTo>
                  <a:pt x="1157" y="3385"/>
                </a:lnTo>
                <a:lnTo>
                  <a:pt x="1215" y="3417"/>
                </a:lnTo>
                <a:lnTo>
                  <a:pt x="1263" y="3441"/>
                </a:lnTo>
                <a:lnTo>
                  <a:pt x="1312" y="3480"/>
                </a:lnTo>
                <a:lnTo>
                  <a:pt x="1329" y="3575"/>
                </a:lnTo>
                <a:cubicBezTo>
                  <a:pt x="1329" y="3575"/>
                  <a:pt x="1312" y="3718"/>
                  <a:pt x="1304" y="3734"/>
                </a:cubicBezTo>
                <a:cubicBezTo>
                  <a:pt x="1304" y="3750"/>
                  <a:pt x="1280" y="3821"/>
                  <a:pt x="1272" y="3829"/>
                </a:cubicBezTo>
                <a:lnTo>
                  <a:pt x="1239" y="3861"/>
                </a:lnTo>
                <a:cubicBezTo>
                  <a:pt x="1239" y="3877"/>
                  <a:pt x="1215" y="3964"/>
                  <a:pt x="1215" y="3964"/>
                </a:cubicBezTo>
                <a:lnTo>
                  <a:pt x="1190" y="4019"/>
                </a:lnTo>
                <a:lnTo>
                  <a:pt x="1190" y="4051"/>
                </a:lnTo>
                <a:lnTo>
                  <a:pt x="1166" y="4114"/>
                </a:lnTo>
                <a:cubicBezTo>
                  <a:pt x="1157" y="4122"/>
                  <a:pt x="1141" y="4186"/>
                  <a:pt x="1141" y="4186"/>
                </a:cubicBezTo>
                <a:lnTo>
                  <a:pt x="1035" y="4392"/>
                </a:lnTo>
                <a:lnTo>
                  <a:pt x="986" y="4479"/>
                </a:lnTo>
                <a:lnTo>
                  <a:pt x="970" y="4519"/>
                </a:lnTo>
                <a:lnTo>
                  <a:pt x="954" y="4558"/>
                </a:lnTo>
                <a:cubicBezTo>
                  <a:pt x="954" y="4574"/>
                  <a:pt x="913" y="4646"/>
                  <a:pt x="913" y="4646"/>
                </a:cubicBezTo>
                <a:lnTo>
                  <a:pt x="897" y="4685"/>
                </a:lnTo>
                <a:lnTo>
                  <a:pt x="872" y="4717"/>
                </a:lnTo>
                <a:lnTo>
                  <a:pt x="905" y="4717"/>
                </a:lnTo>
                <a:lnTo>
                  <a:pt x="962" y="4693"/>
                </a:lnTo>
                <a:lnTo>
                  <a:pt x="978" y="4661"/>
                </a:lnTo>
                <a:lnTo>
                  <a:pt x="994" y="4630"/>
                </a:lnTo>
                <a:lnTo>
                  <a:pt x="1019" y="4598"/>
                </a:lnTo>
                <a:lnTo>
                  <a:pt x="1068" y="4582"/>
                </a:lnTo>
                <a:lnTo>
                  <a:pt x="1060" y="4630"/>
                </a:lnTo>
                <a:lnTo>
                  <a:pt x="1051" y="4685"/>
                </a:lnTo>
                <a:lnTo>
                  <a:pt x="1027" y="4653"/>
                </a:lnTo>
                <a:lnTo>
                  <a:pt x="1027" y="4685"/>
                </a:lnTo>
                <a:lnTo>
                  <a:pt x="1068" y="4741"/>
                </a:lnTo>
                <a:lnTo>
                  <a:pt x="1100" y="4749"/>
                </a:lnTo>
                <a:lnTo>
                  <a:pt x="1157" y="4780"/>
                </a:lnTo>
                <a:lnTo>
                  <a:pt x="1215" y="4788"/>
                </a:lnTo>
                <a:lnTo>
                  <a:pt x="1255" y="4780"/>
                </a:lnTo>
                <a:lnTo>
                  <a:pt x="1320" y="4765"/>
                </a:lnTo>
                <a:lnTo>
                  <a:pt x="1369" y="4765"/>
                </a:lnTo>
                <a:lnTo>
                  <a:pt x="1394" y="4804"/>
                </a:lnTo>
                <a:lnTo>
                  <a:pt x="1443" y="4812"/>
                </a:lnTo>
                <a:lnTo>
                  <a:pt x="1508" y="4828"/>
                </a:lnTo>
                <a:lnTo>
                  <a:pt x="1492" y="4860"/>
                </a:lnTo>
                <a:lnTo>
                  <a:pt x="1377" y="4860"/>
                </a:lnTo>
                <a:cubicBezTo>
                  <a:pt x="1369" y="4852"/>
                  <a:pt x="1280" y="4852"/>
                  <a:pt x="1280" y="4852"/>
                </a:cubicBezTo>
                <a:lnTo>
                  <a:pt x="1231" y="4860"/>
                </a:lnTo>
                <a:lnTo>
                  <a:pt x="1206" y="4891"/>
                </a:lnTo>
                <a:lnTo>
                  <a:pt x="1182" y="4963"/>
                </a:lnTo>
                <a:lnTo>
                  <a:pt x="1109" y="4979"/>
                </a:lnTo>
                <a:lnTo>
                  <a:pt x="1092" y="5042"/>
                </a:lnTo>
                <a:lnTo>
                  <a:pt x="1043" y="5010"/>
                </a:lnTo>
                <a:lnTo>
                  <a:pt x="1035" y="5050"/>
                </a:lnTo>
                <a:lnTo>
                  <a:pt x="1060" y="5153"/>
                </a:lnTo>
                <a:lnTo>
                  <a:pt x="1100" y="5185"/>
                </a:lnTo>
                <a:lnTo>
                  <a:pt x="1060" y="5216"/>
                </a:lnTo>
                <a:lnTo>
                  <a:pt x="1060" y="5272"/>
                </a:lnTo>
                <a:cubicBezTo>
                  <a:pt x="1051" y="5351"/>
                  <a:pt x="1027" y="5391"/>
                  <a:pt x="1019" y="5438"/>
                </a:cubicBezTo>
                <a:lnTo>
                  <a:pt x="994" y="5470"/>
                </a:lnTo>
                <a:lnTo>
                  <a:pt x="1035" y="5526"/>
                </a:lnTo>
                <a:lnTo>
                  <a:pt x="1035" y="5581"/>
                </a:lnTo>
                <a:lnTo>
                  <a:pt x="1084" y="5629"/>
                </a:lnTo>
                <a:lnTo>
                  <a:pt x="1068" y="5668"/>
                </a:lnTo>
                <a:lnTo>
                  <a:pt x="1100" y="5708"/>
                </a:lnTo>
                <a:lnTo>
                  <a:pt x="1141" y="5732"/>
                </a:lnTo>
                <a:lnTo>
                  <a:pt x="1157" y="5763"/>
                </a:lnTo>
                <a:lnTo>
                  <a:pt x="1174" y="5795"/>
                </a:lnTo>
                <a:lnTo>
                  <a:pt x="1215" y="5811"/>
                </a:lnTo>
                <a:lnTo>
                  <a:pt x="1190" y="5851"/>
                </a:lnTo>
                <a:lnTo>
                  <a:pt x="1149" y="5874"/>
                </a:lnTo>
                <a:lnTo>
                  <a:pt x="1125" y="5930"/>
                </a:lnTo>
                <a:lnTo>
                  <a:pt x="1141" y="5977"/>
                </a:lnTo>
                <a:lnTo>
                  <a:pt x="1174" y="5970"/>
                </a:lnTo>
                <a:lnTo>
                  <a:pt x="1198" y="6017"/>
                </a:lnTo>
                <a:lnTo>
                  <a:pt x="1255" y="6041"/>
                </a:lnTo>
                <a:lnTo>
                  <a:pt x="1288" y="6049"/>
                </a:lnTo>
                <a:lnTo>
                  <a:pt x="1280" y="6152"/>
                </a:lnTo>
                <a:lnTo>
                  <a:pt x="1296" y="6215"/>
                </a:lnTo>
                <a:lnTo>
                  <a:pt x="1296" y="6247"/>
                </a:lnTo>
                <a:lnTo>
                  <a:pt x="1329" y="6223"/>
                </a:lnTo>
                <a:lnTo>
                  <a:pt x="1345" y="6271"/>
                </a:lnTo>
                <a:lnTo>
                  <a:pt x="1386" y="6302"/>
                </a:lnTo>
                <a:lnTo>
                  <a:pt x="1418" y="6318"/>
                </a:lnTo>
                <a:lnTo>
                  <a:pt x="1418" y="6350"/>
                </a:lnTo>
                <a:lnTo>
                  <a:pt x="1451" y="6366"/>
                </a:lnTo>
                <a:lnTo>
                  <a:pt x="1467" y="6413"/>
                </a:lnTo>
                <a:lnTo>
                  <a:pt x="1500" y="6437"/>
                </a:lnTo>
                <a:lnTo>
                  <a:pt x="1492" y="6501"/>
                </a:lnTo>
                <a:lnTo>
                  <a:pt x="1500" y="6532"/>
                </a:lnTo>
                <a:lnTo>
                  <a:pt x="1532" y="6540"/>
                </a:lnTo>
                <a:lnTo>
                  <a:pt x="1565" y="6524"/>
                </a:lnTo>
                <a:lnTo>
                  <a:pt x="1630" y="6516"/>
                </a:lnTo>
                <a:lnTo>
                  <a:pt x="1646" y="6548"/>
                </a:lnTo>
                <a:lnTo>
                  <a:pt x="1695" y="6532"/>
                </a:lnTo>
                <a:lnTo>
                  <a:pt x="1752" y="6516"/>
                </a:lnTo>
                <a:lnTo>
                  <a:pt x="1818" y="6516"/>
                </a:lnTo>
                <a:lnTo>
                  <a:pt x="1826" y="6588"/>
                </a:lnTo>
                <a:lnTo>
                  <a:pt x="1867" y="6604"/>
                </a:lnTo>
                <a:lnTo>
                  <a:pt x="1907" y="6580"/>
                </a:lnTo>
                <a:lnTo>
                  <a:pt x="1932" y="6540"/>
                </a:lnTo>
                <a:lnTo>
                  <a:pt x="1964" y="6524"/>
                </a:lnTo>
                <a:lnTo>
                  <a:pt x="2021" y="6508"/>
                </a:lnTo>
                <a:lnTo>
                  <a:pt x="2095" y="6524"/>
                </a:lnTo>
                <a:lnTo>
                  <a:pt x="2144" y="6564"/>
                </a:lnTo>
                <a:lnTo>
                  <a:pt x="2176" y="6572"/>
                </a:lnTo>
                <a:lnTo>
                  <a:pt x="2209" y="6556"/>
                </a:lnTo>
                <a:lnTo>
                  <a:pt x="2225" y="6588"/>
                </a:lnTo>
                <a:lnTo>
                  <a:pt x="2225" y="6699"/>
                </a:lnTo>
                <a:lnTo>
                  <a:pt x="2298" y="6754"/>
                </a:lnTo>
                <a:lnTo>
                  <a:pt x="2290" y="6818"/>
                </a:lnTo>
                <a:lnTo>
                  <a:pt x="2266" y="6881"/>
                </a:lnTo>
                <a:lnTo>
                  <a:pt x="2323" y="6897"/>
                </a:lnTo>
                <a:lnTo>
                  <a:pt x="2355" y="6929"/>
                </a:lnTo>
                <a:lnTo>
                  <a:pt x="2388" y="6929"/>
                </a:lnTo>
                <a:lnTo>
                  <a:pt x="2396" y="6992"/>
                </a:lnTo>
                <a:lnTo>
                  <a:pt x="2437" y="7024"/>
                </a:lnTo>
                <a:lnTo>
                  <a:pt x="2478" y="7079"/>
                </a:lnTo>
                <a:lnTo>
                  <a:pt x="2567" y="7095"/>
                </a:lnTo>
                <a:lnTo>
                  <a:pt x="2608" y="7111"/>
                </a:lnTo>
                <a:lnTo>
                  <a:pt x="2624" y="7143"/>
                </a:lnTo>
                <a:lnTo>
                  <a:pt x="2633" y="7214"/>
                </a:lnTo>
                <a:lnTo>
                  <a:pt x="2673" y="7214"/>
                </a:lnTo>
                <a:lnTo>
                  <a:pt x="2722" y="7182"/>
                </a:lnTo>
                <a:lnTo>
                  <a:pt x="2755" y="7190"/>
                </a:lnTo>
                <a:lnTo>
                  <a:pt x="2796" y="7198"/>
                </a:lnTo>
                <a:lnTo>
                  <a:pt x="2836" y="7198"/>
                </a:lnTo>
                <a:lnTo>
                  <a:pt x="2820" y="7238"/>
                </a:lnTo>
                <a:lnTo>
                  <a:pt x="2853" y="7262"/>
                </a:lnTo>
                <a:lnTo>
                  <a:pt x="2885" y="7270"/>
                </a:lnTo>
                <a:lnTo>
                  <a:pt x="2926" y="7285"/>
                </a:lnTo>
                <a:lnTo>
                  <a:pt x="2910" y="7357"/>
                </a:lnTo>
                <a:lnTo>
                  <a:pt x="2877" y="7365"/>
                </a:lnTo>
                <a:lnTo>
                  <a:pt x="2869" y="7420"/>
                </a:lnTo>
                <a:lnTo>
                  <a:pt x="2812" y="7468"/>
                </a:lnTo>
                <a:lnTo>
                  <a:pt x="2755" y="7484"/>
                </a:lnTo>
                <a:lnTo>
                  <a:pt x="2698" y="7460"/>
                </a:lnTo>
                <a:lnTo>
                  <a:pt x="2665" y="7468"/>
                </a:lnTo>
                <a:lnTo>
                  <a:pt x="2633" y="7492"/>
                </a:lnTo>
                <a:lnTo>
                  <a:pt x="2616" y="7571"/>
                </a:lnTo>
                <a:lnTo>
                  <a:pt x="2649" y="7595"/>
                </a:lnTo>
                <a:lnTo>
                  <a:pt x="2690" y="7602"/>
                </a:lnTo>
                <a:lnTo>
                  <a:pt x="2730" y="7658"/>
                </a:lnTo>
                <a:lnTo>
                  <a:pt x="2730" y="7706"/>
                </a:lnTo>
                <a:lnTo>
                  <a:pt x="2747" y="7737"/>
                </a:lnTo>
                <a:lnTo>
                  <a:pt x="2771" y="7785"/>
                </a:lnTo>
                <a:lnTo>
                  <a:pt x="2796" y="7832"/>
                </a:lnTo>
                <a:lnTo>
                  <a:pt x="2828" y="7856"/>
                </a:lnTo>
                <a:lnTo>
                  <a:pt x="2869" y="7887"/>
                </a:lnTo>
                <a:lnTo>
                  <a:pt x="2967" y="7895"/>
                </a:lnTo>
                <a:lnTo>
                  <a:pt x="3008" y="7864"/>
                </a:lnTo>
                <a:lnTo>
                  <a:pt x="2999" y="7817"/>
                </a:lnTo>
                <a:lnTo>
                  <a:pt x="3016" y="7769"/>
                </a:lnTo>
                <a:lnTo>
                  <a:pt x="3089" y="7753"/>
                </a:lnTo>
                <a:lnTo>
                  <a:pt x="3138" y="7745"/>
                </a:lnTo>
                <a:lnTo>
                  <a:pt x="3170" y="7737"/>
                </a:lnTo>
                <a:lnTo>
                  <a:pt x="3219" y="7666"/>
                </a:lnTo>
                <a:lnTo>
                  <a:pt x="3285" y="7642"/>
                </a:lnTo>
                <a:lnTo>
                  <a:pt x="3317" y="7674"/>
                </a:lnTo>
                <a:cubicBezTo>
                  <a:pt x="3317" y="7674"/>
                  <a:pt x="3342" y="7602"/>
                  <a:pt x="3374" y="7618"/>
                </a:cubicBezTo>
                <a:lnTo>
                  <a:pt x="3407" y="7626"/>
                </a:lnTo>
                <a:lnTo>
                  <a:pt x="3431" y="7658"/>
                </a:lnTo>
                <a:lnTo>
                  <a:pt x="3480" y="7690"/>
                </a:lnTo>
                <a:lnTo>
                  <a:pt x="3488" y="7737"/>
                </a:lnTo>
                <a:lnTo>
                  <a:pt x="3578" y="7777"/>
                </a:lnTo>
                <a:lnTo>
                  <a:pt x="3611" y="7824"/>
                </a:lnTo>
                <a:lnTo>
                  <a:pt x="3554" y="7864"/>
                </a:lnTo>
                <a:lnTo>
                  <a:pt x="3537" y="7895"/>
                </a:lnTo>
                <a:lnTo>
                  <a:pt x="3611" y="7919"/>
                </a:lnTo>
                <a:lnTo>
                  <a:pt x="3611" y="7958"/>
                </a:lnTo>
                <a:lnTo>
                  <a:pt x="3603" y="7990"/>
                </a:lnTo>
                <a:lnTo>
                  <a:pt x="3651" y="7990"/>
                </a:lnTo>
                <a:lnTo>
                  <a:pt x="3635" y="8022"/>
                </a:lnTo>
                <a:lnTo>
                  <a:pt x="3643" y="8053"/>
                </a:lnTo>
                <a:lnTo>
                  <a:pt x="3684" y="8014"/>
                </a:lnTo>
                <a:lnTo>
                  <a:pt x="3749" y="7998"/>
                </a:lnTo>
                <a:lnTo>
                  <a:pt x="3814" y="8006"/>
                </a:lnTo>
                <a:lnTo>
                  <a:pt x="3855" y="7958"/>
                </a:lnTo>
                <a:lnTo>
                  <a:pt x="3920" y="8006"/>
                </a:lnTo>
                <a:lnTo>
                  <a:pt x="3937" y="8085"/>
                </a:lnTo>
                <a:lnTo>
                  <a:pt x="4026" y="8164"/>
                </a:lnTo>
                <a:lnTo>
                  <a:pt x="4035" y="8220"/>
                </a:lnTo>
                <a:lnTo>
                  <a:pt x="4083" y="8252"/>
                </a:lnTo>
                <a:lnTo>
                  <a:pt x="4124" y="8283"/>
                </a:lnTo>
                <a:lnTo>
                  <a:pt x="4140" y="8252"/>
                </a:lnTo>
                <a:cubicBezTo>
                  <a:pt x="4149" y="8244"/>
                  <a:pt x="4222" y="8212"/>
                  <a:pt x="4246" y="8220"/>
                </a:cubicBezTo>
                <a:lnTo>
                  <a:pt x="4287" y="8244"/>
                </a:lnTo>
                <a:lnTo>
                  <a:pt x="4320" y="8259"/>
                </a:lnTo>
                <a:lnTo>
                  <a:pt x="4352" y="8228"/>
                </a:lnTo>
                <a:lnTo>
                  <a:pt x="4393" y="8244"/>
                </a:lnTo>
                <a:lnTo>
                  <a:pt x="4434" y="8220"/>
                </a:lnTo>
                <a:lnTo>
                  <a:pt x="4466" y="8172"/>
                </a:lnTo>
                <a:lnTo>
                  <a:pt x="4515" y="8156"/>
                </a:lnTo>
                <a:cubicBezTo>
                  <a:pt x="4524" y="8149"/>
                  <a:pt x="4548" y="8085"/>
                  <a:pt x="4548" y="8085"/>
                </a:cubicBezTo>
                <a:lnTo>
                  <a:pt x="4597" y="8109"/>
                </a:lnTo>
                <a:lnTo>
                  <a:pt x="4646" y="8125"/>
                </a:lnTo>
                <a:lnTo>
                  <a:pt x="4703" y="8180"/>
                </a:lnTo>
                <a:lnTo>
                  <a:pt x="4744" y="8188"/>
                </a:lnTo>
                <a:lnTo>
                  <a:pt x="4792" y="8220"/>
                </a:lnTo>
                <a:lnTo>
                  <a:pt x="4833" y="8196"/>
                </a:lnTo>
                <a:lnTo>
                  <a:pt x="4841" y="8133"/>
                </a:lnTo>
                <a:lnTo>
                  <a:pt x="4890" y="8156"/>
                </a:lnTo>
                <a:lnTo>
                  <a:pt x="4947" y="8149"/>
                </a:lnTo>
                <a:lnTo>
                  <a:pt x="5013" y="8140"/>
                </a:lnTo>
                <a:cubicBezTo>
                  <a:pt x="5013" y="8140"/>
                  <a:pt x="5078" y="8156"/>
                  <a:pt x="5086" y="8149"/>
                </a:cubicBezTo>
                <a:lnTo>
                  <a:pt x="5110" y="8117"/>
                </a:lnTo>
                <a:cubicBezTo>
                  <a:pt x="5110" y="8117"/>
                  <a:pt x="5176" y="8156"/>
                  <a:pt x="5192" y="8133"/>
                </a:cubicBezTo>
                <a:lnTo>
                  <a:pt x="5257" y="8149"/>
                </a:lnTo>
                <a:lnTo>
                  <a:pt x="5290" y="8172"/>
                </a:lnTo>
                <a:lnTo>
                  <a:pt x="5347" y="8172"/>
                </a:lnTo>
                <a:lnTo>
                  <a:pt x="5363" y="8140"/>
                </a:lnTo>
                <a:lnTo>
                  <a:pt x="5371" y="8109"/>
                </a:lnTo>
                <a:lnTo>
                  <a:pt x="5420" y="8125"/>
                </a:lnTo>
                <a:cubicBezTo>
                  <a:pt x="5420" y="8125"/>
                  <a:pt x="5469" y="8220"/>
                  <a:pt x="5477" y="8228"/>
                </a:cubicBezTo>
                <a:lnTo>
                  <a:pt x="5477" y="8259"/>
                </a:lnTo>
                <a:lnTo>
                  <a:pt x="5485" y="8307"/>
                </a:lnTo>
                <a:lnTo>
                  <a:pt x="5453" y="8347"/>
                </a:lnTo>
                <a:lnTo>
                  <a:pt x="5412" y="8370"/>
                </a:lnTo>
                <a:lnTo>
                  <a:pt x="5404" y="8410"/>
                </a:lnTo>
                <a:lnTo>
                  <a:pt x="5445" y="8410"/>
                </a:lnTo>
                <a:lnTo>
                  <a:pt x="5493" y="8402"/>
                </a:lnTo>
                <a:lnTo>
                  <a:pt x="5526" y="8394"/>
                </a:lnTo>
                <a:lnTo>
                  <a:pt x="5502" y="8434"/>
                </a:lnTo>
                <a:lnTo>
                  <a:pt x="5477" y="8466"/>
                </a:lnTo>
                <a:lnTo>
                  <a:pt x="5493" y="8545"/>
                </a:lnTo>
                <a:lnTo>
                  <a:pt x="5567" y="8592"/>
                </a:lnTo>
                <a:cubicBezTo>
                  <a:pt x="5583" y="8608"/>
                  <a:pt x="5526" y="8632"/>
                  <a:pt x="5599" y="8640"/>
                </a:cubicBezTo>
                <a:cubicBezTo>
                  <a:pt x="5673" y="8648"/>
                  <a:pt x="5608" y="8672"/>
                  <a:pt x="5599" y="8688"/>
                </a:cubicBezTo>
                <a:lnTo>
                  <a:pt x="5608" y="8767"/>
                </a:lnTo>
                <a:lnTo>
                  <a:pt x="5624" y="8806"/>
                </a:lnTo>
                <a:lnTo>
                  <a:pt x="5648" y="8838"/>
                </a:lnTo>
                <a:cubicBezTo>
                  <a:pt x="5673" y="8878"/>
                  <a:pt x="5591" y="8870"/>
                  <a:pt x="5583" y="8870"/>
                </a:cubicBezTo>
                <a:cubicBezTo>
                  <a:pt x="5575" y="8870"/>
                  <a:pt x="5444" y="8917"/>
                  <a:pt x="5420" y="8925"/>
                </a:cubicBezTo>
                <a:lnTo>
                  <a:pt x="5387" y="8949"/>
                </a:lnTo>
                <a:lnTo>
                  <a:pt x="5379" y="8989"/>
                </a:lnTo>
                <a:lnTo>
                  <a:pt x="5330" y="9060"/>
                </a:lnTo>
                <a:lnTo>
                  <a:pt x="5282" y="9076"/>
                </a:lnTo>
                <a:lnTo>
                  <a:pt x="5282" y="9147"/>
                </a:lnTo>
                <a:cubicBezTo>
                  <a:pt x="5282" y="9163"/>
                  <a:pt x="5322" y="9227"/>
                  <a:pt x="5330" y="9258"/>
                </a:cubicBezTo>
                <a:lnTo>
                  <a:pt x="5306" y="9298"/>
                </a:lnTo>
                <a:lnTo>
                  <a:pt x="5306" y="9330"/>
                </a:lnTo>
                <a:lnTo>
                  <a:pt x="5265" y="9353"/>
                </a:lnTo>
                <a:lnTo>
                  <a:pt x="5167" y="9353"/>
                </a:lnTo>
                <a:lnTo>
                  <a:pt x="5208" y="9401"/>
                </a:lnTo>
                <a:cubicBezTo>
                  <a:pt x="5216" y="9409"/>
                  <a:pt x="5118" y="9433"/>
                  <a:pt x="5102" y="9457"/>
                </a:cubicBezTo>
                <a:lnTo>
                  <a:pt x="5078" y="9488"/>
                </a:lnTo>
                <a:lnTo>
                  <a:pt x="5061" y="9528"/>
                </a:lnTo>
                <a:lnTo>
                  <a:pt x="5045" y="9560"/>
                </a:lnTo>
                <a:lnTo>
                  <a:pt x="5013" y="9567"/>
                </a:lnTo>
                <a:lnTo>
                  <a:pt x="4972" y="9623"/>
                </a:lnTo>
                <a:lnTo>
                  <a:pt x="4890" y="9671"/>
                </a:lnTo>
                <a:cubicBezTo>
                  <a:pt x="4890" y="9671"/>
                  <a:pt x="4768" y="9710"/>
                  <a:pt x="4744" y="9718"/>
                </a:cubicBezTo>
                <a:lnTo>
                  <a:pt x="4735" y="9750"/>
                </a:lnTo>
                <a:lnTo>
                  <a:pt x="4801" y="9758"/>
                </a:lnTo>
                <a:lnTo>
                  <a:pt x="4996" y="9758"/>
                </a:lnTo>
                <a:lnTo>
                  <a:pt x="5167" y="9615"/>
                </a:lnTo>
                <a:lnTo>
                  <a:pt x="5298" y="9639"/>
                </a:lnTo>
                <a:lnTo>
                  <a:pt x="5436" y="9591"/>
                </a:lnTo>
                <a:lnTo>
                  <a:pt x="5485" y="9671"/>
                </a:lnTo>
                <a:lnTo>
                  <a:pt x="5339" y="9750"/>
                </a:lnTo>
                <a:lnTo>
                  <a:pt x="5176" y="9758"/>
                </a:lnTo>
                <a:lnTo>
                  <a:pt x="5208" y="9908"/>
                </a:lnTo>
                <a:lnTo>
                  <a:pt x="5224" y="10019"/>
                </a:lnTo>
                <a:lnTo>
                  <a:pt x="5192" y="10114"/>
                </a:lnTo>
                <a:cubicBezTo>
                  <a:pt x="5159" y="10099"/>
                  <a:pt x="5135" y="10178"/>
                  <a:pt x="5135" y="10194"/>
                </a:cubicBezTo>
                <a:lnTo>
                  <a:pt x="5265" y="10186"/>
                </a:lnTo>
                <a:cubicBezTo>
                  <a:pt x="5265" y="10186"/>
                  <a:pt x="5396" y="10099"/>
                  <a:pt x="5428" y="10114"/>
                </a:cubicBezTo>
                <a:cubicBezTo>
                  <a:pt x="5453" y="10130"/>
                  <a:pt x="5591" y="10059"/>
                  <a:pt x="5591" y="10059"/>
                </a:cubicBezTo>
                <a:lnTo>
                  <a:pt x="5713" y="10130"/>
                </a:lnTo>
                <a:lnTo>
                  <a:pt x="5713" y="10170"/>
                </a:lnTo>
                <a:lnTo>
                  <a:pt x="5665" y="10225"/>
                </a:lnTo>
                <a:lnTo>
                  <a:pt x="5607" y="10273"/>
                </a:lnTo>
                <a:lnTo>
                  <a:pt x="5575" y="10289"/>
                </a:lnTo>
                <a:cubicBezTo>
                  <a:pt x="5542" y="10305"/>
                  <a:pt x="5550" y="10376"/>
                  <a:pt x="5550" y="10400"/>
                </a:cubicBezTo>
                <a:cubicBezTo>
                  <a:pt x="5550" y="10424"/>
                  <a:pt x="5616" y="10511"/>
                  <a:pt x="5648" y="10511"/>
                </a:cubicBezTo>
                <a:cubicBezTo>
                  <a:pt x="5681" y="10511"/>
                  <a:pt x="5885" y="10558"/>
                  <a:pt x="5885" y="10558"/>
                </a:cubicBezTo>
                <a:cubicBezTo>
                  <a:pt x="6129" y="10622"/>
                  <a:pt x="6414" y="10717"/>
                  <a:pt x="6675" y="10741"/>
                </a:cubicBezTo>
                <a:lnTo>
                  <a:pt x="6659" y="10709"/>
                </a:lnTo>
                <a:lnTo>
                  <a:pt x="6692" y="10685"/>
                </a:lnTo>
                <a:lnTo>
                  <a:pt x="6724" y="10677"/>
                </a:lnTo>
                <a:lnTo>
                  <a:pt x="6773" y="10693"/>
                </a:lnTo>
                <a:lnTo>
                  <a:pt x="6830" y="10669"/>
                </a:lnTo>
                <a:lnTo>
                  <a:pt x="6863" y="10677"/>
                </a:lnTo>
                <a:lnTo>
                  <a:pt x="6904" y="10685"/>
                </a:lnTo>
                <a:lnTo>
                  <a:pt x="6969" y="10709"/>
                </a:lnTo>
                <a:lnTo>
                  <a:pt x="7009" y="10701"/>
                </a:lnTo>
                <a:lnTo>
                  <a:pt x="7042" y="10701"/>
                </a:lnTo>
                <a:lnTo>
                  <a:pt x="7083" y="10709"/>
                </a:lnTo>
                <a:lnTo>
                  <a:pt x="7115" y="10717"/>
                </a:lnTo>
                <a:lnTo>
                  <a:pt x="7148" y="10733"/>
                </a:lnTo>
                <a:lnTo>
                  <a:pt x="7189" y="10725"/>
                </a:lnTo>
                <a:lnTo>
                  <a:pt x="7221" y="10725"/>
                </a:lnTo>
                <a:lnTo>
                  <a:pt x="7254" y="10725"/>
                </a:lnTo>
                <a:lnTo>
                  <a:pt x="7286" y="10709"/>
                </a:lnTo>
                <a:lnTo>
                  <a:pt x="7327" y="10701"/>
                </a:lnTo>
                <a:lnTo>
                  <a:pt x="7360" y="10677"/>
                </a:lnTo>
                <a:lnTo>
                  <a:pt x="7392" y="10669"/>
                </a:lnTo>
                <a:lnTo>
                  <a:pt x="7433" y="10661"/>
                </a:lnTo>
                <a:lnTo>
                  <a:pt x="7490" y="10685"/>
                </a:lnTo>
                <a:lnTo>
                  <a:pt x="7547" y="10646"/>
                </a:lnTo>
                <a:lnTo>
                  <a:pt x="7612" y="10661"/>
                </a:lnTo>
                <a:lnTo>
                  <a:pt x="7653" y="10701"/>
                </a:lnTo>
                <a:lnTo>
                  <a:pt x="7718" y="10717"/>
                </a:lnTo>
                <a:lnTo>
                  <a:pt x="7824" y="10725"/>
                </a:lnTo>
                <a:lnTo>
                  <a:pt x="7832" y="10727"/>
                </a:lnTo>
                <a:lnTo>
                  <a:pt x="7832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47" name="Freeform 239">
            <a:extLst>
              <a:ext uri="{FF2B5EF4-FFF2-40B4-BE49-F238E27FC236}">
                <a16:creationId xmlns:a16="http://schemas.microsoft.com/office/drawing/2014/main" id="{A972B548-E78A-66F9-348F-D09011194F74}"/>
              </a:ext>
            </a:extLst>
          </p:cNvPr>
          <p:cNvSpPr>
            <a:spLocks noChangeArrowheads="1"/>
          </p:cNvSpPr>
          <p:nvPr>
            <p:custDataLst>
              <p:tags r:id="rId238"/>
            </p:custDataLst>
          </p:nvPr>
        </p:nvSpPr>
        <p:spPr bwMode="auto">
          <a:xfrm>
            <a:off x="9351339" y="4642149"/>
            <a:ext cx="2160782" cy="1392826"/>
          </a:xfrm>
          <a:custGeom>
            <a:avLst/>
            <a:gdLst>
              <a:gd name="T0" fmla="*/ 5222 w 5259"/>
              <a:gd name="T1" fmla="*/ 40 h 3392"/>
              <a:gd name="T2" fmla="*/ 4960 w 5259"/>
              <a:gd name="T3" fmla="*/ 112 h 3392"/>
              <a:gd name="T4" fmla="*/ 4714 w 5259"/>
              <a:gd name="T5" fmla="*/ 167 h 3392"/>
              <a:gd name="T6" fmla="*/ 4567 w 5259"/>
              <a:gd name="T7" fmla="*/ 350 h 3392"/>
              <a:gd name="T8" fmla="*/ 4379 w 5259"/>
              <a:gd name="T9" fmla="*/ 509 h 3392"/>
              <a:gd name="T10" fmla="*/ 4117 w 5259"/>
              <a:gd name="T11" fmla="*/ 540 h 3392"/>
              <a:gd name="T12" fmla="*/ 3970 w 5259"/>
              <a:gd name="T13" fmla="*/ 636 h 3392"/>
              <a:gd name="T14" fmla="*/ 3659 w 5259"/>
              <a:gd name="T15" fmla="*/ 675 h 3392"/>
              <a:gd name="T16" fmla="*/ 3495 w 5259"/>
              <a:gd name="T17" fmla="*/ 707 h 3392"/>
              <a:gd name="T18" fmla="*/ 3249 w 5259"/>
              <a:gd name="T19" fmla="*/ 747 h 3392"/>
              <a:gd name="T20" fmla="*/ 3053 w 5259"/>
              <a:gd name="T21" fmla="*/ 596 h 3392"/>
              <a:gd name="T22" fmla="*/ 2742 w 5259"/>
              <a:gd name="T23" fmla="*/ 604 h 3392"/>
              <a:gd name="T24" fmla="*/ 2455 w 5259"/>
              <a:gd name="T25" fmla="*/ 660 h 3392"/>
              <a:gd name="T26" fmla="*/ 1858 w 5259"/>
              <a:gd name="T27" fmla="*/ 945 h 3392"/>
              <a:gd name="T28" fmla="*/ 1653 w 5259"/>
              <a:gd name="T29" fmla="*/ 1160 h 3392"/>
              <a:gd name="T30" fmla="*/ 1302 w 5259"/>
              <a:gd name="T31" fmla="*/ 1223 h 3392"/>
              <a:gd name="T32" fmla="*/ 917 w 5259"/>
              <a:gd name="T33" fmla="*/ 1295 h 3392"/>
              <a:gd name="T34" fmla="*/ 589 w 5259"/>
              <a:gd name="T35" fmla="*/ 1168 h 3392"/>
              <a:gd name="T36" fmla="*/ 303 w 5259"/>
              <a:gd name="T37" fmla="*/ 1080 h 3392"/>
              <a:gd name="T38" fmla="*/ 66 w 5259"/>
              <a:gd name="T39" fmla="*/ 1199 h 3392"/>
              <a:gd name="T40" fmla="*/ 82 w 5259"/>
              <a:gd name="T41" fmla="*/ 1319 h 3392"/>
              <a:gd name="T42" fmla="*/ 98 w 5259"/>
              <a:gd name="T43" fmla="*/ 1517 h 3392"/>
              <a:gd name="T44" fmla="*/ 0 w 5259"/>
              <a:gd name="T45" fmla="*/ 1724 h 3392"/>
              <a:gd name="T46" fmla="*/ 270 w 5259"/>
              <a:gd name="T47" fmla="*/ 1724 h 3392"/>
              <a:gd name="T48" fmla="*/ 131 w 5259"/>
              <a:gd name="T49" fmla="*/ 1874 h 3392"/>
              <a:gd name="T50" fmla="*/ 131 w 5259"/>
              <a:gd name="T51" fmla="*/ 2017 h 3392"/>
              <a:gd name="T52" fmla="*/ 254 w 5259"/>
              <a:gd name="T53" fmla="*/ 1827 h 3392"/>
              <a:gd name="T54" fmla="*/ 524 w 5259"/>
              <a:gd name="T55" fmla="*/ 1517 h 3392"/>
              <a:gd name="T56" fmla="*/ 909 w 5259"/>
              <a:gd name="T57" fmla="*/ 1422 h 3392"/>
              <a:gd name="T58" fmla="*/ 1302 w 5259"/>
              <a:gd name="T59" fmla="*/ 1406 h 3392"/>
              <a:gd name="T60" fmla="*/ 982 w 5259"/>
              <a:gd name="T61" fmla="*/ 1565 h 3392"/>
              <a:gd name="T62" fmla="*/ 1056 w 5259"/>
              <a:gd name="T63" fmla="*/ 1644 h 3392"/>
              <a:gd name="T64" fmla="*/ 729 w 5259"/>
              <a:gd name="T65" fmla="*/ 1739 h 3392"/>
              <a:gd name="T66" fmla="*/ 598 w 5259"/>
              <a:gd name="T67" fmla="*/ 1732 h 3392"/>
              <a:gd name="T68" fmla="*/ 442 w 5259"/>
              <a:gd name="T69" fmla="*/ 1771 h 3392"/>
              <a:gd name="T70" fmla="*/ 278 w 5259"/>
              <a:gd name="T71" fmla="*/ 1827 h 3392"/>
              <a:gd name="T72" fmla="*/ 147 w 5259"/>
              <a:gd name="T73" fmla="*/ 2033 h 3392"/>
              <a:gd name="T74" fmla="*/ 164 w 5259"/>
              <a:gd name="T75" fmla="*/ 2279 h 3392"/>
              <a:gd name="T76" fmla="*/ 385 w 5259"/>
              <a:gd name="T77" fmla="*/ 2176 h 3392"/>
              <a:gd name="T78" fmla="*/ 450 w 5259"/>
              <a:gd name="T79" fmla="*/ 2375 h 3392"/>
              <a:gd name="T80" fmla="*/ 540 w 5259"/>
              <a:gd name="T81" fmla="*/ 2470 h 3392"/>
              <a:gd name="T82" fmla="*/ 499 w 5259"/>
              <a:gd name="T83" fmla="*/ 2589 h 3392"/>
              <a:gd name="T84" fmla="*/ 467 w 5259"/>
              <a:gd name="T85" fmla="*/ 2645 h 3392"/>
              <a:gd name="T86" fmla="*/ 377 w 5259"/>
              <a:gd name="T87" fmla="*/ 2653 h 3392"/>
              <a:gd name="T88" fmla="*/ 385 w 5259"/>
              <a:gd name="T89" fmla="*/ 2780 h 3392"/>
              <a:gd name="T90" fmla="*/ 573 w 5259"/>
              <a:gd name="T91" fmla="*/ 2788 h 3392"/>
              <a:gd name="T92" fmla="*/ 769 w 5259"/>
              <a:gd name="T93" fmla="*/ 2931 h 3392"/>
              <a:gd name="T94" fmla="*/ 696 w 5259"/>
              <a:gd name="T95" fmla="*/ 2946 h 3392"/>
              <a:gd name="T96" fmla="*/ 958 w 5259"/>
              <a:gd name="T97" fmla="*/ 3121 h 3392"/>
              <a:gd name="T98" fmla="*/ 1023 w 5259"/>
              <a:gd name="T99" fmla="*/ 3201 h 3392"/>
              <a:gd name="T100" fmla="*/ 1187 w 5259"/>
              <a:gd name="T101" fmla="*/ 3343 h 3392"/>
              <a:gd name="T102" fmla="*/ 1686 w 5259"/>
              <a:gd name="T103" fmla="*/ 3383 h 3392"/>
              <a:gd name="T104" fmla="*/ 2218 w 5259"/>
              <a:gd name="T105" fmla="*/ 3002 h 3392"/>
              <a:gd name="T106" fmla="*/ 3061 w 5259"/>
              <a:gd name="T107" fmla="*/ 2994 h 3392"/>
              <a:gd name="T108" fmla="*/ 3577 w 5259"/>
              <a:gd name="T109" fmla="*/ 2716 h 3392"/>
              <a:gd name="T110" fmla="*/ 3724 w 5259"/>
              <a:gd name="T111" fmla="*/ 2812 h 3392"/>
              <a:gd name="T112" fmla="*/ 3945 w 5259"/>
              <a:gd name="T113" fmla="*/ 2653 h 3392"/>
              <a:gd name="T114" fmla="*/ 4436 w 5259"/>
              <a:gd name="T115" fmla="*/ 2303 h 3392"/>
              <a:gd name="T116" fmla="*/ 5258 w 5259"/>
              <a:gd name="T117" fmla="*/ 1944 h 3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259" h="3392">
                <a:moveTo>
                  <a:pt x="369" y="2725"/>
                </a:moveTo>
                <a:lnTo>
                  <a:pt x="369" y="2724"/>
                </a:lnTo>
                <a:cubicBezTo>
                  <a:pt x="367" y="2724"/>
                  <a:pt x="368" y="2724"/>
                  <a:pt x="369" y="2725"/>
                </a:cubicBezTo>
                <a:close/>
                <a:moveTo>
                  <a:pt x="5258" y="73"/>
                </a:moveTo>
                <a:lnTo>
                  <a:pt x="5255" y="72"/>
                </a:lnTo>
                <a:lnTo>
                  <a:pt x="5222" y="40"/>
                </a:lnTo>
                <a:lnTo>
                  <a:pt x="5197" y="16"/>
                </a:lnTo>
                <a:cubicBezTo>
                  <a:pt x="5197" y="16"/>
                  <a:pt x="5181" y="0"/>
                  <a:pt x="5164" y="8"/>
                </a:cubicBezTo>
                <a:cubicBezTo>
                  <a:pt x="5140" y="16"/>
                  <a:pt x="5091" y="40"/>
                  <a:pt x="5091" y="40"/>
                </a:cubicBezTo>
                <a:lnTo>
                  <a:pt x="5099" y="64"/>
                </a:lnTo>
                <a:cubicBezTo>
                  <a:pt x="5099" y="64"/>
                  <a:pt x="5099" y="80"/>
                  <a:pt x="5074" y="96"/>
                </a:cubicBezTo>
                <a:cubicBezTo>
                  <a:pt x="5058" y="104"/>
                  <a:pt x="4960" y="112"/>
                  <a:pt x="4960" y="112"/>
                </a:cubicBezTo>
                <a:lnTo>
                  <a:pt x="4919" y="120"/>
                </a:lnTo>
                <a:lnTo>
                  <a:pt x="4878" y="135"/>
                </a:lnTo>
                <a:cubicBezTo>
                  <a:pt x="4878" y="135"/>
                  <a:pt x="4813" y="167"/>
                  <a:pt x="4788" y="159"/>
                </a:cubicBezTo>
                <a:cubicBezTo>
                  <a:pt x="4772" y="151"/>
                  <a:pt x="4755" y="143"/>
                  <a:pt x="4755" y="128"/>
                </a:cubicBezTo>
                <a:lnTo>
                  <a:pt x="4739" y="128"/>
                </a:lnTo>
                <a:cubicBezTo>
                  <a:pt x="4714" y="128"/>
                  <a:pt x="4731" y="143"/>
                  <a:pt x="4714" y="167"/>
                </a:cubicBezTo>
                <a:cubicBezTo>
                  <a:pt x="4706" y="191"/>
                  <a:pt x="4706" y="199"/>
                  <a:pt x="4706" y="215"/>
                </a:cubicBezTo>
                <a:cubicBezTo>
                  <a:pt x="4698" y="231"/>
                  <a:pt x="4690" y="239"/>
                  <a:pt x="4673" y="247"/>
                </a:cubicBezTo>
                <a:cubicBezTo>
                  <a:pt x="4657" y="263"/>
                  <a:pt x="4649" y="270"/>
                  <a:pt x="4632" y="286"/>
                </a:cubicBezTo>
                <a:cubicBezTo>
                  <a:pt x="4616" y="294"/>
                  <a:pt x="4632" y="286"/>
                  <a:pt x="4624" y="302"/>
                </a:cubicBezTo>
                <a:cubicBezTo>
                  <a:pt x="4624" y="318"/>
                  <a:pt x="4608" y="326"/>
                  <a:pt x="4600" y="334"/>
                </a:cubicBezTo>
                <a:cubicBezTo>
                  <a:pt x="4583" y="334"/>
                  <a:pt x="4575" y="350"/>
                  <a:pt x="4567" y="350"/>
                </a:cubicBezTo>
                <a:cubicBezTo>
                  <a:pt x="4559" y="358"/>
                  <a:pt x="4559" y="374"/>
                  <a:pt x="4559" y="390"/>
                </a:cubicBezTo>
                <a:cubicBezTo>
                  <a:pt x="4551" y="405"/>
                  <a:pt x="4551" y="398"/>
                  <a:pt x="4534" y="405"/>
                </a:cubicBezTo>
                <a:cubicBezTo>
                  <a:pt x="4518" y="405"/>
                  <a:pt x="4518" y="413"/>
                  <a:pt x="4493" y="429"/>
                </a:cubicBezTo>
                <a:cubicBezTo>
                  <a:pt x="4469" y="437"/>
                  <a:pt x="4477" y="453"/>
                  <a:pt x="4477" y="453"/>
                </a:cubicBezTo>
                <a:cubicBezTo>
                  <a:pt x="4477" y="453"/>
                  <a:pt x="4452" y="485"/>
                  <a:pt x="4420" y="509"/>
                </a:cubicBezTo>
                <a:cubicBezTo>
                  <a:pt x="4395" y="525"/>
                  <a:pt x="4387" y="509"/>
                  <a:pt x="4379" y="509"/>
                </a:cubicBezTo>
                <a:cubicBezTo>
                  <a:pt x="4371" y="517"/>
                  <a:pt x="4354" y="501"/>
                  <a:pt x="4346" y="501"/>
                </a:cubicBezTo>
                <a:cubicBezTo>
                  <a:pt x="4330" y="493"/>
                  <a:pt x="4305" y="532"/>
                  <a:pt x="4289" y="532"/>
                </a:cubicBezTo>
                <a:cubicBezTo>
                  <a:pt x="4281" y="540"/>
                  <a:pt x="4223" y="532"/>
                  <a:pt x="4223" y="532"/>
                </a:cubicBezTo>
                <a:lnTo>
                  <a:pt x="4158" y="517"/>
                </a:lnTo>
                <a:lnTo>
                  <a:pt x="4150" y="532"/>
                </a:lnTo>
                <a:lnTo>
                  <a:pt x="4117" y="540"/>
                </a:lnTo>
                <a:lnTo>
                  <a:pt x="4109" y="540"/>
                </a:lnTo>
                <a:cubicBezTo>
                  <a:pt x="4109" y="540"/>
                  <a:pt x="4092" y="556"/>
                  <a:pt x="4084" y="556"/>
                </a:cubicBezTo>
                <a:cubicBezTo>
                  <a:pt x="4076" y="564"/>
                  <a:pt x="4068" y="580"/>
                  <a:pt x="4068" y="580"/>
                </a:cubicBezTo>
                <a:cubicBezTo>
                  <a:pt x="4068" y="580"/>
                  <a:pt x="4019" y="588"/>
                  <a:pt x="4010" y="596"/>
                </a:cubicBezTo>
                <a:lnTo>
                  <a:pt x="3994" y="596"/>
                </a:lnTo>
                <a:cubicBezTo>
                  <a:pt x="3994" y="596"/>
                  <a:pt x="3994" y="628"/>
                  <a:pt x="3970" y="636"/>
                </a:cubicBezTo>
                <a:lnTo>
                  <a:pt x="3945" y="644"/>
                </a:lnTo>
                <a:cubicBezTo>
                  <a:pt x="3945" y="644"/>
                  <a:pt x="3904" y="667"/>
                  <a:pt x="3871" y="683"/>
                </a:cubicBezTo>
                <a:cubicBezTo>
                  <a:pt x="3839" y="699"/>
                  <a:pt x="3855" y="691"/>
                  <a:pt x="3855" y="691"/>
                </a:cubicBezTo>
                <a:cubicBezTo>
                  <a:pt x="3855" y="691"/>
                  <a:pt x="3773" y="699"/>
                  <a:pt x="3765" y="699"/>
                </a:cubicBezTo>
                <a:cubicBezTo>
                  <a:pt x="3757" y="699"/>
                  <a:pt x="3724" y="691"/>
                  <a:pt x="3716" y="691"/>
                </a:cubicBezTo>
                <a:cubicBezTo>
                  <a:pt x="3699" y="683"/>
                  <a:pt x="3667" y="683"/>
                  <a:pt x="3659" y="675"/>
                </a:cubicBezTo>
                <a:cubicBezTo>
                  <a:pt x="3650" y="667"/>
                  <a:pt x="3659" y="675"/>
                  <a:pt x="3634" y="675"/>
                </a:cubicBezTo>
                <a:cubicBezTo>
                  <a:pt x="3609" y="683"/>
                  <a:pt x="3618" y="683"/>
                  <a:pt x="3618" y="683"/>
                </a:cubicBezTo>
                <a:cubicBezTo>
                  <a:pt x="3618" y="683"/>
                  <a:pt x="3618" y="707"/>
                  <a:pt x="3609" y="715"/>
                </a:cubicBezTo>
                <a:cubicBezTo>
                  <a:pt x="3609" y="723"/>
                  <a:pt x="3593" y="723"/>
                  <a:pt x="3593" y="723"/>
                </a:cubicBezTo>
                <a:lnTo>
                  <a:pt x="3519" y="715"/>
                </a:lnTo>
                <a:lnTo>
                  <a:pt x="3495" y="707"/>
                </a:lnTo>
                <a:lnTo>
                  <a:pt x="3438" y="723"/>
                </a:lnTo>
                <a:cubicBezTo>
                  <a:pt x="3438" y="723"/>
                  <a:pt x="3397" y="699"/>
                  <a:pt x="3397" y="691"/>
                </a:cubicBezTo>
                <a:cubicBezTo>
                  <a:pt x="3397" y="683"/>
                  <a:pt x="3364" y="675"/>
                  <a:pt x="3364" y="675"/>
                </a:cubicBezTo>
                <a:lnTo>
                  <a:pt x="3298" y="675"/>
                </a:lnTo>
                <a:cubicBezTo>
                  <a:pt x="3274" y="675"/>
                  <a:pt x="3258" y="691"/>
                  <a:pt x="3258" y="691"/>
                </a:cubicBezTo>
                <a:lnTo>
                  <a:pt x="3249" y="747"/>
                </a:lnTo>
                <a:cubicBezTo>
                  <a:pt x="3249" y="747"/>
                  <a:pt x="3200" y="739"/>
                  <a:pt x="3192" y="739"/>
                </a:cubicBezTo>
                <a:cubicBezTo>
                  <a:pt x="3184" y="731"/>
                  <a:pt x="3151" y="715"/>
                  <a:pt x="3151" y="715"/>
                </a:cubicBezTo>
                <a:lnTo>
                  <a:pt x="3102" y="691"/>
                </a:lnTo>
                <a:lnTo>
                  <a:pt x="3102" y="660"/>
                </a:lnTo>
                <a:cubicBezTo>
                  <a:pt x="3110" y="644"/>
                  <a:pt x="3077" y="628"/>
                  <a:pt x="3077" y="620"/>
                </a:cubicBezTo>
                <a:cubicBezTo>
                  <a:pt x="3069" y="620"/>
                  <a:pt x="3053" y="596"/>
                  <a:pt x="3053" y="596"/>
                </a:cubicBezTo>
                <a:cubicBezTo>
                  <a:pt x="3053" y="596"/>
                  <a:pt x="2987" y="612"/>
                  <a:pt x="2971" y="620"/>
                </a:cubicBezTo>
                <a:cubicBezTo>
                  <a:pt x="2955" y="628"/>
                  <a:pt x="2930" y="636"/>
                  <a:pt x="2930" y="644"/>
                </a:cubicBezTo>
                <a:lnTo>
                  <a:pt x="2881" y="660"/>
                </a:lnTo>
                <a:cubicBezTo>
                  <a:pt x="2881" y="660"/>
                  <a:pt x="2840" y="652"/>
                  <a:pt x="2832" y="644"/>
                </a:cubicBezTo>
                <a:cubicBezTo>
                  <a:pt x="2824" y="644"/>
                  <a:pt x="2807" y="636"/>
                  <a:pt x="2799" y="636"/>
                </a:cubicBezTo>
                <a:cubicBezTo>
                  <a:pt x="2791" y="636"/>
                  <a:pt x="2766" y="620"/>
                  <a:pt x="2742" y="604"/>
                </a:cubicBezTo>
                <a:cubicBezTo>
                  <a:pt x="2717" y="596"/>
                  <a:pt x="2725" y="588"/>
                  <a:pt x="2725" y="580"/>
                </a:cubicBezTo>
                <a:lnTo>
                  <a:pt x="2734" y="548"/>
                </a:lnTo>
                <a:lnTo>
                  <a:pt x="2660" y="548"/>
                </a:lnTo>
                <a:lnTo>
                  <a:pt x="2652" y="572"/>
                </a:lnTo>
                <a:lnTo>
                  <a:pt x="2586" y="620"/>
                </a:lnTo>
                <a:lnTo>
                  <a:pt x="2455" y="660"/>
                </a:lnTo>
                <a:cubicBezTo>
                  <a:pt x="2455" y="660"/>
                  <a:pt x="2226" y="691"/>
                  <a:pt x="2194" y="691"/>
                </a:cubicBezTo>
                <a:cubicBezTo>
                  <a:pt x="2153" y="699"/>
                  <a:pt x="2153" y="715"/>
                  <a:pt x="2136" y="723"/>
                </a:cubicBezTo>
                <a:cubicBezTo>
                  <a:pt x="2120" y="739"/>
                  <a:pt x="2063" y="787"/>
                  <a:pt x="2046" y="787"/>
                </a:cubicBezTo>
                <a:cubicBezTo>
                  <a:pt x="2030" y="779"/>
                  <a:pt x="1940" y="850"/>
                  <a:pt x="1923" y="850"/>
                </a:cubicBezTo>
                <a:cubicBezTo>
                  <a:pt x="1907" y="858"/>
                  <a:pt x="1874" y="922"/>
                  <a:pt x="1874" y="922"/>
                </a:cubicBezTo>
                <a:lnTo>
                  <a:pt x="1858" y="945"/>
                </a:lnTo>
                <a:cubicBezTo>
                  <a:pt x="1858" y="945"/>
                  <a:pt x="1817" y="985"/>
                  <a:pt x="1809" y="985"/>
                </a:cubicBezTo>
                <a:cubicBezTo>
                  <a:pt x="1809" y="993"/>
                  <a:pt x="1793" y="1017"/>
                  <a:pt x="1793" y="1025"/>
                </a:cubicBezTo>
                <a:cubicBezTo>
                  <a:pt x="1784" y="1025"/>
                  <a:pt x="1768" y="1057"/>
                  <a:pt x="1760" y="1057"/>
                </a:cubicBezTo>
                <a:cubicBezTo>
                  <a:pt x="1752" y="1065"/>
                  <a:pt x="1735" y="1088"/>
                  <a:pt x="1711" y="1104"/>
                </a:cubicBezTo>
                <a:cubicBezTo>
                  <a:pt x="1694" y="1112"/>
                  <a:pt x="1686" y="1128"/>
                  <a:pt x="1662" y="1136"/>
                </a:cubicBezTo>
                <a:cubicBezTo>
                  <a:pt x="1637" y="1144"/>
                  <a:pt x="1653" y="1160"/>
                  <a:pt x="1653" y="1160"/>
                </a:cubicBezTo>
                <a:cubicBezTo>
                  <a:pt x="1653" y="1160"/>
                  <a:pt x="1662" y="1176"/>
                  <a:pt x="1662" y="1192"/>
                </a:cubicBezTo>
                <a:cubicBezTo>
                  <a:pt x="1670" y="1215"/>
                  <a:pt x="1653" y="1239"/>
                  <a:pt x="1653" y="1239"/>
                </a:cubicBezTo>
                <a:cubicBezTo>
                  <a:pt x="1653" y="1239"/>
                  <a:pt x="1588" y="1263"/>
                  <a:pt x="1572" y="1263"/>
                </a:cubicBezTo>
                <a:cubicBezTo>
                  <a:pt x="1563" y="1263"/>
                  <a:pt x="1473" y="1279"/>
                  <a:pt x="1473" y="1279"/>
                </a:cubicBezTo>
                <a:lnTo>
                  <a:pt x="1383" y="1184"/>
                </a:lnTo>
                <a:lnTo>
                  <a:pt x="1302" y="1223"/>
                </a:lnTo>
                <a:lnTo>
                  <a:pt x="1261" y="1255"/>
                </a:lnTo>
                <a:cubicBezTo>
                  <a:pt x="1261" y="1255"/>
                  <a:pt x="1187" y="1271"/>
                  <a:pt x="1171" y="1271"/>
                </a:cubicBezTo>
                <a:cubicBezTo>
                  <a:pt x="1154" y="1263"/>
                  <a:pt x="1113" y="1287"/>
                  <a:pt x="1097" y="1287"/>
                </a:cubicBezTo>
                <a:cubicBezTo>
                  <a:pt x="1080" y="1295"/>
                  <a:pt x="1031" y="1303"/>
                  <a:pt x="1015" y="1295"/>
                </a:cubicBezTo>
                <a:cubicBezTo>
                  <a:pt x="999" y="1287"/>
                  <a:pt x="974" y="1279"/>
                  <a:pt x="974" y="1279"/>
                </a:cubicBezTo>
                <a:lnTo>
                  <a:pt x="917" y="1295"/>
                </a:lnTo>
                <a:lnTo>
                  <a:pt x="868" y="1247"/>
                </a:lnTo>
                <a:lnTo>
                  <a:pt x="761" y="1271"/>
                </a:lnTo>
                <a:cubicBezTo>
                  <a:pt x="761" y="1271"/>
                  <a:pt x="712" y="1247"/>
                  <a:pt x="704" y="1239"/>
                </a:cubicBezTo>
                <a:cubicBezTo>
                  <a:pt x="704" y="1231"/>
                  <a:pt x="655" y="1231"/>
                  <a:pt x="655" y="1231"/>
                </a:cubicBezTo>
                <a:cubicBezTo>
                  <a:pt x="655" y="1231"/>
                  <a:pt x="598" y="1207"/>
                  <a:pt x="598" y="1192"/>
                </a:cubicBezTo>
                <a:cubicBezTo>
                  <a:pt x="589" y="1184"/>
                  <a:pt x="598" y="1176"/>
                  <a:pt x="589" y="1168"/>
                </a:cubicBezTo>
                <a:cubicBezTo>
                  <a:pt x="508" y="1112"/>
                  <a:pt x="548" y="1192"/>
                  <a:pt x="532" y="1041"/>
                </a:cubicBezTo>
                <a:cubicBezTo>
                  <a:pt x="524" y="1049"/>
                  <a:pt x="483" y="1065"/>
                  <a:pt x="483" y="1065"/>
                </a:cubicBezTo>
                <a:lnTo>
                  <a:pt x="458" y="1080"/>
                </a:lnTo>
                <a:cubicBezTo>
                  <a:pt x="458" y="1080"/>
                  <a:pt x="442" y="1080"/>
                  <a:pt x="426" y="1088"/>
                </a:cubicBezTo>
                <a:cubicBezTo>
                  <a:pt x="418" y="1096"/>
                  <a:pt x="368" y="1120"/>
                  <a:pt x="368" y="1120"/>
                </a:cubicBezTo>
                <a:lnTo>
                  <a:pt x="303" y="1080"/>
                </a:lnTo>
                <a:lnTo>
                  <a:pt x="262" y="1072"/>
                </a:lnTo>
                <a:lnTo>
                  <a:pt x="246" y="1096"/>
                </a:lnTo>
                <a:lnTo>
                  <a:pt x="205" y="1104"/>
                </a:lnTo>
                <a:lnTo>
                  <a:pt x="180" y="1144"/>
                </a:lnTo>
                <a:cubicBezTo>
                  <a:pt x="180" y="1144"/>
                  <a:pt x="123" y="1160"/>
                  <a:pt x="107" y="1168"/>
                </a:cubicBezTo>
                <a:cubicBezTo>
                  <a:pt x="98" y="1176"/>
                  <a:pt x="66" y="1199"/>
                  <a:pt x="66" y="1199"/>
                </a:cubicBezTo>
                <a:lnTo>
                  <a:pt x="74" y="1231"/>
                </a:lnTo>
                <a:lnTo>
                  <a:pt x="41" y="1255"/>
                </a:lnTo>
                <a:cubicBezTo>
                  <a:pt x="41" y="1255"/>
                  <a:pt x="17" y="1263"/>
                  <a:pt x="8" y="1279"/>
                </a:cubicBezTo>
                <a:lnTo>
                  <a:pt x="8" y="1287"/>
                </a:lnTo>
                <a:cubicBezTo>
                  <a:pt x="8" y="1295"/>
                  <a:pt x="17" y="1303"/>
                  <a:pt x="17" y="1303"/>
                </a:cubicBezTo>
                <a:cubicBezTo>
                  <a:pt x="33" y="1311"/>
                  <a:pt x="74" y="1319"/>
                  <a:pt x="82" y="1319"/>
                </a:cubicBezTo>
                <a:cubicBezTo>
                  <a:pt x="90" y="1319"/>
                  <a:pt x="131" y="1342"/>
                  <a:pt x="131" y="1342"/>
                </a:cubicBezTo>
                <a:cubicBezTo>
                  <a:pt x="131" y="1342"/>
                  <a:pt x="147" y="1382"/>
                  <a:pt x="147" y="1390"/>
                </a:cubicBezTo>
                <a:cubicBezTo>
                  <a:pt x="147" y="1398"/>
                  <a:pt x="188" y="1446"/>
                  <a:pt x="172" y="1446"/>
                </a:cubicBezTo>
                <a:cubicBezTo>
                  <a:pt x="164" y="1446"/>
                  <a:pt x="131" y="1454"/>
                  <a:pt x="131" y="1454"/>
                </a:cubicBezTo>
                <a:lnTo>
                  <a:pt x="115" y="1477"/>
                </a:lnTo>
                <a:cubicBezTo>
                  <a:pt x="115" y="1477"/>
                  <a:pt x="98" y="1509"/>
                  <a:pt x="98" y="1517"/>
                </a:cubicBezTo>
                <a:cubicBezTo>
                  <a:pt x="98" y="1525"/>
                  <a:pt x="90" y="1557"/>
                  <a:pt x="90" y="1565"/>
                </a:cubicBezTo>
                <a:lnTo>
                  <a:pt x="131" y="1652"/>
                </a:lnTo>
                <a:lnTo>
                  <a:pt x="90" y="1708"/>
                </a:lnTo>
                <a:lnTo>
                  <a:pt x="57" y="1739"/>
                </a:lnTo>
                <a:cubicBezTo>
                  <a:pt x="57" y="1739"/>
                  <a:pt x="17" y="1739"/>
                  <a:pt x="8" y="1732"/>
                </a:cubicBezTo>
                <a:cubicBezTo>
                  <a:pt x="8" y="1732"/>
                  <a:pt x="8" y="1724"/>
                  <a:pt x="0" y="1724"/>
                </a:cubicBezTo>
                <a:lnTo>
                  <a:pt x="8" y="1779"/>
                </a:lnTo>
                <a:cubicBezTo>
                  <a:pt x="8" y="1779"/>
                  <a:pt x="41" y="1795"/>
                  <a:pt x="57" y="1787"/>
                </a:cubicBezTo>
                <a:cubicBezTo>
                  <a:pt x="66" y="1787"/>
                  <a:pt x="82" y="1779"/>
                  <a:pt x="90" y="1787"/>
                </a:cubicBezTo>
                <a:cubicBezTo>
                  <a:pt x="98" y="1787"/>
                  <a:pt x="156" y="1771"/>
                  <a:pt x="156" y="1771"/>
                </a:cubicBezTo>
                <a:cubicBezTo>
                  <a:pt x="156" y="1771"/>
                  <a:pt x="180" y="1755"/>
                  <a:pt x="205" y="1747"/>
                </a:cubicBezTo>
                <a:cubicBezTo>
                  <a:pt x="221" y="1739"/>
                  <a:pt x="254" y="1724"/>
                  <a:pt x="270" y="1724"/>
                </a:cubicBezTo>
                <a:cubicBezTo>
                  <a:pt x="295" y="1724"/>
                  <a:pt x="287" y="1739"/>
                  <a:pt x="287" y="1747"/>
                </a:cubicBezTo>
                <a:cubicBezTo>
                  <a:pt x="295" y="1755"/>
                  <a:pt x="254" y="1771"/>
                  <a:pt x="254" y="1779"/>
                </a:cubicBezTo>
                <a:cubicBezTo>
                  <a:pt x="246" y="1787"/>
                  <a:pt x="237" y="1795"/>
                  <a:pt x="213" y="1811"/>
                </a:cubicBezTo>
                <a:cubicBezTo>
                  <a:pt x="197" y="1819"/>
                  <a:pt x="197" y="1819"/>
                  <a:pt x="180" y="1827"/>
                </a:cubicBezTo>
                <a:cubicBezTo>
                  <a:pt x="172" y="1827"/>
                  <a:pt x="180" y="1835"/>
                  <a:pt x="164" y="1851"/>
                </a:cubicBezTo>
                <a:cubicBezTo>
                  <a:pt x="139" y="1867"/>
                  <a:pt x="147" y="1867"/>
                  <a:pt x="131" y="1874"/>
                </a:cubicBezTo>
                <a:cubicBezTo>
                  <a:pt x="123" y="1882"/>
                  <a:pt x="131" y="1882"/>
                  <a:pt x="123" y="1906"/>
                </a:cubicBezTo>
                <a:cubicBezTo>
                  <a:pt x="115" y="1930"/>
                  <a:pt x="123" y="1914"/>
                  <a:pt x="123" y="1914"/>
                </a:cubicBezTo>
                <a:lnTo>
                  <a:pt x="131" y="1954"/>
                </a:lnTo>
                <a:cubicBezTo>
                  <a:pt x="131" y="1954"/>
                  <a:pt x="131" y="1970"/>
                  <a:pt x="123" y="1978"/>
                </a:cubicBezTo>
                <a:cubicBezTo>
                  <a:pt x="115" y="1986"/>
                  <a:pt x="115" y="2017"/>
                  <a:pt x="115" y="2025"/>
                </a:cubicBezTo>
                <a:cubicBezTo>
                  <a:pt x="115" y="2033"/>
                  <a:pt x="131" y="2017"/>
                  <a:pt x="131" y="2017"/>
                </a:cubicBezTo>
                <a:lnTo>
                  <a:pt x="139" y="1986"/>
                </a:lnTo>
                <a:lnTo>
                  <a:pt x="147" y="1970"/>
                </a:lnTo>
                <a:cubicBezTo>
                  <a:pt x="147" y="1970"/>
                  <a:pt x="180" y="1922"/>
                  <a:pt x="180" y="1914"/>
                </a:cubicBezTo>
                <a:cubicBezTo>
                  <a:pt x="188" y="1906"/>
                  <a:pt x="205" y="1867"/>
                  <a:pt x="205" y="1867"/>
                </a:cubicBezTo>
                <a:lnTo>
                  <a:pt x="237" y="1819"/>
                </a:lnTo>
                <a:lnTo>
                  <a:pt x="254" y="1827"/>
                </a:lnTo>
                <a:cubicBezTo>
                  <a:pt x="254" y="1827"/>
                  <a:pt x="303" y="1779"/>
                  <a:pt x="311" y="1771"/>
                </a:cubicBezTo>
                <a:cubicBezTo>
                  <a:pt x="319" y="1771"/>
                  <a:pt x="352" y="1739"/>
                  <a:pt x="352" y="1739"/>
                </a:cubicBezTo>
                <a:lnTo>
                  <a:pt x="393" y="1700"/>
                </a:lnTo>
                <a:cubicBezTo>
                  <a:pt x="393" y="1700"/>
                  <a:pt x="434" y="1644"/>
                  <a:pt x="442" y="1628"/>
                </a:cubicBezTo>
                <a:cubicBezTo>
                  <a:pt x="442" y="1620"/>
                  <a:pt x="450" y="1557"/>
                  <a:pt x="467" y="1549"/>
                </a:cubicBezTo>
                <a:cubicBezTo>
                  <a:pt x="483" y="1541"/>
                  <a:pt x="508" y="1525"/>
                  <a:pt x="524" y="1517"/>
                </a:cubicBezTo>
                <a:cubicBezTo>
                  <a:pt x="540" y="1509"/>
                  <a:pt x="557" y="1493"/>
                  <a:pt x="557" y="1493"/>
                </a:cubicBezTo>
                <a:cubicBezTo>
                  <a:pt x="557" y="1493"/>
                  <a:pt x="598" y="1501"/>
                  <a:pt x="614" y="1493"/>
                </a:cubicBezTo>
                <a:cubicBezTo>
                  <a:pt x="630" y="1485"/>
                  <a:pt x="663" y="1438"/>
                  <a:pt x="671" y="1438"/>
                </a:cubicBezTo>
                <a:lnTo>
                  <a:pt x="720" y="1422"/>
                </a:lnTo>
                <a:cubicBezTo>
                  <a:pt x="729" y="1422"/>
                  <a:pt x="778" y="1430"/>
                  <a:pt x="794" y="1430"/>
                </a:cubicBezTo>
                <a:cubicBezTo>
                  <a:pt x="819" y="1430"/>
                  <a:pt x="909" y="1422"/>
                  <a:pt x="909" y="1422"/>
                </a:cubicBezTo>
                <a:cubicBezTo>
                  <a:pt x="909" y="1422"/>
                  <a:pt x="974" y="1398"/>
                  <a:pt x="982" y="1398"/>
                </a:cubicBezTo>
                <a:cubicBezTo>
                  <a:pt x="982" y="1406"/>
                  <a:pt x="1031" y="1406"/>
                  <a:pt x="1056" y="1422"/>
                </a:cubicBezTo>
                <a:cubicBezTo>
                  <a:pt x="1072" y="1438"/>
                  <a:pt x="1089" y="1446"/>
                  <a:pt x="1105" y="1454"/>
                </a:cubicBezTo>
                <a:cubicBezTo>
                  <a:pt x="1121" y="1454"/>
                  <a:pt x="1179" y="1438"/>
                  <a:pt x="1220" y="1414"/>
                </a:cubicBezTo>
                <a:cubicBezTo>
                  <a:pt x="1252" y="1398"/>
                  <a:pt x="1236" y="1414"/>
                  <a:pt x="1261" y="1406"/>
                </a:cubicBezTo>
                <a:cubicBezTo>
                  <a:pt x="1277" y="1398"/>
                  <a:pt x="1293" y="1406"/>
                  <a:pt x="1302" y="1406"/>
                </a:cubicBezTo>
                <a:cubicBezTo>
                  <a:pt x="1310" y="1406"/>
                  <a:pt x="1285" y="1430"/>
                  <a:pt x="1244" y="1438"/>
                </a:cubicBezTo>
                <a:cubicBezTo>
                  <a:pt x="1211" y="1454"/>
                  <a:pt x="1203" y="1446"/>
                  <a:pt x="1195" y="1446"/>
                </a:cubicBezTo>
                <a:cubicBezTo>
                  <a:pt x="1187" y="1446"/>
                  <a:pt x="1121" y="1493"/>
                  <a:pt x="1089" y="1501"/>
                </a:cubicBezTo>
                <a:cubicBezTo>
                  <a:pt x="1056" y="1517"/>
                  <a:pt x="1056" y="1517"/>
                  <a:pt x="1040" y="1525"/>
                </a:cubicBezTo>
                <a:cubicBezTo>
                  <a:pt x="1023" y="1533"/>
                  <a:pt x="1023" y="1541"/>
                  <a:pt x="1007" y="1541"/>
                </a:cubicBezTo>
                <a:cubicBezTo>
                  <a:pt x="999" y="1549"/>
                  <a:pt x="991" y="1557"/>
                  <a:pt x="982" y="1565"/>
                </a:cubicBezTo>
                <a:cubicBezTo>
                  <a:pt x="966" y="1581"/>
                  <a:pt x="966" y="1581"/>
                  <a:pt x="958" y="1597"/>
                </a:cubicBezTo>
                <a:cubicBezTo>
                  <a:pt x="950" y="1605"/>
                  <a:pt x="974" y="1605"/>
                  <a:pt x="982" y="1612"/>
                </a:cubicBezTo>
                <a:lnTo>
                  <a:pt x="1023" y="1605"/>
                </a:lnTo>
                <a:lnTo>
                  <a:pt x="1064" y="1605"/>
                </a:lnTo>
                <a:lnTo>
                  <a:pt x="1081" y="1612"/>
                </a:lnTo>
                <a:cubicBezTo>
                  <a:pt x="1081" y="1612"/>
                  <a:pt x="1064" y="1636"/>
                  <a:pt x="1056" y="1644"/>
                </a:cubicBezTo>
                <a:cubicBezTo>
                  <a:pt x="1048" y="1652"/>
                  <a:pt x="1031" y="1652"/>
                  <a:pt x="1007" y="1644"/>
                </a:cubicBezTo>
                <a:cubicBezTo>
                  <a:pt x="991" y="1644"/>
                  <a:pt x="925" y="1684"/>
                  <a:pt x="925" y="1684"/>
                </a:cubicBezTo>
                <a:lnTo>
                  <a:pt x="868" y="1700"/>
                </a:lnTo>
                <a:lnTo>
                  <a:pt x="786" y="1708"/>
                </a:lnTo>
                <a:cubicBezTo>
                  <a:pt x="786" y="1708"/>
                  <a:pt x="761" y="1716"/>
                  <a:pt x="753" y="1724"/>
                </a:cubicBezTo>
                <a:cubicBezTo>
                  <a:pt x="737" y="1724"/>
                  <a:pt x="729" y="1739"/>
                  <a:pt x="729" y="1739"/>
                </a:cubicBezTo>
                <a:lnTo>
                  <a:pt x="688" y="1747"/>
                </a:lnTo>
                <a:cubicBezTo>
                  <a:pt x="680" y="1747"/>
                  <a:pt x="680" y="1732"/>
                  <a:pt x="680" y="1732"/>
                </a:cubicBezTo>
                <a:cubicBezTo>
                  <a:pt x="680" y="1724"/>
                  <a:pt x="688" y="1724"/>
                  <a:pt x="696" y="1716"/>
                </a:cubicBezTo>
                <a:cubicBezTo>
                  <a:pt x="712" y="1708"/>
                  <a:pt x="696" y="1692"/>
                  <a:pt x="696" y="1692"/>
                </a:cubicBezTo>
                <a:lnTo>
                  <a:pt x="614" y="1692"/>
                </a:lnTo>
                <a:cubicBezTo>
                  <a:pt x="614" y="1692"/>
                  <a:pt x="598" y="1724"/>
                  <a:pt x="598" y="1732"/>
                </a:cubicBezTo>
                <a:cubicBezTo>
                  <a:pt x="598" y="1732"/>
                  <a:pt x="639" y="1739"/>
                  <a:pt x="647" y="1747"/>
                </a:cubicBezTo>
                <a:lnTo>
                  <a:pt x="647" y="1771"/>
                </a:lnTo>
                <a:lnTo>
                  <a:pt x="606" y="1787"/>
                </a:lnTo>
                <a:lnTo>
                  <a:pt x="508" y="1803"/>
                </a:lnTo>
                <a:cubicBezTo>
                  <a:pt x="508" y="1803"/>
                  <a:pt x="475" y="1771"/>
                  <a:pt x="475" y="1763"/>
                </a:cubicBezTo>
                <a:cubicBezTo>
                  <a:pt x="467" y="1763"/>
                  <a:pt x="459" y="1771"/>
                  <a:pt x="442" y="1771"/>
                </a:cubicBezTo>
                <a:lnTo>
                  <a:pt x="409" y="1771"/>
                </a:lnTo>
                <a:cubicBezTo>
                  <a:pt x="401" y="1771"/>
                  <a:pt x="385" y="1787"/>
                  <a:pt x="385" y="1787"/>
                </a:cubicBezTo>
                <a:lnTo>
                  <a:pt x="360" y="1787"/>
                </a:lnTo>
                <a:lnTo>
                  <a:pt x="352" y="1803"/>
                </a:lnTo>
                <a:lnTo>
                  <a:pt x="319" y="1827"/>
                </a:lnTo>
                <a:lnTo>
                  <a:pt x="278" y="1827"/>
                </a:lnTo>
                <a:lnTo>
                  <a:pt x="254" y="1859"/>
                </a:lnTo>
                <a:cubicBezTo>
                  <a:pt x="254" y="1859"/>
                  <a:pt x="205" y="1906"/>
                  <a:pt x="197" y="1914"/>
                </a:cubicBezTo>
                <a:cubicBezTo>
                  <a:pt x="197" y="1914"/>
                  <a:pt x="180" y="1946"/>
                  <a:pt x="180" y="1954"/>
                </a:cubicBezTo>
                <a:lnTo>
                  <a:pt x="164" y="1986"/>
                </a:lnTo>
                <a:lnTo>
                  <a:pt x="156" y="2002"/>
                </a:lnTo>
                <a:lnTo>
                  <a:pt x="147" y="2033"/>
                </a:lnTo>
                <a:lnTo>
                  <a:pt x="156" y="2073"/>
                </a:lnTo>
                <a:cubicBezTo>
                  <a:pt x="156" y="2073"/>
                  <a:pt x="164" y="2097"/>
                  <a:pt x="164" y="2113"/>
                </a:cubicBezTo>
                <a:lnTo>
                  <a:pt x="164" y="2160"/>
                </a:lnTo>
                <a:cubicBezTo>
                  <a:pt x="172" y="2168"/>
                  <a:pt x="180" y="2200"/>
                  <a:pt x="180" y="2200"/>
                </a:cubicBezTo>
                <a:cubicBezTo>
                  <a:pt x="180" y="2208"/>
                  <a:pt x="164" y="2216"/>
                  <a:pt x="164" y="2216"/>
                </a:cubicBezTo>
                <a:lnTo>
                  <a:pt x="164" y="2279"/>
                </a:lnTo>
                <a:lnTo>
                  <a:pt x="197" y="2279"/>
                </a:lnTo>
                <a:cubicBezTo>
                  <a:pt x="197" y="2279"/>
                  <a:pt x="229" y="2264"/>
                  <a:pt x="237" y="2256"/>
                </a:cubicBezTo>
                <a:cubicBezTo>
                  <a:pt x="246" y="2256"/>
                  <a:pt x="262" y="2240"/>
                  <a:pt x="270" y="2240"/>
                </a:cubicBezTo>
                <a:cubicBezTo>
                  <a:pt x="270" y="2232"/>
                  <a:pt x="311" y="2224"/>
                  <a:pt x="319" y="2224"/>
                </a:cubicBezTo>
                <a:cubicBezTo>
                  <a:pt x="319" y="2216"/>
                  <a:pt x="352" y="2208"/>
                  <a:pt x="352" y="2208"/>
                </a:cubicBezTo>
                <a:cubicBezTo>
                  <a:pt x="352" y="2208"/>
                  <a:pt x="377" y="2176"/>
                  <a:pt x="385" y="2176"/>
                </a:cubicBezTo>
                <a:lnTo>
                  <a:pt x="442" y="2184"/>
                </a:lnTo>
                <a:cubicBezTo>
                  <a:pt x="442" y="2184"/>
                  <a:pt x="426" y="2232"/>
                  <a:pt x="401" y="2248"/>
                </a:cubicBezTo>
                <a:cubicBezTo>
                  <a:pt x="385" y="2264"/>
                  <a:pt x="393" y="2279"/>
                  <a:pt x="393" y="2287"/>
                </a:cubicBezTo>
                <a:cubicBezTo>
                  <a:pt x="385" y="2287"/>
                  <a:pt x="385" y="2311"/>
                  <a:pt x="385" y="2319"/>
                </a:cubicBezTo>
                <a:lnTo>
                  <a:pt x="442" y="2351"/>
                </a:lnTo>
                <a:cubicBezTo>
                  <a:pt x="442" y="2351"/>
                  <a:pt x="450" y="2367"/>
                  <a:pt x="450" y="2375"/>
                </a:cubicBezTo>
                <a:cubicBezTo>
                  <a:pt x="458" y="2375"/>
                  <a:pt x="467" y="2391"/>
                  <a:pt x="467" y="2391"/>
                </a:cubicBezTo>
                <a:cubicBezTo>
                  <a:pt x="467" y="2391"/>
                  <a:pt x="458" y="2406"/>
                  <a:pt x="458" y="2414"/>
                </a:cubicBezTo>
                <a:cubicBezTo>
                  <a:pt x="458" y="2422"/>
                  <a:pt x="458" y="2438"/>
                  <a:pt x="467" y="2446"/>
                </a:cubicBezTo>
                <a:cubicBezTo>
                  <a:pt x="467" y="2454"/>
                  <a:pt x="483" y="2454"/>
                  <a:pt x="491" y="2454"/>
                </a:cubicBezTo>
                <a:cubicBezTo>
                  <a:pt x="491" y="2462"/>
                  <a:pt x="548" y="2438"/>
                  <a:pt x="557" y="2438"/>
                </a:cubicBezTo>
                <a:lnTo>
                  <a:pt x="540" y="2470"/>
                </a:lnTo>
                <a:lnTo>
                  <a:pt x="532" y="2510"/>
                </a:lnTo>
                <a:cubicBezTo>
                  <a:pt x="532" y="2510"/>
                  <a:pt x="508" y="2518"/>
                  <a:pt x="499" y="2518"/>
                </a:cubicBezTo>
                <a:cubicBezTo>
                  <a:pt x="491" y="2518"/>
                  <a:pt x="475" y="2526"/>
                  <a:pt x="467" y="2534"/>
                </a:cubicBezTo>
                <a:cubicBezTo>
                  <a:pt x="467" y="2534"/>
                  <a:pt x="458" y="2549"/>
                  <a:pt x="467" y="2557"/>
                </a:cubicBezTo>
                <a:lnTo>
                  <a:pt x="475" y="2581"/>
                </a:lnTo>
                <a:cubicBezTo>
                  <a:pt x="475" y="2581"/>
                  <a:pt x="491" y="2589"/>
                  <a:pt x="499" y="2589"/>
                </a:cubicBezTo>
                <a:cubicBezTo>
                  <a:pt x="499" y="2597"/>
                  <a:pt x="516" y="2605"/>
                  <a:pt x="516" y="2613"/>
                </a:cubicBezTo>
                <a:cubicBezTo>
                  <a:pt x="524" y="2613"/>
                  <a:pt x="573" y="2645"/>
                  <a:pt x="573" y="2645"/>
                </a:cubicBezTo>
                <a:cubicBezTo>
                  <a:pt x="573" y="2645"/>
                  <a:pt x="565" y="2684"/>
                  <a:pt x="557" y="2684"/>
                </a:cubicBezTo>
                <a:cubicBezTo>
                  <a:pt x="548" y="2692"/>
                  <a:pt x="532" y="2676"/>
                  <a:pt x="516" y="2669"/>
                </a:cubicBezTo>
                <a:cubicBezTo>
                  <a:pt x="499" y="2669"/>
                  <a:pt x="499" y="2684"/>
                  <a:pt x="491" y="2684"/>
                </a:cubicBezTo>
                <a:cubicBezTo>
                  <a:pt x="483" y="2676"/>
                  <a:pt x="467" y="2645"/>
                  <a:pt x="467" y="2645"/>
                </a:cubicBezTo>
                <a:cubicBezTo>
                  <a:pt x="467" y="2645"/>
                  <a:pt x="442" y="2621"/>
                  <a:pt x="434" y="2621"/>
                </a:cubicBezTo>
                <a:lnTo>
                  <a:pt x="418" y="2597"/>
                </a:lnTo>
                <a:lnTo>
                  <a:pt x="401" y="2589"/>
                </a:lnTo>
                <a:cubicBezTo>
                  <a:pt x="393" y="2589"/>
                  <a:pt x="393" y="2589"/>
                  <a:pt x="385" y="2581"/>
                </a:cubicBezTo>
                <a:cubicBezTo>
                  <a:pt x="377" y="2581"/>
                  <a:pt x="352" y="2605"/>
                  <a:pt x="360" y="2637"/>
                </a:cubicBezTo>
                <a:cubicBezTo>
                  <a:pt x="360" y="2645"/>
                  <a:pt x="377" y="2653"/>
                  <a:pt x="377" y="2653"/>
                </a:cubicBezTo>
                <a:cubicBezTo>
                  <a:pt x="377" y="2653"/>
                  <a:pt x="385" y="2676"/>
                  <a:pt x="393" y="2684"/>
                </a:cubicBezTo>
                <a:cubicBezTo>
                  <a:pt x="401" y="2692"/>
                  <a:pt x="426" y="2692"/>
                  <a:pt x="418" y="2700"/>
                </a:cubicBezTo>
                <a:cubicBezTo>
                  <a:pt x="409" y="2700"/>
                  <a:pt x="409" y="2740"/>
                  <a:pt x="409" y="2740"/>
                </a:cubicBezTo>
                <a:cubicBezTo>
                  <a:pt x="409" y="2740"/>
                  <a:pt x="375" y="2729"/>
                  <a:pt x="369" y="2725"/>
                </a:cubicBezTo>
                <a:cubicBezTo>
                  <a:pt x="374" y="2735"/>
                  <a:pt x="352" y="2764"/>
                  <a:pt x="352" y="2764"/>
                </a:cubicBezTo>
                <a:cubicBezTo>
                  <a:pt x="352" y="2764"/>
                  <a:pt x="377" y="2772"/>
                  <a:pt x="385" y="2780"/>
                </a:cubicBezTo>
                <a:cubicBezTo>
                  <a:pt x="385" y="2788"/>
                  <a:pt x="418" y="2796"/>
                  <a:pt x="426" y="2788"/>
                </a:cubicBezTo>
                <a:cubicBezTo>
                  <a:pt x="434" y="2788"/>
                  <a:pt x="458" y="2811"/>
                  <a:pt x="467" y="2819"/>
                </a:cubicBezTo>
                <a:cubicBezTo>
                  <a:pt x="499" y="2843"/>
                  <a:pt x="499" y="2811"/>
                  <a:pt x="508" y="2804"/>
                </a:cubicBezTo>
                <a:lnTo>
                  <a:pt x="499" y="2772"/>
                </a:lnTo>
                <a:cubicBezTo>
                  <a:pt x="508" y="2772"/>
                  <a:pt x="540" y="2764"/>
                  <a:pt x="540" y="2764"/>
                </a:cubicBezTo>
                <a:lnTo>
                  <a:pt x="573" y="2788"/>
                </a:lnTo>
                <a:cubicBezTo>
                  <a:pt x="573" y="2788"/>
                  <a:pt x="589" y="2796"/>
                  <a:pt x="606" y="2804"/>
                </a:cubicBezTo>
                <a:lnTo>
                  <a:pt x="622" y="2811"/>
                </a:lnTo>
                <a:lnTo>
                  <a:pt x="729" y="2819"/>
                </a:lnTo>
                <a:cubicBezTo>
                  <a:pt x="729" y="2819"/>
                  <a:pt x="729" y="2827"/>
                  <a:pt x="745" y="2835"/>
                </a:cubicBezTo>
                <a:cubicBezTo>
                  <a:pt x="761" y="2843"/>
                  <a:pt x="745" y="2843"/>
                  <a:pt x="745" y="2859"/>
                </a:cubicBezTo>
                <a:cubicBezTo>
                  <a:pt x="737" y="2899"/>
                  <a:pt x="778" y="2923"/>
                  <a:pt x="769" y="2931"/>
                </a:cubicBezTo>
                <a:cubicBezTo>
                  <a:pt x="769" y="2939"/>
                  <a:pt x="737" y="2946"/>
                  <a:pt x="720" y="2939"/>
                </a:cubicBezTo>
                <a:cubicBezTo>
                  <a:pt x="704" y="2939"/>
                  <a:pt x="696" y="2915"/>
                  <a:pt x="679" y="2915"/>
                </a:cubicBezTo>
                <a:cubicBezTo>
                  <a:pt x="647" y="2931"/>
                  <a:pt x="622" y="2931"/>
                  <a:pt x="622" y="2939"/>
                </a:cubicBezTo>
                <a:lnTo>
                  <a:pt x="638" y="2939"/>
                </a:lnTo>
                <a:lnTo>
                  <a:pt x="663" y="2923"/>
                </a:lnTo>
                <a:cubicBezTo>
                  <a:pt x="671" y="2923"/>
                  <a:pt x="696" y="2946"/>
                  <a:pt x="696" y="2946"/>
                </a:cubicBezTo>
                <a:cubicBezTo>
                  <a:pt x="696" y="2946"/>
                  <a:pt x="688" y="2954"/>
                  <a:pt x="688" y="2962"/>
                </a:cubicBezTo>
                <a:cubicBezTo>
                  <a:pt x="696" y="2962"/>
                  <a:pt x="712" y="2970"/>
                  <a:pt x="712" y="2970"/>
                </a:cubicBezTo>
                <a:cubicBezTo>
                  <a:pt x="802" y="2994"/>
                  <a:pt x="761" y="2994"/>
                  <a:pt x="778" y="3050"/>
                </a:cubicBezTo>
                <a:cubicBezTo>
                  <a:pt x="810" y="3161"/>
                  <a:pt x="810" y="3010"/>
                  <a:pt x="827" y="3050"/>
                </a:cubicBezTo>
                <a:cubicBezTo>
                  <a:pt x="835" y="3066"/>
                  <a:pt x="860" y="3050"/>
                  <a:pt x="876" y="3081"/>
                </a:cubicBezTo>
                <a:cubicBezTo>
                  <a:pt x="892" y="3113"/>
                  <a:pt x="933" y="3034"/>
                  <a:pt x="958" y="3121"/>
                </a:cubicBezTo>
                <a:cubicBezTo>
                  <a:pt x="958" y="3145"/>
                  <a:pt x="909" y="3161"/>
                  <a:pt x="892" y="3169"/>
                </a:cubicBezTo>
                <a:cubicBezTo>
                  <a:pt x="843" y="3185"/>
                  <a:pt x="851" y="3169"/>
                  <a:pt x="819" y="3185"/>
                </a:cubicBezTo>
                <a:cubicBezTo>
                  <a:pt x="819" y="3185"/>
                  <a:pt x="794" y="3240"/>
                  <a:pt x="835" y="3240"/>
                </a:cubicBezTo>
                <a:cubicBezTo>
                  <a:pt x="851" y="3240"/>
                  <a:pt x="851" y="3224"/>
                  <a:pt x="876" y="3216"/>
                </a:cubicBezTo>
                <a:cubicBezTo>
                  <a:pt x="892" y="3209"/>
                  <a:pt x="900" y="3240"/>
                  <a:pt x="925" y="3232"/>
                </a:cubicBezTo>
                <a:cubicBezTo>
                  <a:pt x="958" y="3224"/>
                  <a:pt x="958" y="3216"/>
                  <a:pt x="1023" y="3201"/>
                </a:cubicBezTo>
                <a:cubicBezTo>
                  <a:pt x="1064" y="3185"/>
                  <a:pt x="1105" y="3121"/>
                  <a:pt x="1113" y="3121"/>
                </a:cubicBezTo>
                <a:cubicBezTo>
                  <a:pt x="1121" y="3121"/>
                  <a:pt x="1211" y="3161"/>
                  <a:pt x="1203" y="3177"/>
                </a:cubicBezTo>
                <a:cubicBezTo>
                  <a:pt x="1203" y="3185"/>
                  <a:pt x="1072" y="3280"/>
                  <a:pt x="1056" y="3280"/>
                </a:cubicBezTo>
                <a:cubicBezTo>
                  <a:pt x="958" y="3312"/>
                  <a:pt x="1039" y="3336"/>
                  <a:pt x="1064" y="3320"/>
                </a:cubicBezTo>
                <a:cubicBezTo>
                  <a:pt x="1130" y="3280"/>
                  <a:pt x="1121" y="3328"/>
                  <a:pt x="1154" y="3312"/>
                </a:cubicBezTo>
                <a:cubicBezTo>
                  <a:pt x="1171" y="3304"/>
                  <a:pt x="1171" y="3359"/>
                  <a:pt x="1187" y="3343"/>
                </a:cubicBezTo>
                <a:cubicBezTo>
                  <a:pt x="1203" y="3336"/>
                  <a:pt x="1236" y="3272"/>
                  <a:pt x="1252" y="3248"/>
                </a:cubicBezTo>
                <a:cubicBezTo>
                  <a:pt x="1301" y="3209"/>
                  <a:pt x="1334" y="3201"/>
                  <a:pt x="1334" y="3209"/>
                </a:cubicBezTo>
                <a:cubicBezTo>
                  <a:pt x="1351" y="3216"/>
                  <a:pt x="1351" y="3193"/>
                  <a:pt x="1408" y="3209"/>
                </a:cubicBezTo>
                <a:cubicBezTo>
                  <a:pt x="1441" y="3224"/>
                  <a:pt x="1416" y="3209"/>
                  <a:pt x="1457" y="3312"/>
                </a:cubicBezTo>
                <a:cubicBezTo>
                  <a:pt x="1465" y="3343"/>
                  <a:pt x="1539" y="3391"/>
                  <a:pt x="1539" y="3383"/>
                </a:cubicBezTo>
                <a:lnTo>
                  <a:pt x="1686" y="3383"/>
                </a:lnTo>
                <a:lnTo>
                  <a:pt x="1768" y="3336"/>
                </a:lnTo>
                <a:lnTo>
                  <a:pt x="1907" y="3304"/>
                </a:lnTo>
                <a:cubicBezTo>
                  <a:pt x="1948" y="3272"/>
                  <a:pt x="1891" y="3169"/>
                  <a:pt x="1940" y="3161"/>
                </a:cubicBezTo>
                <a:cubicBezTo>
                  <a:pt x="1940" y="3058"/>
                  <a:pt x="1948" y="3121"/>
                  <a:pt x="1923" y="3034"/>
                </a:cubicBezTo>
                <a:cubicBezTo>
                  <a:pt x="1956" y="3018"/>
                  <a:pt x="2103" y="3002"/>
                  <a:pt x="2136" y="3002"/>
                </a:cubicBezTo>
                <a:lnTo>
                  <a:pt x="2218" y="3002"/>
                </a:lnTo>
                <a:lnTo>
                  <a:pt x="2341" y="3042"/>
                </a:lnTo>
                <a:cubicBezTo>
                  <a:pt x="2390" y="3097"/>
                  <a:pt x="2447" y="3018"/>
                  <a:pt x="2464" y="3074"/>
                </a:cubicBezTo>
                <a:cubicBezTo>
                  <a:pt x="2480" y="3137"/>
                  <a:pt x="2660" y="3185"/>
                  <a:pt x="2725" y="3201"/>
                </a:cubicBezTo>
                <a:cubicBezTo>
                  <a:pt x="2734" y="3185"/>
                  <a:pt x="2824" y="3121"/>
                  <a:pt x="2840" y="3121"/>
                </a:cubicBezTo>
                <a:cubicBezTo>
                  <a:pt x="2881" y="3121"/>
                  <a:pt x="2930" y="3081"/>
                  <a:pt x="2963" y="3074"/>
                </a:cubicBezTo>
                <a:cubicBezTo>
                  <a:pt x="3020" y="3058"/>
                  <a:pt x="3045" y="3002"/>
                  <a:pt x="3061" y="2994"/>
                </a:cubicBezTo>
                <a:cubicBezTo>
                  <a:pt x="3102" y="2978"/>
                  <a:pt x="3028" y="2954"/>
                  <a:pt x="3118" y="2923"/>
                </a:cubicBezTo>
                <a:lnTo>
                  <a:pt x="3184" y="2835"/>
                </a:lnTo>
                <a:cubicBezTo>
                  <a:pt x="3200" y="2812"/>
                  <a:pt x="3208" y="2764"/>
                  <a:pt x="3233" y="2724"/>
                </a:cubicBezTo>
                <a:lnTo>
                  <a:pt x="3306" y="2692"/>
                </a:lnTo>
                <a:cubicBezTo>
                  <a:pt x="3331" y="2692"/>
                  <a:pt x="3405" y="2700"/>
                  <a:pt x="3462" y="2732"/>
                </a:cubicBezTo>
                <a:cubicBezTo>
                  <a:pt x="3511" y="2756"/>
                  <a:pt x="3568" y="2708"/>
                  <a:pt x="3577" y="2716"/>
                </a:cubicBezTo>
                <a:cubicBezTo>
                  <a:pt x="3626" y="2724"/>
                  <a:pt x="3519" y="2653"/>
                  <a:pt x="3585" y="2645"/>
                </a:cubicBezTo>
                <a:lnTo>
                  <a:pt x="3650" y="2605"/>
                </a:lnTo>
                <a:lnTo>
                  <a:pt x="3699" y="2518"/>
                </a:lnTo>
                <a:cubicBezTo>
                  <a:pt x="3716" y="2542"/>
                  <a:pt x="3789" y="2549"/>
                  <a:pt x="3789" y="2573"/>
                </a:cubicBezTo>
                <a:cubicBezTo>
                  <a:pt x="3806" y="2621"/>
                  <a:pt x="3806" y="2621"/>
                  <a:pt x="3798" y="2645"/>
                </a:cubicBezTo>
                <a:cubicBezTo>
                  <a:pt x="3806" y="2653"/>
                  <a:pt x="3699" y="2780"/>
                  <a:pt x="3724" y="2812"/>
                </a:cubicBezTo>
                <a:cubicBezTo>
                  <a:pt x="3732" y="2843"/>
                  <a:pt x="3789" y="2867"/>
                  <a:pt x="3806" y="2891"/>
                </a:cubicBezTo>
                <a:cubicBezTo>
                  <a:pt x="3822" y="2923"/>
                  <a:pt x="3847" y="2946"/>
                  <a:pt x="3863" y="2962"/>
                </a:cubicBezTo>
                <a:cubicBezTo>
                  <a:pt x="3896" y="2978"/>
                  <a:pt x="3937" y="2883"/>
                  <a:pt x="3937" y="2883"/>
                </a:cubicBezTo>
                <a:cubicBezTo>
                  <a:pt x="3953" y="2883"/>
                  <a:pt x="3904" y="2796"/>
                  <a:pt x="3929" y="2780"/>
                </a:cubicBezTo>
                <a:cubicBezTo>
                  <a:pt x="3961" y="2756"/>
                  <a:pt x="4002" y="2756"/>
                  <a:pt x="4010" y="2740"/>
                </a:cubicBezTo>
                <a:cubicBezTo>
                  <a:pt x="4019" y="2708"/>
                  <a:pt x="3945" y="2692"/>
                  <a:pt x="3945" y="2653"/>
                </a:cubicBezTo>
                <a:cubicBezTo>
                  <a:pt x="3937" y="2629"/>
                  <a:pt x="3953" y="2613"/>
                  <a:pt x="3937" y="2589"/>
                </a:cubicBezTo>
                <a:cubicBezTo>
                  <a:pt x="3896" y="2534"/>
                  <a:pt x="3929" y="2494"/>
                  <a:pt x="4002" y="2494"/>
                </a:cubicBezTo>
                <a:lnTo>
                  <a:pt x="4076" y="2542"/>
                </a:lnTo>
                <a:cubicBezTo>
                  <a:pt x="4133" y="2542"/>
                  <a:pt x="4182" y="2518"/>
                  <a:pt x="4223" y="2494"/>
                </a:cubicBezTo>
                <a:lnTo>
                  <a:pt x="4330" y="2399"/>
                </a:lnTo>
                <a:cubicBezTo>
                  <a:pt x="4330" y="2399"/>
                  <a:pt x="4411" y="2311"/>
                  <a:pt x="4436" y="2303"/>
                </a:cubicBezTo>
                <a:cubicBezTo>
                  <a:pt x="4460" y="2303"/>
                  <a:pt x="4510" y="2287"/>
                  <a:pt x="4510" y="2287"/>
                </a:cubicBezTo>
                <a:lnTo>
                  <a:pt x="4616" y="2343"/>
                </a:lnTo>
                <a:cubicBezTo>
                  <a:pt x="4747" y="2303"/>
                  <a:pt x="4894" y="2280"/>
                  <a:pt x="4984" y="2192"/>
                </a:cubicBezTo>
                <a:cubicBezTo>
                  <a:pt x="5115" y="2073"/>
                  <a:pt x="4992" y="2073"/>
                  <a:pt x="5132" y="2033"/>
                </a:cubicBezTo>
                <a:lnTo>
                  <a:pt x="5222" y="1954"/>
                </a:lnTo>
                <a:lnTo>
                  <a:pt x="5258" y="1944"/>
                </a:lnTo>
                <a:lnTo>
                  <a:pt x="5258" y="73"/>
                </a:lnTo>
                <a:close/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48" name="Freeform 240">
            <a:extLst>
              <a:ext uri="{FF2B5EF4-FFF2-40B4-BE49-F238E27FC236}">
                <a16:creationId xmlns:a16="http://schemas.microsoft.com/office/drawing/2014/main" id="{8B1D43C4-7D65-F4C7-9716-76564D991271}"/>
              </a:ext>
            </a:extLst>
          </p:cNvPr>
          <p:cNvSpPr>
            <a:spLocks noChangeArrowheads="1"/>
          </p:cNvSpPr>
          <p:nvPr>
            <p:custDataLst>
              <p:tags r:id="rId239"/>
            </p:custDataLst>
          </p:nvPr>
        </p:nvSpPr>
        <p:spPr bwMode="auto">
          <a:xfrm>
            <a:off x="9351339" y="5176458"/>
            <a:ext cx="1812" cy="1811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49" name="Freeform 241">
            <a:extLst>
              <a:ext uri="{FF2B5EF4-FFF2-40B4-BE49-F238E27FC236}">
                <a16:creationId xmlns:a16="http://schemas.microsoft.com/office/drawing/2014/main" id="{8696234C-CB76-8D47-C7E8-AFD020A0C902}"/>
              </a:ext>
            </a:extLst>
          </p:cNvPr>
          <p:cNvSpPr>
            <a:spLocks noChangeArrowheads="1"/>
          </p:cNvSpPr>
          <p:nvPr>
            <p:custDataLst>
              <p:tags r:id="rId240"/>
            </p:custDataLst>
          </p:nvPr>
        </p:nvSpPr>
        <p:spPr bwMode="auto">
          <a:xfrm>
            <a:off x="9501670" y="5759670"/>
            <a:ext cx="1811" cy="1811"/>
          </a:xfrm>
          <a:custGeom>
            <a:avLst/>
            <a:gdLst>
              <a:gd name="T0" fmla="*/ 2 w 3"/>
              <a:gd name="T1" fmla="*/ 1 h 2"/>
              <a:gd name="T2" fmla="*/ 2 w 3"/>
              <a:gd name="T3" fmla="*/ 0 h 2"/>
              <a:gd name="T4" fmla="*/ 2 w 3"/>
              <a:gd name="T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" h="2">
                <a:moveTo>
                  <a:pt x="2" y="1"/>
                </a:moveTo>
                <a:lnTo>
                  <a:pt x="2" y="0"/>
                </a:lnTo>
                <a:cubicBezTo>
                  <a:pt x="0" y="0"/>
                  <a:pt x="1" y="0"/>
                  <a:pt x="2" y="1"/>
                </a:cubicBez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50" name="Freeform 242">
            <a:extLst>
              <a:ext uri="{FF2B5EF4-FFF2-40B4-BE49-F238E27FC236}">
                <a16:creationId xmlns:a16="http://schemas.microsoft.com/office/drawing/2014/main" id="{3B6EC585-75AA-DBD4-F7F5-CD3BA383094A}"/>
              </a:ext>
            </a:extLst>
          </p:cNvPr>
          <p:cNvSpPr>
            <a:spLocks noChangeArrowheads="1"/>
          </p:cNvSpPr>
          <p:nvPr>
            <p:custDataLst>
              <p:tags r:id="rId241"/>
            </p:custDataLst>
          </p:nvPr>
        </p:nvSpPr>
        <p:spPr bwMode="auto">
          <a:xfrm>
            <a:off x="9351339" y="4642149"/>
            <a:ext cx="2160782" cy="1392826"/>
          </a:xfrm>
          <a:custGeom>
            <a:avLst/>
            <a:gdLst>
              <a:gd name="T0" fmla="*/ 5091 w 5259"/>
              <a:gd name="T1" fmla="*/ 40 h 3392"/>
              <a:gd name="T2" fmla="*/ 4788 w 5259"/>
              <a:gd name="T3" fmla="*/ 159 h 3392"/>
              <a:gd name="T4" fmla="*/ 4632 w 5259"/>
              <a:gd name="T5" fmla="*/ 286 h 3392"/>
              <a:gd name="T6" fmla="*/ 4493 w 5259"/>
              <a:gd name="T7" fmla="*/ 429 h 3392"/>
              <a:gd name="T8" fmla="*/ 4223 w 5259"/>
              <a:gd name="T9" fmla="*/ 532 h 3392"/>
              <a:gd name="T10" fmla="*/ 4068 w 5259"/>
              <a:gd name="T11" fmla="*/ 580 h 3392"/>
              <a:gd name="T12" fmla="*/ 3855 w 5259"/>
              <a:gd name="T13" fmla="*/ 691 h 3392"/>
              <a:gd name="T14" fmla="*/ 3609 w 5259"/>
              <a:gd name="T15" fmla="*/ 715 h 3392"/>
              <a:gd name="T16" fmla="*/ 3364 w 5259"/>
              <a:gd name="T17" fmla="*/ 675 h 3392"/>
              <a:gd name="T18" fmla="*/ 3102 w 5259"/>
              <a:gd name="T19" fmla="*/ 691 h 3392"/>
              <a:gd name="T20" fmla="*/ 2881 w 5259"/>
              <a:gd name="T21" fmla="*/ 660 h 3392"/>
              <a:gd name="T22" fmla="*/ 2660 w 5259"/>
              <a:gd name="T23" fmla="*/ 548 h 3392"/>
              <a:gd name="T24" fmla="*/ 2046 w 5259"/>
              <a:gd name="T25" fmla="*/ 787 h 3392"/>
              <a:gd name="T26" fmla="*/ 1760 w 5259"/>
              <a:gd name="T27" fmla="*/ 1057 h 3392"/>
              <a:gd name="T28" fmla="*/ 1572 w 5259"/>
              <a:gd name="T29" fmla="*/ 1263 h 3392"/>
              <a:gd name="T30" fmla="*/ 1097 w 5259"/>
              <a:gd name="T31" fmla="*/ 1287 h 3392"/>
              <a:gd name="T32" fmla="*/ 704 w 5259"/>
              <a:gd name="T33" fmla="*/ 1239 h 3392"/>
              <a:gd name="T34" fmla="*/ 458 w 5259"/>
              <a:gd name="T35" fmla="*/ 1080 h 3392"/>
              <a:gd name="T36" fmla="*/ 205 w 5259"/>
              <a:gd name="T37" fmla="*/ 1104 h 3392"/>
              <a:gd name="T38" fmla="*/ 8 w 5259"/>
              <a:gd name="T39" fmla="*/ 1279 h 3392"/>
              <a:gd name="T40" fmla="*/ 172 w 5259"/>
              <a:gd name="T41" fmla="*/ 1446 h 3392"/>
              <a:gd name="T42" fmla="*/ 90 w 5259"/>
              <a:gd name="T43" fmla="*/ 1708 h 3392"/>
              <a:gd name="T44" fmla="*/ 90 w 5259"/>
              <a:gd name="T45" fmla="*/ 1787 h 3392"/>
              <a:gd name="T46" fmla="*/ 213 w 5259"/>
              <a:gd name="T47" fmla="*/ 1811 h 3392"/>
              <a:gd name="T48" fmla="*/ 131 w 5259"/>
              <a:gd name="T49" fmla="*/ 1954 h 3392"/>
              <a:gd name="T50" fmla="*/ 180 w 5259"/>
              <a:gd name="T51" fmla="*/ 1914 h 3392"/>
              <a:gd name="T52" fmla="*/ 393 w 5259"/>
              <a:gd name="T53" fmla="*/ 1700 h 3392"/>
              <a:gd name="T54" fmla="*/ 671 w 5259"/>
              <a:gd name="T55" fmla="*/ 1438 h 3392"/>
              <a:gd name="T56" fmla="*/ 1105 w 5259"/>
              <a:gd name="T57" fmla="*/ 1454 h 3392"/>
              <a:gd name="T58" fmla="*/ 1089 w 5259"/>
              <a:gd name="T59" fmla="*/ 1501 h 3392"/>
              <a:gd name="T60" fmla="*/ 1023 w 5259"/>
              <a:gd name="T61" fmla="*/ 1605 h 3392"/>
              <a:gd name="T62" fmla="*/ 868 w 5259"/>
              <a:gd name="T63" fmla="*/ 1700 h 3392"/>
              <a:gd name="T64" fmla="*/ 696 w 5259"/>
              <a:gd name="T65" fmla="*/ 1716 h 3392"/>
              <a:gd name="T66" fmla="*/ 606 w 5259"/>
              <a:gd name="T67" fmla="*/ 1787 h 3392"/>
              <a:gd name="T68" fmla="*/ 360 w 5259"/>
              <a:gd name="T69" fmla="*/ 1787 h 3392"/>
              <a:gd name="T70" fmla="*/ 180 w 5259"/>
              <a:gd name="T71" fmla="*/ 1954 h 3392"/>
              <a:gd name="T72" fmla="*/ 164 w 5259"/>
              <a:gd name="T73" fmla="*/ 2160 h 3392"/>
              <a:gd name="T74" fmla="*/ 270 w 5259"/>
              <a:gd name="T75" fmla="*/ 2240 h 3392"/>
              <a:gd name="T76" fmla="*/ 393 w 5259"/>
              <a:gd name="T77" fmla="*/ 2287 h 3392"/>
              <a:gd name="T78" fmla="*/ 467 w 5259"/>
              <a:gd name="T79" fmla="*/ 2446 h 3392"/>
              <a:gd name="T80" fmla="*/ 467 w 5259"/>
              <a:gd name="T81" fmla="*/ 2534 h 3392"/>
              <a:gd name="T82" fmla="*/ 557 w 5259"/>
              <a:gd name="T83" fmla="*/ 2684 h 3392"/>
              <a:gd name="T84" fmla="*/ 401 w 5259"/>
              <a:gd name="T85" fmla="*/ 2589 h 3392"/>
              <a:gd name="T86" fmla="*/ 409 w 5259"/>
              <a:gd name="T87" fmla="*/ 2740 h 3392"/>
              <a:gd name="T88" fmla="*/ 508 w 5259"/>
              <a:gd name="T89" fmla="*/ 2804 h 3392"/>
              <a:gd name="T90" fmla="*/ 729 w 5259"/>
              <a:gd name="T91" fmla="*/ 2819 h 3392"/>
              <a:gd name="T92" fmla="*/ 622 w 5259"/>
              <a:gd name="T93" fmla="*/ 2939 h 3392"/>
              <a:gd name="T94" fmla="*/ 778 w 5259"/>
              <a:gd name="T95" fmla="*/ 3050 h 3392"/>
              <a:gd name="T96" fmla="*/ 835 w 5259"/>
              <a:gd name="T97" fmla="*/ 3240 h 3392"/>
              <a:gd name="T98" fmla="*/ 1056 w 5259"/>
              <a:gd name="T99" fmla="*/ 3280 h 3392"/>
              <a:gd name="T100" fmla="*/ 1408 w 5259"/>
              <a:gd name="T101" fmla="*/ 3209 h 3392"/>
              <a:gd name="T102" fmla="*/ 1940 w 5259"/>
              <a:gd name="T103" fmla="*/ 3161 h 3392"/>
              <a:gd name="T104" fmla="*/ 2725 w 5259"/>
              <a:gd name="T105" fmla="*/ 3201 h 3392"/>
              <a:gd name="T106" fmla="*/ 3233 w 5259"/>
              <a:gd name="T107" fmla="*/ 2724 h 3392"/>
              <a:gd name="T108" fmla="*/ 3699 w 5259"/>
              <a:gd name="T109" fmla="*/ 2518 h 3392"/>
              <a:gd name="T110" fmla="*/ 3937 w 5259"/>
              <a:gd name="T111" fmla="*/ 2883 h 3392"/>
              <a:gd name="T112" fmla="*/ 4076 w 5259"/>
              <a:gd name="T113" fmla="*/ 2542 h 3392"/>
              <a:gd name="T114" fmla="*/ 4984 w 5259"/>
              <a:gd name="T115" fmla="*/ 2192 h 3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259" h="3392">
                <a:moveTo>
                  <a:pt x="5258" y="73"/>
                </a:moveTo>
                <a:lnTo>
                  <a:pt x="5255" y="72"/>
                </a:lnTo>
                <a:lnTo>
                  <a:pt x="5222" y="40"/>
                </a:lnTo>
                <a:lnTo>
                  <a:pt x="5197" y="16"/>
                </a:lnTo>
                <a:cubicBezTo>
                  <a:pt x="5197" y="16"/>
                  <a:pt x="5181" y="0"/>
                  <a:pt x="5164" y="8"/>
                </a:cubicBezTo>
                <a:cubicBezTo>
                  <a:pt x="5140" y="16"/>
                  <a:pt x="5091" y="40"/>
                  <a:pt x="5091" y="40"/>
                </a:cubicBezTo>
                <a:lnTo>
                  <a:pt x="5099" y="64"/>
                </a:lnTo>
                <a:cubicBezTo>
                  <a:pt x="5099" y="64"/>
                  <a:pt x="5099" y="80"/>
                  <a:pt x="5074" y="96"/>
                </a:cubicBezTo>
                <a:cubicBezTo>
                  <a:pt x="5058" y="104"/>
                  <a:pt x="4960" y="112"/>
                  <a:pt x="4960" y="112"/>
                </a:cubicBezTo>
                <a:lnTo>
                  <a:pt x="4919" y="120"/>
                </a:lnTo>
                <a:lnTo>
                  <a:pt x="4878" y="135"/>
                </a:lnTo>
                <a:cubicBezTo>
                  <a:pt x="4878" y="135"/>
                  <a:pt x="4813" y="167"/>
                  <a:pt x="4788" y="159"/>
                </a:cubicBezTo>
                <a:cubicBezTo>
                  <a:pt x="4772" y="151"/>
                  <a:pt x="4755" y="143"/>
                  <a:pt x="4755" y="128"/>
                </a:cubicBezTo>
                <a:lnTo>
                  <a:pt x="4739" y="128"/>
                </a:lnTo>
                <a:cubicBezTo>
                  <a:pt x="4714" y="128"/>
                  <a:pt x="4731" y="143"/>
                  <a:pt x="4714" y="167"/>
                </a:cubicBezTo>
                <a:cubicBezTo>
                  <a:pt x="4706" y="191"/>
                  <a:pt x="4706" y="199"/>
                  <a:pt x="4706" y="215"/>
                </a:cubicBezTo>
                <a:cubicBezTo>
                  <a:pt x="4698" y="231"/>
                  <a:pt x="4690" y="239"/>
                  <a:pt x="4673" y="247"/>
                </a:cubicBezTo>
                <a:cubicBezTo>
                  <a:pt x="4657" y="263"/>
                  <a:pt x="4649" y="270"/>
                  <a:pt x="4632" y="286"/>
                </a:cubicBezTo>
                <a:cubicBezTo>
                  <a:pt x="4616" y="294"/>
                  <a:pt x="4632" y="286"/>
                  <a:pt x="4624" y="302"/>
                </a:cubicBezTo>
                <a:cubicBezTo>
                  <a:pt x="4624" y="318"/>
                  <a:pt x="4608" y="326"/>
                  <a:pt x="4600" y="334"/>
                </a:cubicBezTo>
                <a:cubicBezTo>
                  <a:pt x="4583" y="334"/>
                  <a:pt x="4575" y="350"/>
                  <a:pt x="4567" y="350"/>
                </a:cubicBezTo>
                <a:cubicBezTo>
                  <a:pt x="4559" y="358"/>
                  <a:pt x="4559" y="374"/>
                  <a:pt x="4559" y="390"/>
                </a:cubicBezTo>
                <a:cubicBezTo>
                  <a:pt x="4551" y="405"/>
                  <a:pt x="4551" y="398"/>
                  <a:pt x="4534" y="405"/>
                </a:cubicBezTo>
                <a:cubicBezTo>
                  <a:pt x="4518" y="405"/>
                  <a:pt x="4518" y="413"/>
                  <a:pt x="4493" y="429"/>
                </a:cubicBezTo>
                <a:cubicBezTo>
                  <a:pt x="4469" y="437"/>
                  <a:pt x="4477" y="453"/>
                  <a:pt x="4477" y="453"/>
                </a:cubicBezTo>
                <a:cubicBezTo>
                  <a:pt x="4477" y="453"/>
                  <a:pt x="4452" y="485"/>
                  <a:pt x="4420" y="509"/>
                </a:cubicBezTo>
                <a:cubicBezTo>
                  <a:pt x="4395" y="525"/>
                  <a:pt x="4387" y="509"/>
                  <a:pt x="4379" y="509"/>
                </a:cubicBezTo>
                <a:cubicBezTo>
                  <a:pt x="4371" y="517"/>
                  <a:pt x="4354" y="501"/>
                  <a:pt x="4346" y="501"/>
                </a:cubicBezTo>
                <a:cubicBezTo>
                  <a:pt x="4330" y="493"/>
                  <a:pt x="4305" y="532"/>
                  <a:pt x="4289" y="532"/>
                </a:cubicBezTo>
                <a:cubicBezTo>
                  <a:pt x="4281" y="540"/>
                  <a:pt x="4223" y="532"/>
                  <a:pt x="4223" y="532"/>
                </a:cubicBezTo>
                <a:lnTo>
                  <a:pt x="4158" y="517"/>
                </a:lnTo>
                <a:lnTo>
                  <a:pt x="4150" y="532"/>
                </a:lnTo>
                <a:lnTo>
                  <a:pt x="4117" y="540"/>
                </a:lnTo>
                <a:lnTo>
                  <a:pt x="4109" y="540"/>
                </a:lnTo>
                <a:cubicBezTo>
                  <a:pt x="4109" y="540"/>
                  <a:pt x="4092" y="556"/>
                  <a:pt x="4084" y="556"/>
                </a:cubicBezTo>
                <a:cubicBezTo>
                  <a:pt x="4076" y="564"/>
                  <a:pt x="4068" y="580"/>
                  <a:pt x="4068" y="580"/>
                </a:cubicBezTo>
                <a:cubicBezTo>
                  <a:pt x="4068" y="580"/>
                  <a:pt x="4019" y="588"/>
                  <a:pt x="4010" y="596"/>
                </a:cubicBezTo>
                <a:lnTo>
                  <a:pt x="3994" y="596"/>
                </a:lnTo>
                <a:cubicBezTo>
                  <a:pt x="3994" y="596"/>
                  <a:pt x="3994" y="628"/>
                  <a:pt x="3970" y="636"/>
                </a:cubicBezTo>
                <a:lnTo>
                  <a:pt x="3945" y="644"/>
                </a:lnTo>
                <a:cubicBezTo>
                  <a:pt x="3945" y="644"/>
                  <a:pt x="3904" y="667"/>
                  <a:pt x="3871" y="683"/>
                </a:cubicBezTo>
                <a:cubicBezTo>
                  <a:pt x="3839" y="699"/>
                  <a:pt x="3855" y="691"/>
                  <a:pt x="3855" y="691"/>
                </a:cubicBezTo>
                <a:cubicBezTo>
                  <a:pt x="3855" y="691"/>
                  <a:pt x="3773" y="699"/>
                  <a:pt x="3765" y="699"/>
                </a:cubicBezTo>
                <a:cubicBezTo>
                  <a:pt x="3757" y="699"/>
                  <a:pt x="3724" y="691"/>
                  <a:pt x="3716" y="691"/>
                </a:cubicBezTo>
                <a:cubicBezTo>
                  <a:pt x="3699" y="683"/>
                  <a:pt x="3667" y="683"/>
                  <a:pt x="3659" y="675"/>
                </a:cubicBezTo>
                <a:cubicBezTo>
                  <a:pt x="3650" y="667"/>
                  <a:pt x="3659" y="675"/>
                  <a:pt x="3634" y="675"/>
                </a:cubicBezTo>
                <a:cubicBezTo>
                  <a:pt x="3609" y="683"/>
                  <a:pt x="3618" y="683"/>
                  <a:pt x="3618" y="683"/>
                </a:cubicBezTo>
                <a:cubicBezTo>
                  <a:pt x="3618" y="683"/>
                  <a:pt x="3618" y="707"/>
                  <a:pt x="3609" y="715"/>
                </a:cubicBezTo>
                <a:cubicBezTo>
                  <a:pt x="3609" y="723"/>
                  <a:pt x="3593" y="723"/>
                  <a:pt x="3593" y="723"/>
                </a:cubicBezTo>
                <a:lnTo>
                  <a:pt x="3519" y="715"/>
                </a:lnTo>
                <a:lnTo>
                  <a:pt x="3495" y="707"/>
                </a:lnTo>
                <a:lnTo>
                  <a:pt x="3438" y="723"/>
                </a:lnTo>
                <a:cubicBezTo>
                  <a:pt x="3438" y="723"/>
                  <a:pt x="3397" y="699"/>
                  <a:pt x="3397" y="691"/>
                </a:cubicBezTo>
                <a:cubicBezTo>
                  <a:pt x="3397" y="683"/>
                  <a:pt x="3364" y="675"/>
                  <a:pt x="3364" y="675"/>
                </a:cubicBezTo>
                <a:lnTo>
                  <a:pt x="3298" y="675"/>
                </a:lnTo>
                <a:cubicBezTo>
                  <a:pt x="3274" y="675"/>
                  <a:pt x="3258" y="691"/>
                  <a:pt x="3258" y="691"/>
                </a:cubicBezTo>
                <a:lnTo>
                  <a:pt x="3249" y="747"/>
                </a:lnTo>
                <a:cubicBezTo>
                  <a:pt x="3249" y="747"/>
                  <a:pt x="3200" y="739"/>
                  <a:pt x="3192" y="739"/>
                </a:cubicBezTo>
                <a:cubicBezTo>
                  <a:pt x="3184" y="731"/>
                  <a:pt x="3151" y="715"/>
                  <a:pt x="3151" y="715"/>
                </a:cubicBezTo>
                <a:lnTo>
                  <a:pt x="3102" y="691"/>
                </a:lnTo>
                <a:lnTo>
                  <a:pt x="3102" y="660"/>
                </a:lnTo>
                <a:cubicBezTo>
                  <a:pt x="3110" y="644"/>
                  <a:pt x="3077" y="628"/>
                  <a:pt x="3077" y="620"/>
                </a:cubicBezTo>
                <a:cubicBezTo>
                  <a:pt x="3069" y="620"/>
                  <a:pt x="3053" y="596"/>
                  <a:pt x="3053" y="596"/>
                </a:cubicBezTo>
                <a:cubicBezTo>
                  <a:pt x="3053" y="596"/>
                  <a:pt x="2987" y="612"/>
                  <a:pt x="2971" y="620"/>
                </a:cubicBezTo>
                <a:cubicBezTo>
                  <a:pt x="2955" y="628"/>
                  <a:pt x="2930" y="636"/>
                  <a:pt x="2930" y="644"/>
                </a:cubicBezTo>
                <a:lnTo>
                  <a:pt x="2881" y="660"/>
                </a:lnTo>
                <a:cubicBezTo>
                  <a:pt x="2881" y="660"/>
                  <a:pt x="2840" y="652"/>
                  <a:pt x="2832" y="644"/>
                </a:cubicBezTo>
                <a:cubicBezTo>
                  <a:pt x="2824" y="644"/>
                  <a:pt x="2807" y="636"/>
                  <a:pt x="2799" y="636"/>
                </a:cubicBezTo>
                <a:cubicBezTo>
                  <a:pt x="2791" y="636"/>
                  <a:pt x="2766" y="620"/>
                  <a:pt x="2742" y="604"/>
                </a:cubicBezTo>
                <a:cubicBezTo>
                  <a:pt x="2717" y="596"/>
                  <a:pt x="2725" y="588"/>
                  <a:pt x="2725" y="580"/>
                </a:cubicBezTo>
                <a:lnTo>
                  <a:pt x="2734" y="548"/>
                </a:lnTo>
                <a:lnTo>
                  <a:pt x="2660" y="548"/>
                </a:lnTo>
                <a:lnTo>
                  <a:pt x="2652" y="572"/>
                </a:lnTo>
                <a:lnTo>
                  <a:pt x="2586" y="620"/>
                </a:lnTo>
                <a:lnTo>
                  <a:pt x="2455" y="660"/>
                </a:lnTo>
                <a:cubicBezTo>
                  <a:pt x="2455" y="660"/>
                  <a:pt x="2226" y="691"/>
                  <a:pt x="2194" y="691"/>
                </a:cubicBezTo>
                <a:cubicBezTo>
                  <a:pt x="2153" y="699"/>
                  <a:pt x="2153" y="715"/>
                  <a:pt x="2136" y="723"/>
                </a:cubicBezTo>
                <a:cubicBezTo>
                  <a:pt x="2120" y="739"/>
                  <a:pt x="2063" y="787"/>
                  <a:pt x="2046" y="787"/>
                </a:cubicBezTo>
                <a:cubicBezTo>
                  <a:pt x="2030" y="779"/>
                  <a:pt x="1940" y="850"/>
                  <a:pt x="1923" y="850"/>
                </a:cubicBezTo>
                <a:cubicBezTo>
                  <a:pt x="1907" y="858"/>
                  <a:pt x="1874" y="922"/>
                  <a:pt x="1874" y="922"/>
                </a:cubicBezTo>
                <a:lnTo>
                  <a:pt x="1858" y="945"/>
                </a:lnTo>
                <a:cubicBezTo>
                  <a:pt x="1858" y="945"/>
                  <a:pt x="1817" y="985"/>
                  <a:pt x="1809" y="985"/>
                </a:cubicBezTo>
                <a:cubicBezTo>
                  <a:pt x="1809" y="993"/>
                  <a:pt x="1793" y="1017"/>
                  <a:pt x="1793" y="1025"/>
                </a:cubicBezTo>
                <a:cubicBezTo>
                  <a:pt x="1784" y="1025"/>
                  <a:pt x="1768" y="1057"/>
                  <a:pt x="1760" y="1057"/>
                </a:cubicBezTo>
                <a:cubicBezTo>
                  <a:pt x="1752" y="1065"/>
                  <a:pt x="1735" y="1088"/>
                  <a:pt x="1711" y="1104"/>
                </a:cubicBezTo>
                <a:cubicBezTo>
                  <a:pt x="1694" y="1112"/>
                  <a:pt x="1686" y="1128"/>
                  <a:pt x="1662" y="1136"/>
                </a:cubicBezTo>
                <a:cubicBezTo>
                  <a:pt x="1637" y="1144"/>
                  <a:pt x="1653" y="1160"/>
                  <a:pt x="1653" y="1160"/>
                </a:cubicBezTo>
                <a:cubicBezTo>
                  <a:pt x="1653" y="1160"/>
                  <a:pt x="1662" y="1176"/>
                  <a:pt x="1662" y="1192"/>
                </a:cubicBezTo>
                <a:cubicBezTo>
                  <a:pt x="1670" y="1215"/>
                  <a:pt x="1653" y="1239"/>
                  <a:pt x="1653" y="1239"/>
                </a:cubicBezTo>
                <a:cubicBezTo>
                  <a:pt x="1653" y="1239"/>
                  <a:pt x="1588" y="1263"/>
                  <a:pt x="1572" y="1263"/>
                </a:cubicBezTo>
                <a:cubicBezTo>
                  <a:pt x="1563" y="1263"/>
                  <a:pt x="1473" y="1279"/>
                  <a:pt x="1473" y="1279"/>
                </a:cubicBezTo>
                <a:lnTo>
                  <a:pt x="1383" y="1184"/>
                </a:lnTo>
                <a:lnTo>
                  <a:pt x="1302" y="1223"/>
                </a:lnTo>
                <a:lnTo>
                  <a:pt x="1261" y="1255"/>
                </a:lnTo>
                <a:cubicBezTo>
                  <a:pt x="1261" y="1255"/>
                  <a:pt x="1187" y="1271"/>
                  <a:pt x="1171" y="1271"/>
                </a:cubicBezTo>
                <a:cubicBezTo>
                  <a:pt x="1154" y="1263"/>
                  <a:pt x="1113" y="1287"/>
                  <a:pt x="1097" y="1287"/>
                </a:cubicBezTo>
                <a:cubicBezTo>
                  <a:pt x="1080" y="1295"/>
                  <a:pt x="1031" y="1303"/>
                  <a:pt x="1015" y="1295"/>
                </a:cubicBezTo>
                <a:cubicBezTo>
                  <a:pt x="999" y="1287"/>
                  <a:pt x="974" y="1279"/>
                  <a:pt x="974" y="1279"/>
                </a:cubicBezTo>
                <a:lnTo>
                  <a:pt x="917" y="1295"/>
                </a:lnTo>
                <a:lnTo>
                  <a:pt x="868" y="1247"/>
                </a:lnTo>
                <a:lnTo>
                  <a:pt x="761" y="1271"/>
                </a:lnTo>
                <a:cubicBezTo>
                  <a:pt x="761" y="1271"/>
                  <a:pt x="712" y="1247"/>
                  <a:pt x="704" y="1239"/>
                </a:cubicBezTo>
                <a:cubicBezTo>
                  <a:pt x="704" y="1231"/>
                  <a:pt x="655" y="1231"/>
                  <a:pt x="655" y="1231"/>
                </a:cubicBezTo>
                <a:cubicBezTo>
                  <a:pt x="655" y="1231"/>
                  <a:pt x="598" y="1207"/>
                  <a:pt x="598" y="1192"/>
                </a:cubicBezTo>
                <a:cubicBezTo>
                  <a:pt x="589" y="1184"/>
                  <a:pt x="598" y="1176"/>
                  <a:pt x="589" y="1168"/>
                </a:cubicBezTo>
                <a:cubicBezTo>
                  <a:pt x="508" y="1112"/>
                  <a:pt x="548" y="1192"/>
                  <a:pt x="532" y="1041"/>
                </a:cubicBezTo>
                <a:cubicBezTo>
                  <a:pt x="524" y="1049"/>
                  <a:pt x="483" y="1065"/>
                  <a:pt x="483" y="1065"/>
                </a:cubicBezTo>
                <a:lnTo>
                  <a:pt x="458" y="1080"/>
                </a:lnTo>
                <a:cubicBezTo>
                  <a:pt x="458" y="1080"/>
                  <a:pt x="442" y="1080"/>
                  <a:pt x="426" y="1088"/>
                </a:cubicBezTo>
                <a:cubicBezTo>
                  <a:pt x="418" y="1096"/>
                  <a:pt x="368" y="1120"/>
                  <a:pt x="368" y="1120"/>
                </a:cubicBezTo>
                <a:lnTo>
                  <a:pt x="303" y="1080"/>
                </a:lnTo>
                <a:lnTo>
                  <a:pt x="262" y="1072"/>
                </a:lnTo>
                <a:lnTo>
                  <a:pt x="246" y="1096"/>
                </a:lnTo>
                <a:lnTo>
                  <a:pt x="205" y="1104"/>
                </a:lnTo>
                <a:lnTo>
                  <a:pt x="180" y="1144"/>
                </a:lnTo>
                <a:cubicBezTo>
                  <a:pt x="180" y="1144"/>
                  <a:pt x="123" y="1160"/>
                  <a:pt x="107" y="1168"/>
                </a:cubicBezTo>
                <a:cubicBezTo>
                  <a:pt x="98" y="1176"/>
                  <a:pt x="66" y="1199"/>
                  <a:pt x="66" y="1199"/>
                </a:cubicBezTo>
                <a:lnTo>
                  <a:pt x="74" y="1231"/>
                </a:lnTo>
                <a:lnTo>
                  <a:pt x="41" y="1255"/>
                </a:lnTo>
                <a:cubicBezTo>
                  <a:pt x="41" y="1255"/>
                  <a:pt x="17" y="1263"/>
                  <a:pt x="8" y="1279"/>
                </a:cubicBezTo>
                <a:lnTo>
                  <a:pt x="8" y="1287"/>
                </a:lnTo>
                <a:cubicBezTo>
                  <a:pt x="8" y="1295"/>
                  <a:pt x="17" y="1303"/>
                  <a:pt x="17" y="1303"/>
                </a:cubicBezTo>
                <a:cubicBezTo>
                  <a:pt x="33" y="1311"/>
                  <a:pt x="74" y="1319"/>
                  <a:pt x="82" y="1319"/>
                </a:cubicBezTo>
                <a:cubicBezTo>
                  <a:pt x="90" y="1319"/>
                  <a:pt x="131" y="1342"/>
                  <a:pt x="131" y="1342"/>
                </a:cubicBezTo>
                <a:cubicBezTo>
                  <a:pt x="131" y="1342"/>
                  <a:pt x="147" y="1382"/>
                  <a:pt x="147" y="1390"/>
                </a:cubicBezTo>
                <a:cubicBezTo>
                  <a:pt x="147" y="1398"/>
                  <a:pt x="188" y="1446"/>
                  <a:pt x="172" y="1446"/>
                </a:cubicBezTo>
                <a:cubicBezTo>
                  <a:pt x="164" y="1446"/>
                  <a:pt x="131" y="1454"/>
                  <a:pt x="131" y="1454"/>
                </a:cubicBezTo>
                <a:lnTo>
                  <a:pt x="115" y="1477"/>
                </a:lnTo>
                <a:cubicBezTo>
                  <a:pt x="115" y="1477"/>
                  <a:pt x="98" y="1509"/>
                  <a:pt x="98" y="1517"/>
                </a:cubicBezTo>
                <a:cubicBezTo>
                  <a:pt x="98" y="1525"/>
                  <a:pt x="90" y="1557"/>
                  <a:pt x="90" y="1565"/>
                </a:cubicBezTo>
                <a:lnTo>
                  <a:pt x="131" y="1652"/>
                </a:lnTo>
                <a:lnTo>
                  <a:pt x="90" y="1708"/>
                </a:lnTo>
                <a:lnTo>
                  <a:pt x="57" y="1739"/>
                </a:lnTo>
                <a:cubicBezTo>
                  <a:pt x="57" y="1739"/>
                  <a:pt x="17" y="1739"/>
                  <a:pt x="8" y="1732"/>
                </a:cubicBezTo>
                <a:cubicBezTo>
                  <a:pt x="8" y="1732"/>
                  <a:pt x="8" y="1724"/>
                  <a:pt x="0" y="1724"/>
                </a:cubicBezTo>
                <a:lnTo>
                  <a:pt x="8" y="1779"/>
                </a:lnTo>
                <a:cubicBezTo>
                  <a:pt x="8" y="1779"/>
                  <a:pt x="41" y="1795"/>
                  <a:pt x="57" y="1787"/>
                </a:cubicBezTo>
                <a:cubicBezTo>
                  <a:pt x="66" y="1787"/>
                  <a:pt x="82" y="1779"/>
                  <a:pt x="90" y="1787"/>
                </a:cubicBezTo>
                <a:cubicBezTo>
                  <a:pt x="98" y="1787"/>
                  <a:pt x="156" y="1771"/>
                  <a:pt x="156" y="1771"/>
                </a:cubicBezTo>
                <a:cubicBezTo>
                  <a:pt x="156" y="1771"/>
                  <a:pt x="180" y="1755"/>
                  <a:pt x="205" y="1747"/>
                </a:cubicBezTo>
                <a:cubicBezTo>
                  <a:pt x="221" y="1739"/>
                  <a:pt x="254" y="1724"/>
                  <a:pt x="270" y="1724"/>
                </a:cubicBezTo>
                <a:cubicBezTo>
                  <a:pt x="295" y="1724"/>
                  <a:pt x="287" y="1739"/>
                  <a:pt x="287" y="1747"/>
                </a:cubicBezTo>
                <a:cubicBezTo>
                  <a:pt x="295" y="1755"/>
                  <a:pt x="254" y="1771"/>
                  <a:pt x="254" y="1779"/>
                </a:cubicBezTo>
                <a:cubicBezTo>
                  <a:pt x="246" y="1787"/>
                  <a:pt x="237" y="1795"/>
                  <a:pt x="213" y="1811"/>
                </a:cubicBezTo>
                <a:cubicBezTo>
                  <a:pt x="197" y="1819"/>
                  <a:pt x="197" y="1819"/>
                  <a:pt x="180" y="1827"/>
                </a:cubicBezTo>
                <a:cubicBezTo>
                  <a:pt x="172" y="1827"/>
                  <a:pt x="180" y="1835"/>
                  <a:pt x="164" y="1851"/>
                </a:cubicBezTo>
                <a:cubicBezTo>
                  <a:pt x="139" y="1867"/>
                  <a:pt x="147" y="1867"/>
                  <a:pt x="131" y="1874"/>
                </a:cubicBezTo>
                <a:cubicBezTo>
                  <a:pt x="123" y="1882"/>
                  <a:pt x="131" y="1882"/>
                  <a:pt x="123" y="1906"/>
                </a:cubicBezTo>
                <a:cubicBezTo>
                  <a:pt x="115" y="1930"/>
                  <a:pt x="123" y="1914"/>
                  <a:pt x="123" y="1914"/>
                </a:cubicBezTo>
                <a:lnTo>
                  <a:pt x="131" y="1954"/>
                </a:lnTo>
                <a:cubicBezTo>
                  <a:pt x="131" y="1954"/>
                  <a:pt x="131" y="1970"/>
                  <a:pt x="123" y="1978"/>
                </a:cubicBezTo>
                <a:cubicBezTo>
                  <a:pt x="115" y="1986"/>
                  <a:pt x="115" y="2017"/>
                  <a:pt x="115" y="2025"/>
                </a:cubicBezTo>
                <a:cubicBezTo>
                  <a:pt x="115" y="2033"/>
                  <a:pt x="131" y="2017"/>
                  <a:pt x="131" y="2017"/>
                </a:cubicBezTo>
                <a:lnTo>
                  <a:pt x="139" y="1986"/>
                </a:lnTo>
                <a:lnTo>
                  <a:pt x="147" y="1970"/>
                </a:lnTo>
                <a:cubicBezTo>
                  <a:pt x="147" y="1970"/>
                  <a:pt x="180" y="1922"/>
                  <a:pt x="180" y="1914"/>
                </a:cubicBezTo>
                <a:cubicBezTo>
                  <a:pt x="188" y="1906"/>
                  <a:pt x="205" y="1867"/>
                  <a:pt x="205" y="1867"/>
                </a:cubicBezTo>
                <a:lnTo>
                  <a:pt x="237" y="1819"/>
                </a:lnTo>
                <a:lnTo>
                  <a:pt x="254" y="1827"/>
                </a:lnTo>
                <a:cubicBezTo>
                  <a:pt x="254" y="1827"/>
                  <a:pt x="303" y="1779"/>
                  <a:pt x="311" y="1771"/>
                </a:cubicBezTo>
                <a:cubicBezTo>
                  <a:pt x="319" y="1771"/>
                  <a:pt x="352" y="1739"/>
                  <a:pt x="352" y="1739"/>
                </a:cubicBezTo>
                <a:lnTo>
                  <a:pt x="393" y="1700"/>
                </a:lnTo>
                <a:cubicBezTo>
                  <a:pt x="393" y="1700"/>
                  <a:pt x="434" y="1644"/>
                  <a:pt x="442" y="1628"/>
                </a:cubicBezTo>
                <a:cubicBezTo>
                  <a:pt x="442" y="1620"/>
                  <a:pt x="450" y="1557"/>
                  <a:pt x="467" y="1549"/>
                </a:cubicBezTo>
                <a:cubicBezTo>
                  <a:pt x="483" y="1541"/>
                  <a:pt x="508" y="1525"/>
                  <a:pt x="524" y="1517"/>
                </a:cubicBezTo>
                <a:cubicBezTo>
                  <a:pt x="540" y="1509"/>
                  <a:pt x="557" y="1493"/>
                  <a:pt x="557" y="1493"/>
                </a:cubicBezTo>
                <a:cubicBezTo>
                  <a:pt x="557" y="1493"/>
                  <a:pt x="598" y="1501"/>
                  <a:pt x="614" y="1493"/>
                </a:cubicBezTo>
                <a:cubicBezTo>
                  <a:pt x="630" y="1485"/>
                  <a:pt x="663" y="1438"/>
                  <a:pt x="671" y="1438"/>
                </a:cubicBezTo>
                <a:lnTo>
                  <a:pt x="720" y="1422"/>
                </a:lnTo>
                <a:cubicBezTo>
                  <a:pt x="729" y="1422"/>
                  <a:pt x="778" y="1430"/>
                  <a:pt x="794" y="1430"/>
                </a:cubicBezTo>
                <a:cubicBezTo>
                  <a:pt x="819" y="1430"/>
                  <a:pt x="909" y="1422"/>
                  <a:pt x="909" y="1422"/>
                </a:cubicBezTo>
                <a:cubicBezTo>
                  <a:pt x="909" y="1422"/>
                  <a:pt x="974" y="1398"/>
                  <a:pt x="982" y="1398"/>
                </a:cubicBezTo>
                <a:cubicBezTo>
                  <a:pt x="982" y="1406"/>
                  <a:pt x="1031" y="1406"/>
                  <a:pt x="1056" y="1422"/>
                </a:cubicBezTo>
                <a:cubicBezTo>
                  <a:pt x="1072" y="1438"/>
                  <a:pt x="1089" y="1446"/>
                  <a:pt x="1105" y="1454"/>
                </a:cubicBezTo>
                <a:cubicBezTo>
                  <a:pt x="1121" y="1454"/>
                  <a:pt x="1179" y="1438"/>
                  <a:pt x="1220" y="1414"/>
                </a:cubicBezTo>
                <a:cubicBezTo>
                  <a:pt x="1252" y="1398"/>
                  <a:pt x="1236" y="1414"/>
                  <a:pt x="1261" y="1406"/>
                </a:cubicBezTo>
                <a:cubicBezTo>
                  <a:pt x="1277" y="1398"/>
                  <a:pt x="1293" y="1406"/>
                  <a:pt x="1302" y="1406"/>
                </a:cubicBezTo>
                <a:cubicBezTo>
                  <a:pt x="1310" y="1406"/>
                  <a:pt x="1285" y="1430"/>
                  <a:pt x="1244" y="1438"/>
                </a:cubicBezTo>
                <a:cubicBezTo>
                  <a:pt x="1211" y="1454"/>
                  <a:pt x="1203" y="1446"/>
                  <a:pt x="1195" y="1446"/>
                </a:cubicBezTo>
                <a:cubicBezTo>
                  <a:pt x="1187" y="1446"/>
                  <a:pt x="1121" y="1493"/>
                  <a:pt x="1089" y="1501"/>
                </a:cubicBezTo>
                <a:cubicBezTo>
                  <a:pt x="1056" y="1517"/>
                  <a:pt x="1056" y="1517"/>
                  <a:pt x="1040" y="1525"/>
                </a:cubicBezTo>
                <a:cubicBezTo>
                  <a:pt x="1023" y="1533"/>
                  <a:pt x="1023" y="1541"/>
                  <a:pt x="1007" y="1541"/>
                </a:cubicBezTo>
                <a:cubicBezTo>
                  <a:pt x="999" y="1549"/>
                  <a:pt x="991" y="1557"/>
                  <a:pt x="982" y="1565"/>
                </a:cubicBezTo>
                <a:cubicBezTo>
                  <a:pt x="966" y="1581"/>
                  <a:pt x="966" y="1581"/>
                  <a:pt x="958" y="1597"/>
                </a:cubicBezTo>
                <a:cubicBezTo>
                  <a:pt x="950" y="1605"/>
                  <a:pt x="974" y="1605"/>
                  <a:pt x="982" y="1612"/>
                </a:cubicBezTo>
                <a:lnTo>
                  <a:pt x="1023" y="1605"/>
                </a:lnTo>
                <a:lnTo>
                  <a:pt x="1064" y="1605"/>
                </a:lnTo>
                <a:lnTo>
                  <a:pt x="1081" y="1612"/>
                </a:lnTo>
                <a:cubicBezTo>
                  <a:pt x="1081" y="1612"/>
                  <a:pt x="1064" y="1636"/>
                  <a:pt x="1056" y="1644"/>
                </a:cubicBezTo>
                <a:cubicBezTo>
                  <a:pt x="1048" y="1652"/>
                  <a:pt x="1031" y="1652"/>
                  <a:pt x="1007" y="1644"/>
                </a:cubicBezTo>
                <a:cubicBezTo>
                  <a:pt x="991" y="1644"/>
                  <a:pt x="925" y="1684"/>
                  <a:pt x="925" y="1684"/>
                </a:cubicBezTo>
                <a:lnTo>
                  <a:pt x="868" y="1700"/>
                </a:lnTo>
                <a:lnTo>
                  <a:pt x="786" y="1708"/>
                </a:lnTo>
                <a:cubicBezTo>
                  <a:pt x="786" y="1708"/>
                  <a:pt x="761" y="1716"/>
                  <a:pt x="753" y="1724"/>
                </a:cubicBezTo>
                <a:cubicBezTo>
                  <a:pt x="737" y="1724"/>
                  <a:pt x="729" y="1739"/>
                  <a:pt x="729" y="1739"/>
                </a:cubicBezTo>
                <a:lnTo>
                  <a:pt x="688" y="1747"/>
                </a:lnTo>
                <a:cubicBezTo>
                  <a:pt x="680" y="1747"/>
                  <a:pt x="680" y="1732"/>
                  <a:pt x="680" y="1732"/>
                </a:cubicBezTo>
                <a:cubicBezTo>
                  <a:pt x="680" y="1724"/>
                  <a:pt x="688" y="1724"/>
                  <a:pt x="696" y="1716"/>
                </a:cubicBezTo>
                <a:cubicBezTo>
                  <a:pt x="712" y="1708"/>
                  <a:pt x="696" y="1692"/>
                  <a:pt x="696" y="1692"/>
                </a:cubicBezTo>
                <a:lnTo>
                  <a:pt x="614" y="1692"/>
                </a:lnTo>
                <a:cubicBezTo>
                  <a:pt x="614" y="1692"/>
                  <a:pt x="598" y="1724"/>
                  <a:pt x="598" y="1732"/>
                </a:cubicBezTo>
                <a:cubicBezTo>
                  <a:pt x="598" y="1732"/>
                  <a:pt x="639" y="1739"/>
                  <a:pt x="647" y="1747"/>
                </a:cubicBezTo>
                <a:lnTo>
                  <a:pt x="647" y="1771"/>
                </a:lnTo>
                <a:lnTo>
                  <a:pt x="606" y="1787"/>
                </a:lnTo>
                <a:lnTo>
                  <a:pt x="508" y="1803"/>
                </a:lnTo>
                <a:cubicBezTo>
                  <a:pt x="508" y="1803"/>
                  <a:pt x="475" y="1771"/>
                  <a:pt x="475" y="1763"/>
                </a:cubicBezTo>
                <a:cubicBezTo>
                  <a:pt x="467" y="1763"/>
                  <a:pt x="459" y="1771"/>
                  <a:pt x="442" y="1771"/>
                </a:cubicBezTo>
                <a:lnTo>
                  <a:pt x="409" y="1771"/>
                </a:lnTo>
                <a:cubicBezTo>
                  <a:pt x="401" y="1771"/>
                  <a:pt x="385" y="1787"/>
                  <a:pt x="385" y="1787"/>
                </a:cubicBezTo>
                <a:lnTo>
                  <a:pt x="360" y="1787"/>
                </a:lnTo>
                <a:lnTo>
                  <a:pt x="352" y="1803"/>
                </a:lnTo>
                <a:lnTo>
                  <a:pt x="319" y="1827"/>
                </a:lnTo>
                <a:lnTo>
                  <a:pt x="278" y="1827"/>
                </a:lnTo>
                <a:lnTo>
                  <a:pt x="254" y="1859"/>
                </a:lnTo>
                <a:cubicBezTo>
                  <a:pt x="254" y="1859"/>
                  <a:pt x="205" y="1906"/>
                  <a:pt x="197" y="1914"/>
                </a:cubicBezTo>
                <a:cubicBezTo>
                  <a:pt x="197" y="1914"/>
                  <a:pt x="180" y="1946"/>
                  <a:pt x="180" y="1954"/>
                </a:cubicBezTo>
                <a:lnTo>
                  <a:pt x="164" y="1986"/>
                </a:lnTo>
                <a:lnTo>
                  <a:pt x="156" y="2002"/>
                </a:lnTo>
                <a:lnTo>
                  <a:pt x="147" y="2033"/>
                </a:lnTo>
                <a:lnTo>
                  <a:pt x="156" y="2073"/>
                </a:lnTo>
                <a:cubicBezTo>
                  <a:pt x="156" y="2073"/>
                  <a:pt x="164" y="2097"/>
                  <a:pt x="164" y="2113"/>
                </a:cubicBezTo>
                <a:lnTo>
                  <a:pt x="164" y="2160"/>
                </a:lnTo>
                <a:cubicBezTo>
                  <a:pt x="172" y="2168"/>
                  <a:pt x="180" y="2200"/>
                  <a:pt x="180" y="2200"/>
                </a:cubicBezTo>
                <a:cubicBezTo>
                  <a:pt x="180" y="2208"/>
                  <a:pt x="164" y="2216"/>
                  <a:pt x="164" y="2216"/>
                </a:cubicBezTo>
                <a:lnTo>
                  <a:pt x="164" y="2279"/>
                </a:lnTo>
                <a:lnTo>
                  <a:pt x="197" y="2279"/>
                </a:lnTo>
                <a:cubicBezTo>
                  <a:pt x="197" y="2279"/>
                  <a:pt x="229" y="2264"/>
                  <a:pt x="237" y="2256"/>
                </a:cubicBezTo>
                <a:cubicBezTo>
                  <a:pt x="246" y="2256"/>
                  <a:pt x="262" y="2240"/>
                  <a:pt x="270" y="2240"/>
                </a:cubicBezTo>
                <a:cubicBezTo>
                  <a:pt x="270" y="2232"/>
                  <a:pt x="311" y="2224"/>
                  <a:pt x="319" y="2224"/>
                </a:cubicBezTo>
                <a:cubicBezTo>
                  <a:pt x="319" y="2216"/>
                  <a:pt x="352" y="2208"/>
                  <a:pt x="352" y="2208"/>
                </a:cubicBezTo>
                <a:cubicBezTo>
                  <a:pt x="352" y="2208"/>
                  <a:pt x="377" y="2176"/>
                  <a:pt x="385" y="2176"/>
                </a:cubicBezTo>
                <a:lnTo>
                  <a:pt x="442" y="2184"/>
                </a:lnTo>
                <a:cubicBezTo>
                  <a:pt x="442" y="2184"/>
                  <a:pt x="426" y="2232"/>
                  <a:pt x="401" y="2248"/>
                </a:cubicBezTo>
                <a:cubicBezTo>
                  <a:pt x="385" y="2264"/>
                  <a:pt x="393" y="2279"/>
                  <a:pt x="393" y="2287"/>
                </a:cubicBezTo>
                <a:cubicBezTo>
                  <a:pt x="385" y="2287"/>
                  <a:pt x="385" y="2311"/>
                  <a:pt x="385" y="2319"/>
                </a:cubicBezTo>
                <a:lnTo>
                  <a:pt x="442" y="2351"/>
                </a:lnTo>
                <a:cubicBezTo>
                  <a:pt x="442" y="2351"/>
                  <a:pt x="450" y="2367"/>
                  <a:pt x="450" y="2375"/>
                </a:cubicBezTo>
                <a:cubicBezTo>
                  <a:pt x="458" y="2375"/>
                  <a:pt x="467" y="2391"/>
                  <a:pt x="467" y="2391"/>
                </a:cubicBezTo>
                <a:cubicBezTo>
                  <a:pt x="467" y="2391"/>
                  <a:pt x="458" y="2406"/>
                  <a:pt x="458" y="2414"/>
                </a:cubicBezTo>
                <a:cubicBezTo>
                  <a:pt x="458" y="2422"/>
                  <a:pt x="458" y="2438"/>
                  <a:pt x="467" y="2446"/>
                </a:cubicBezTo>
                <a:cubicBezTo>
                  <a:pt x="467" y="2454"/>
                  <a:pt x="483" y="2454"/>
                  <a:pt x="491" y="2454"/>
                </a:cubicBezTo>
                <a:cubicBezTo>
                  <a:pt x="491" y="2462"/>
                  <a:pt x="548" y="2438"/>
                  <a:pt x="557" y="2438"/>
                </a:cubicBezTo>
                <a:lnTo>
                  <a:pt x="540" y="2470"/>
                </a:lnTo>
                <a:lnTo>
                  <a:pt x="532" y="2510"/>
                </a:lnTo>
                <a:cubicBezTo>
                  <a:pt x="532" y="2510"/>
                  <a:pt x="508" y="2518"/>
                  <a:pt x="499" y="2518"/>
                </a:cubicBezTo>
                <a:cubicBezTo>
                  <a:pt x="491" y="2518"/>
                  <a:pt x="475" y="2526"/>
                  <a:pt x="467" y="2534"/>
                </a:cubicBezTo>
                <a:cubicBezTo>
                  <a:pt x="467" y="2534"/>
                  <a:pt x="458" y="2549"/>
                  <a:pt x="467" y="2557"/>
                </a:cubicBezTo>
                <a:lnTo>
                  <a:pt x="475" y="2581"/>
                </a:lnTo>
                <a:cubicBezTo>
                  <a:pt x="475" y="2581"/>
                  <a:pt x="491" y="2589"/>
                  <a:pt x="499" y="2589"/>
                </a:cubicBezTo>
                <a:cubicBezTo>
                  <a:pt x="499" y="2597"/>
                  <a:pt x="516" y="2605"/>
                  <a:pt x="516" y="2613"/>
                </a:cubicBezTo>
                <a:cubicBezTo>
                  <a:pt x="524" y="2613"/>
                  <a:pt x="573" y="2645"/>
                  <a:pt x="573" y="2645"/>
                </a:cubicBezTo>
                <a:cubicBezTo>
                  <a:pt x="573" y="2645"/>
                  <a:pt x="565" y="2684"/>
                  <a:pt x="557" y="2684"/>
                </a:cubicBezTo>
                <a:cubicBezTo>
                  <a:pt x="548" y="2692"/>
                  <a:pt x="532" y="2676"/>
                  <a:pt x="516" y="2669"/>
                </a:cubicBezTo>
                <a:cubicBezTo>
                  <a:pt x="499" y="2669"/>
                  <a:pt x="499" y="2684"/>
                  <a:pt x="491" y="2684"/>
                </a:cubicBezTo>
                <a:cubicBezTo>
                  <a:pt x="483" y="2676"/>
                  <a:pt x="467" y="2645"/>
                  <a:pt x="467" y="2645"/>
                </a:cubicBezTo>
                <a:cubicBezTo>
                  <a:pt x="467" y="2645"/>
                  <a:pt x="442" y="2621"/>
                  <a:pt x="434" y="2621"/>
                </a:cubicBezTo>
                <a:lnTo>
                  <a:pt x="418" y="2597"/>
                </a:lnTo>
                <a:lnTo>
                  <a:pt x="401" y="2589"/>
                </a:lnTo>
                <a:cubicBezTo>
                  <a:pt x="393" y="2589"/>
                  <a:pt x="393" y="2589"/>
                  <a:pt x="385" y="2581"/>
                </a:cubicBezTo>
                <a:cubicBezTo>
                  <a:pt x="377" y="2581"/>
                  <a:pt x="352" y="2605"/>
                  <a:pt x="360" y="2637"/>
                </a:cubicBezTo>
                <a:cubicBezTo>
                  <a:pt x="360" y="2645"/>
                  <a:pt x="377" y="2653"/>
                  <a:pt x="377" y="2653"/>
                </a:cubicBezTo>
                <a:cubicBezTo>
                  <a:pt x="377" y="2653"/>
                  <a:pt x="385" y="2676"/>
                  <a:pt x="393" y="2684"/>
                </a:cubicBezTo>
                <a:cubicBezTo>
                  <a:pt x="401" y="2692"/>
                  <a:pt x="426" y="2692"/>
                  <a:pt x="418" y="2700"/>
                </a:cubicBezTo>
                <a:cubicBezTo>
                  <a:pt x="409" y="2700"/>
                  <a:pt x="409" y="2740"/>
                  <a:pt x="409" y="2740"/>
                </a:cubicBezTo>
                <a:cubicBezTo>
                  <a:pt x="409" y="2740"/>
                  <a:pt x="375" y="2729"/>
                  <a:pt x="369" y="2725"/>
                </a:cubicBezTo>
                <a:cubicBezTo>
                  <a:pt x="374" y="2735"/>
                  <a:pt x="352" y="2764"/>
                  <a:pt x="352" y="2764"/>
                </a:cubicBezTo>
                <a:cubicBezTo>
                  <a:pt x="352" y="2764"/>
                  <a:pt x="377" y="2772"/>
                  <a:pt x="385" y="2780"/>
                </a:cubicBezTo>
                <a:cubicBezTo>
                  <a:pt x="385" y="2788"/>
                  <a:pt x="418" y="2796"/>
                  <a:pt x="426" y="2788"/>
                </a:cubicBezTo>
                <a:cubicBezTo>
                  <a:pt x="434" y="2788"/>
                  <a:pt x="458" y="2811"/>
                  <a:pt x="467" y="2819"/>
                </a:cubicBezTo>
                <a:cubicBezTo>
                  <a:pt x="499" y="2843"/>
                  <a:pt x="499" y="2811"/>
                  <a:pt x="508" y="2804"/>
                </a:cubicBezTo>
                <a:lnTo>
                  <a:pt x="499" y="2772"/>
                </a:lnTo>
                <a:cubicBezTo>
                  <a:pt x="508" y="2772"/>
                  <a:pt x="540" y="2764"/>
                  <a:pt x="540" y="2764"/>
                </a:cubicBezTo>
                <a:lnTo>
                  <a:pt x="573" y="2788"/>
                </a:lnTo>
                <a:cubicBezTo>
                  <a:pt x="573" y="2788"/>
                  <a:pt x="589" y="2796"/>
                  <a:pt x="606" y="2804"/>
                </a:cubicBezTo>
                <a:lnTo>
                  <a:pt x="622" y="2811"/>
                </a:lnTo>
                <a:lnTo>
                  <a:pt x="729" y="2819"/>
                </a:lnTo>
                <a:cubicBezTo>
                  <a:pt x="729" y="2819"/>
                  <a:pt x="729" y="2827"/>
                  <a:pt x="745" y="2835"/>
                </a:cubicBezTo>
                <a:cubicBezTo>
                  <a:pt x="761" y="2843"/>
                  <a:pt x="745" y="2843"/>
                  <a:pt x="745" y="2859"/>
                </a:cubicBezTo>
                <a:cubicBezTo>
                  <a:pt x="737" y="2899"/>
                  <a:pt x="778" y="2923"/>
                  <a:pt x="769" y="2931"/>
                </a:cubicBezTo>
                <a:cubicBezTo>
                  <a:pt x="769" y="2939"/>
                  <a:pt x="737" y="2946"/>
                  <a:pt x="720" y="2939"/>
                </a:cubicBezTo>
                <a:cubicBezTo>
                  <a:pt x="704" y="2939"/>
                  <a:pt x="696" y="2915"/>
                  <a:pt x="679" y="2915"/>
                </a:cubicBezTo>
                <a:cubicBezTo>
                  <a:pt x="647" y="2931"/>
                  <a:pt x="622" y="2931"/>
                  <a:pt x="622" y="2939"/>
                </a:cubicBezTo>
                <a:lnTo>
                  <a:pt x="638" y="2939"/>
                </a:lnTo>
                <a:lnTo>
                  <a:pt x="663" y="2923"/>
                </a:lnTo>
                <a:cubicBezTo>
                  <a:pt x="671" y="2923"/>
                  <a:pt x="696" y="2946"/>
                  <a:pt x="696" y="2946"/>
                </a:cubicBezTo>
                <a:cubicBezTo>
                  <a:pt x="696" y="2946"/>
                  <a:pt x="688" y="2954"/>
                  <a:pt x="688" y="2962"/>
                </a:cubicBezTo>
                <a:cubicBezTo>
                  <a:pt x="696" y="2962"/>
                  <a:pt x="712" y="2970"/>
                  <a:pt x="712" y="2970"/>
                </a:cubicBezTo>
                <a:cubicBezTo>
                  <a:pt x="802" y="2994"/>
                  <a:pt x="761" y="2994"/>
                  <a:pt x="778" y="3050"/>
                </a:cubicBezTo>
                <a:cubicBezTo>
                  <a:pt x="810" y="3161"/>
                  <a:pt x="810" y="3010"/>
                  <a:pt x="827" y="3050"/>
                </a:cubicBezTo>
                <a:cubicBezTo>
                  <a:pt x="835" y="3066"/>
                  <a:pt x="860" y="3050"/>
                  <a:pt x="876" y="3081"/>
                </a:cubicBezTo>
                <a:cubicBezTo>
                  <a:pt x="892" y="3113"/>
                  <a:pt x="933" y="3034"/>
                  <a:pt x="958" y="3121"/>
                </a:cubicBezTo>
                <a:cubicBezTo>
                  <a:pt x="958" y="3145"/>
                  <a:pt x="909" y="3161"/>
                  <a:pt x="892" y="3169"/>
                </a:cubicBezTo>
                <a:cubicBezTo>
                  <a:pt x="843" y="3185"/>
                  <a:pt x="851" y="3169"/>
                  <a:pt x="819" y="3185"/>
                </a:cubicBezTo>
                <a:cubicBezTo>
                  <a:pt x="819" y="3185"/>
                  <a:pt x="794" y="3240"/>
                  <a:pt x="835" y="3240"/>
                </a:cubicBezTo>
                <a:cubicBezTo>
                  <a:pt x="851" y="3240"/>
                  <a:pt x="851" y="3224"/>
                  <a:pt x="876" y="3216"/>
                </a:cubicBezTo>
                <a:cubicBezTo>
                  <a:pt x="892" y="3209"/>
                  <a:pt x="900" y="3240"/>
                  <a:pt x="925" y="3232"/>
                </a:cubicBezTo>
                <a:cubicBezTo>
                  <a:pt x="958" y="3224"/>
                  <a:pt x="958" y="3216"/>
                  <a:pt x="1023" y="3201"/>
                </a:cubicBezTo>
                <a:cubicBezTo>
                  <a:pt x="1064" y="3185"/>
                  <a:pt x="1105" y="3121"/>
                  <a:pt x="1113" y="3121"/>
                </a:cubicBezTo>
                <a:cubicBezTo>
                  <a:pt x="1121" y="3121"/>
                  <a:pt x="1211" y="3161"/>
                  <a:pt x="1203" y="3177"/>
                </a:cubicBezTo>
                <a:cubicBezTo>
                  <a:pt x="1203" y="3185"/>
                  <a:pt x="1072" y="3280"/>
                  <a:pt x="1056" y="3280"/>
                </a:cubicBezTo>
                <a:cubicBezTo>
                  <a:pt x="958" y="3312"/>
                  <a:pt x="1039" y="3336"/>
                  <a:pt x="1064" y="3320"/>
                </a:cubicBezTo>
                <a:cubicBezTo>
                  <a:pt x="1130" y="3280"/>
                  <a:pt x="1121" y="3328"/>
                  <a:pt x="1154" y="3312"/>
                </a:cubicBezTo>
                <a:cubicBezTo>
                  <a:pt x="1171" y="3304"/>
                  <a:pt x="1171" y="3359"/>
                  <a:pt x="1187" y="3343"/>
                </a:cubicBezTo>
                <a:cubicBezTo>
                  <a:pt x="1203" y="3336"/>
                  <a:pt x="1236" y="3272"/>
                  <a:pt x="1252" y="3248"/>
                </a:cubicBezTo>
                <a:cubicBezTo>
                  <a:pt x="1301" y="3209"/>
                  <a:pt x="1334" y="3201"/>
                  <a:pt x="1334" y="3209"/>
                </a:cubicBezTo>
                <a:cubicBezTo>
                  <a:pt x="1351" y="3216"/>
                  <a:pt x="1351" y="3193"/>
                  <a:pt x="1408" y="3209"/>
                </a:cubicBezTo>
                <a:cubicBezTo>
                  <a:pt x="1441" y="3224"/>
                  <a:pt x="1416" y="3209"/>
                  <a:pt x="1457" y="3312"/>
                </a:cubicBezTo>
                <a:cubicBezTo>
                  <a:pt x="1465" y="3343"/>
                  <a:pt x="1539" y="3391"/>
                  <a:pt x="1539" y="3383"/>
                </a:cubicBezTo>
                <a:lnTo>
                  <a:pt x="1686" y="3383"/>
                </a:lnTo>
                <a:lnTo>
                  <a:pt x="1768" y="3336"/>
                </a:lnTo>
                <a:lnTo>
                  <a:pt x="1907" y="3304"/>
                </a:lnTo>
                <a:cubicBezTo>
                  <a:pt x="1948" y="3272"/>
                  <a:pt x="1891" y="3169"/>
                  <a:pt x="1940" y="3161"/>
                </a:cubicBezTo>
                <a:cubicBezTo>
                  <a:pt x="1940" y="3058"/>
                  <a:pt x="1948" y="3121"/>
                  <a:pt x="1923" y="3034"/>
                </a:cubicBezTo>
                <a:cubicBezTo>
                  <a:pt x="1956" y="3018"/>
                  <a:pt x="2103" y="3002"/>
                  <a:pt x="2136" y="3002"/>
                </a:cubicBezTo>
                <a:lnTo>
                  <a:pt x="2218" y="3002"/>
                </a:lnTo>
                <a:lnTo>
                  <a:pt x="2341" y="3042"/>
                </a:lnTo>
                <a:cubicBezTo>
                  <a:pt x="2390" y="3097"/>
                  <a:pt x="2447" y="3018"/>
                  <a:pt x="2464" y="3074"/>
                </a:cubicBezTo>
                <a:cubicBezTo>
                  <a:pt x="2480" y="3137"/>
                  <a:pt x="2660" y="3185"/>
                  <a:pt x="2725" y="3201"/>
                </a:cubicBezTo>
                <a:cubicBezTo>
                  <a:pt x="2734" y="3185"/>
                  <a:pt x="2824" y="3121"/>
                  <a:pt x="2840" y="3121"/>
                </a:cubicBezTo>
                <a:cubicBezTo>
                  <a:pt x="2881" y="3121"/>
                  <a:pt x="2930" y="3081"/>
                  <a:pt x="2963" y="3074"/>
                </a:cubicBezTo>
                <a:cubicBezTo>
                  <a:pt x="3020" y="3058"/>
                  <a:pt x="3045" y="3002"/>
                  <a:pt x="3061" y="2994"/>
                </a:cubicBezTo>
                <a:cubicBezTo>
                  <a:pt x="3102" y="2978"/>
                  <a:pt x="3028" y="2954"/>
                  <a:pt x="3118" y="2923"/>
                </a:cubicBezTo>
                <a:lnTo>
                  <a:pt x="3184" y="2835"/>
                </a:lnTo>
                <a:cubicBezTo>
                  <a:pt x="3200" y="2812"/>
                  <a:pt x="3208" y="2764"/>
                  <a:pt x="3233" y="2724"/>
                </a:cubicBezTo>
                <a:lnTo>
                  <a:pt x="3306" y="2692"/>
                </a:lnTo>
                <a:cubicBezTo>
                  <a:pt x="3331" y="2692"/>
                  <a:pt x="3405" y="2700"/>
                  <a:pt x="3462" y="2732"/>
                </a:cubicBezTo>
                <a:cubicBezTo>
                  <a:pt x="3511" y="2756"/>
                  <a:pt x="3568" y="2708"/>
                  <a:pt x="3577" y="2716"/>
                </a:cubicBezTo>
                <a:cubicBezTo>
                  <a:pt x="3626" y="2724"/>
                  <a:pt x="3519" y="2653"/>
                  <a:pt x="3585" y="2645"/>
                </a:cubicBezTo>
                <a:lnTo>
                  <a:pt x="3650" y="2605"/>
                </a:lnTo>
                <a:lnTo>
                  <a:pt x="3699" y="2518"/>
                </a:lnTo>
                <a:cubicBezTo>
                  <a:pt x="3716" y="2542"/>
                  <a:pt x="3789" y="2549"/>
                  <a:pt x="3789" y="2573"/>
                </a:cubicBezTo>
                <a:cubicBezTo>
                  <a:pt x="3806" y="2621"/>
                  <a:pt x="3806" y="2621"/>
                  <a:pt x="3798" y="2645"/>
                </a:cubicBezTo>
                <a:cubicBezTo>
                  <a:pt x="3806" y="2653"/>
                  <a:pt x="3699" y="2780"/>
                  <a:pt x="3724" y="2812"/>
                </a:cubicBezTo>
                <a:cubicBezTo>
                  <a:pt x="3732" y="2843"/>
                  <a:pt x="3789" y="2867"/>
                  <a:pt x="3806" y="2891"/>
                </a:cubicBezTo>
                <a:cubicBezTo>
                  <a:pt x="3822" y="2923"/>
                  <a:pt x="3847" y="2946"/>
                  <a:pt x="3863" y="2962"/>
                </a:cubicBezTo>
                <a:cubicBezTo>
                  <a:pt x="3896" y="2978"/>
                  <a:pt x="3937" y="2883"/>
                  <a:pt x="3937" y="2883"/>
                </a:cubicBezTo>
                <a:cubicBezTo>
                  <a:pt x="3953" y="2883"/>
                  <a:pt x="3904" y="2796"/>
                  <a:pt x="3929" y="2780"/>
                </a:cubicBezTo>
                <a:cubicBezTo>
                  <a:pt x="3961" y="2756"/>
                  <a:pt x="4002" y="2756"/>
                  <a:pt x="4010" y="2740"/>
                </a:cubicBezTo>
                <a:cubicBezTo>
                  <a:pt x="4019" y="2708"/>
                  <a:pt x="3945" y="2692"/>
                  <a:pt x="3945" y="2653"/>
                </a:cubicBezTo>
                <a:cubicBezTo>
                  <a:pt x="3937" y="2629"/>
                  <a:pt x="3953" y="2613"/>
                  <a:pt x="3937" y="2589"/>
                </a:cubicBezTo>
                <a:cubicBezTo>
                  <a:pt x="3896" y="2534"/>
                  <a:pt x="3929" y="2494"/>
                  <a:pt x="4002" y="2494"/>
                </a:cubicBezTo>
                <a:lnTo>
                  <a:pt x="4076" y="2542"/>
                </a:lnTo>
                <a:cubicBezTo>
                  <a:pt x="4133" y="2542"/>
                  <a:pt x="4182" y="2518"/>
                  <a:pt x="4223" y="2494"/>
                </a:cubicBezTo>
                <a:lnTo>
                  <a:pt x="4330" y="2399"/>
                </a:lnTo>
                <a:cubicBezTo>
                  <a:pt x="4330" y="2399"/>
                  <a:pt x="4411" y="2311"/>
                  <a:pt x="4436" y="2303"/>
                </a:cubicBezTo>
                <a:cubicBezTo>
                  <a:pt x="4460" y="2303"/>
                  <a:pt x="4510" y="2287"/>
                  <a:pt x="4510" y="2287"/>
                </a:cubicBezTo>
                <a:lnTo>
                  <a:pt x="4616" y="2343"/>
                </a:lnTo>
                <a:cubicBezTo>
                  <a:pt x="4747" y="2303"/>
                  <a:pt x="4894" y="2280"/>
                  <a:pt x="4984" y="2192"/>
                </a:cubicBezTo>
                <a:cubicBezTo>
                  <a:pt x="5115" y="2073"/>
                  <a:pt x="4992" y="2073"/>
                  <a:pt x="5132" y="2033"/>
                </a:cubicBezTo>
                <a:lnTo>
                  <a:pt x="5222" y="1954"/>
                </a:lnTo>
                <a:lnTo>
                  <a:pt x="5258" y="1944"/>
                </a:lnTo>
                <a:lnTo>
                  <a:pt x="5258" y="73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51" name="Freeform 243">
            <a:extLst>
              <a:ext uri="{FF2B5EF4-FFF2-40B4-BE49-F238E27FC236}">
                <a16:creationId xmlns:a16="http://schemas.microsoft.com/office/drawing/2014/main" id="{2031420A-4901-4B91-FDB7-2339E6103C01}"/>
              </a:ext>
            </a:extLst>
          </p:cNvPr>
          <p:cNvSpPr>
            <a:spLocks noChangeArrowheads="1"/>
          </p:cNvSpPr>
          <p:nvPr>
            <p:custDataLst>
              <p:tags r:id="rId242"/>
            </p:custDataLst>
          </p:nvPr>
        </p:nvSpPr>
        <p:spPr bwMode="auto">
          <a:xfrm>
            <a:off x="11026715" y="4365033"/>
            <a:ext cx="483594" cy="342319"/>
          </a:xfrm>
          <a:custGeom>
            <a:avLst/>
            <a:gdLst>
              <a:gd name="T0" fmla="*/ 1173 w 1178"/>
              <a:gd name="T1" fmla="*/ 79 h 832"/>
              <a:gd name="T2" fmla="*/ 1004 w 1178"/>
              <a:gd name="T3" fmla="*/ 55 h 832"/>
              <a:gd name="T4" fmla="*/ 898 w 1178"/>
              <a:gd name="T5" fmla="*/ 0 h 832"/>
              <a:gd name="T6" fmla="*/ 761 w 1178"/>
              <a:gd name="T7" fmla="*/ 16 h 832"/>
              <a:gd name="T8" fmla="*/ 672 w 1178"/>
              <a:gd name="T9" fmla="*/ 63 h 832"/>
              <a:gd name="T10" fmla="*/ 591 w 1178"/>
              <a:gd name="T11" fmla="*/ 79 h 832"/>
              <a:gd name="T12" fmla="*/ 518 w 1178"/>
              <a:gd name="T13" fmla="*/ 87 h 832"/>
              <a:gd name="T14" fmla="*/ 470 w 1178"/>
              <a:gd name="T15" fmla="*/ 71 h 832"/>
              <a:gd name="T16" fmla="*/ 413 w 1178"/>
              <a:gd name="T17" fmla="*/ 63 h 832"/>
              <a:gd name="T18" fmla="*/ 324 w 1178"/>
              <a:gd name="T19" fmla="*/ 63 h 832"/>
              <a:gd name="T20" fmla="*/ 219 w 1178"/>
              <a:gd name="T21" fmla="*/ 31 h 832"/>
              <a:gd name="T22" fmla="*/ 170 w 1178"/>
              <a:gd name="T23" fmla="*/ 47 h 832"/>
              <a:gd name="T24" fmla="*/ 49 w 1178"/>
              <a:gd name="T25" fmla="*/ 39 h 832"/>
              <a:gd name="T26" fmla="*/ 16 w 1178"/>
              <a:gd name="T27" fmla="*/ 95 h 832"/>
              <a:gd name="T28" fmla="*/ 57 w 1178"/>
              <a:gd name="T29" fmla="*/ 150 h 832"/>
              <a:gd name="T30" fmla="*/ 105 w 1178"/>
              <a:gd name="T31" fmla="*/ 198 h 832"/>
              <a:gd name="T32" fmla="*/ 146 w 1178"/>
              <a:gd name="T33" fmla="*/ 198 h 832"/>
              <a:gd name="T34" fmla="*/ 194 w 1178"/>
              <a:gd name="T35" fmla="*/ 206 h 832"/>
              <a:gd name="T36" fmla="*/ 251 w 1178"/>
              <a:gd name="T37" fmla="*/ 214 h 832"/>
              <a:gd name="T38" fmla="*/ 340 w 1178"/>
              <a:gd name="T39" fmla="*/ 245 h 832"/>
              <a:gd name="T40" fmla="*/ 381 w 1178"/>
              <a:gd name="T41" fmla="*/ 245 h 832"/>
              <a:gd name="T42" fmla="*/ 437 w 1178"/>
              <a:gd name="T43" fmla="*/ 301 h 832"/>
              <a:gd name="T44" fmla="*/ 486 w 1178"/>
              <a:gd name="T45" fmla="*/ 301 h 832"/>
              <a:gd name="T46" fmla="*/ 567 w 1178"/>
              <a:gd name="T47" fmla="*/ 364 h 832"/>
              <a:gd name="T48" fmla="*/ 631 w 1178"/>
              <a:gd name="T49" fmla="*/ 459 h 832"/>
              <a:gd name="T50" fmla="*/ 696 w 1178"/>
              <a:gd name="T51" fmla="*/ 602 h 832"/>
              <a:gd name="T52" fmla="*/ 712 w 1178"/>
              <a:gd name="T53" fmla="*/ 689 h 832"/>
              <a:gd name="T54" fmla="*/ 704 w 1178"/>
              <a:gd name="T55" fmla="*/ 824 h 832"/>
              <a:gd name="T56" fmla="*/ 834 w 1178"/>
              <a:gd name="T57" fmla="*/ 784 h 832"/>
              <a:gd name="T58" fmla="*/ 987 w 1178"/>
              <a:gd name="T59" fmla="*/ 760 h 832"/>
              <a:gd name="T60" fmla="*/ 1004 w 1178"/>
              <a:gd name="T61" fmla="*/ 705 h 832"/>
              <a:gd name="T62" fmla="*/ 1109 w 1178"/>
              <a:gd name="T63" fmla="*/ 681 h 832"/>
              <a:gd name="T64" fmla="*/ 1165 w 1178"/>
              <a:gd name="T65" fmla="*/ 736 h 832"/>
              <a:gd name="T66" fmla="*/ 1177 w 1178"/>
              <a:gd name="T67" fmla="*/ 80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78" h="832">
                <a:moveTo>
                  <a:pt x="1177" y="80"/>
                </a:moveTo>
                <a:lnTo>
                  <a:pt x="1173" y="79"/>
                </a:lnTo>
                <a:lnTo>
                  <a:pt x="1068" y="71"/>
                </a:lnTo>
                <a:lnTo>
                  <a:pt x="1004" y="55"/>
                </a:lnTo>
                <a:lnTo>
                  <a:pt x="963" y="16"/>
                </a:lnTo>
                <a:lnTo>
                  <a:pt x="898" y="0"/>
                </a:lnTo>
                <a:lnTo>
                  <a:pt x="842" y="39"/>
                </a:lnTo>
                <a:cubicBezTo>
                  <a:pt x="842" y="39"/>
                  <a:pt x="785" y="16"/>
                  <a:pt x="761" y="16"/>
                </a:cubicBezTo>
                <a:cubicBezTo>
                  <a:pt x="745" y="24"/>
                  <a:pt x="712" y="31"/>
                  <a:pt x="704" y="39"/>
                </a:cubicBezTo>
                <a:cubicBezTo>
                  <a:pt x="696" y="39"/>
                  <a:pt x="680" y="63"/>
                  <a:pt x="672" y="63"/>
                </a:cubicBezTo>
                <a:cubicBezTo>
                  <a:pt x="656" y="71"/>
                  <a:pt x="639" y="63"/>
                  <a:pt x="623" y="63"/>
                </a:cubicBezTo>
                <a:cubicBezTo>
                  <a:pt x="615" y="71"/>
                  <a:pt x="607" y="79"/>
                  <a:pt x="591" y="79"/>
                </a:cubicBezTo>
                <a:cubicBezTo>
                  <a:pt x="575" y="79"/>
                  <a:pt x="567" y="71"/>
                  <a:pt x="550" y="71"/>
                </a:cubicBezTo>
                <a:cubicBezTo>
                  <a:pt x="542" y="79"/>
                  <a:pt x="534" y="87"/>
                  <a:pt x="518" y="87"/>
                </a:cubicBezTo>
                <a:cubicBezTo>
                  <a:pt x="502" y="87"/>
                  <a:pt x="494" y="71"/>
                  <a:pt x="494" y="71"/>
                </a:cubicBezTo>
                <a:lnTo>
                  <a:pt x="470" y="71"/>
                </a:lnTo>
                <a:lnTo>
                  <a:pt x="445" y="47"/>
                </a:lnTo>
                <a:cubicBezTo>
                  <a:pt x="445" y="47"/>
                  <a:pt x="437" y="63"/>
                  <a:pt x="413" y="63"/>
                </a:cubicBezTo>
                <a:cubicBezTo>
                  <a:pt x="397" y="55"/>
                  <a:pt x="381" y="47"/>
                  <a:pt x="364" y="55"/>
                </a:cubicBezTo>
                <a:cubicBezTo>
                  <a:pt x="348" y="55"/>
                  <a:pt x="324" y="63"/>
                  <a:pt x="324" y="63"/>
                </a:cubicBezTo>
                <a:lnTo>
                  <a:pt x="259" y="39"/>
                </a:lnTo>
                <a:lnTo>
                  <a:pt x="219" y="31"/>
                </a:lnTo>
                <a:lnTo>
                  <a:pt x="186" y="24"/>
                </a:lnTo>
                <a:lnTo>
                  <a:pt x="170" y="47"/>
                </a:lnTo>
                <a:lnTo>
                  <a:pt x="130" y="47"/>
                </a:lnTo>
                <a:cubicBezTo>
                  <a:pt x="130" y="47"/>
                  <a:pt x="81" y="31"/>
                  <a:pt x="49" y="39"/>
                </a:cubicBezTo>
                <a:cubicBezTo>
                  <a:pt x="41" y="39"/>
                  <a:pt x="16" y="63"/>
                  <a:pt x="8" y="63"/>
                </a:cubicBezTo>
                <a:cubicBezTo>
                  <a:pt x="0" y="71"/>
                  <a:pt x="8" y="71"/>
                  <a:pt x="16" y="95"/>
                </a:cubicBezTo>
                <a:cubicBezTo>
                  <a:pt x="16" y="111"/>
                  <a:pt x="8" y="142"/>
                  <a:pt x="8" y="142"/>
                </a:cubicBezTo>
                <a:lnTo>
                  <a:pt x="57" y="150"/>
                </a:lnTo>
                <a:lnTo>
                  <a:pt x="97" y="166"/>
                </a:lnTo>
                <a:lnTo>
                  <a:pt x="105" y="198"/>
                </a:lnTo>
                <a:cubicBezTo>
                  <a:pt x="105" y="198"/>
                  <a:pt x="130" y="222"/>
                  <a:pt x="138" y="214"/>
                </a:cubicBezTo>
                <a:cubicBezTo>
                  <a:pt x="146" y="214"/>
                  <a:pt x="138" y="206"/>
                  <a:pt x="146" y="198"/>
                </a:cubicBezTo>
                <a:cubicBezTo>
                  <a:pt x="146" y="198"/>
                  <a:pt x="154" y="214"/>
                  <a:pt x="170" y="214"/>
                </a:cubicBezTo>
                <a:cubicBezTo>
                  <a:pt x="170" y="214"/>
                  <a:pt x="186" y="206"/>
                  <a:pt x="194" y="206"/>
                </a:cubicBezTo>
                <a:cubicBezTo>
                  <a:pt x="211" y="214"/>
                  <a:pt x="219" y="222"/>
                  <a:pt x="227" y="222"/>
                </a:cubicBezTo>
                <a:cubicBezTo>
                  <a:pt x="235" y="222"/>
                  <a:pt x="251" y="214"/>
                  <a:pt x="251" y="214"/>
                </a:cubicBezTo>
                <a:cubicBezTo>
                  <a:pt x="267" y="206"/>
                  <a:pt x="292" y="198"/>
                  <a:pt x="316" y="222"/>
                </a:cubicBezTo>
                <a:cubicBezTo>
                  <a:pt x="332" y="237"/>
                  <a:pt x="324" y="245"/>
                  <a:pt x="340" y="245"/>
                </a:cubicBezTo>
                <a:cubicBezTo>
                  <a:pt x="348" y="245"/>
                  <a:pt x="348" y="229"/>
                  <a:pt x="356" y="229"/>
                </a:cubicBezTo>
                <a:cubicBezTo>
                  <a:pt x="372" y="229"/>
                  <a:pt x="372" y="237"/>
                  <a:pt x="381" y="245"/>
                </a:cubicBezTo>
                <a:cubicBezTo>
                  <a:pt x="397" y="261"/>
                  <a:pt x="397" y="277"/>
                  <a:pt x="413" y="285"/>
                </a:cubicBezTo>
                <a:cubicBezTo>
                  <a:pt x="413" y="293"/>
                  <a:pt x="421" y="301"/>
                  <a:pt x="437" y="301"/>
                </a:cubicBezTo>
                <a:lnTo>
                  <a:pt x="445" y="293"/>
                </a:lnTo>
                <a:cubicBezTo>
                  <a:pt x="461" y="293"/>
                  <a:pt x="478" y="293"/>
                  <a:pt x="486" y="301"/>
                </a:cubicBezTo>
                <a:cubicBezTo>
                  <a:pt x="518" y="301"/>
                  <a:pt x="526" y="301"/>
                  <a:pt x="534" y="309"/>
                </a:cubicBezTo>
                <a:cubicBezTo>
                  <a:pt x="542" y="325"/>
                  <a:pt x="559" y="348"/>
                  <a:pt x="567" y="364"/>
                </a:cubicBezTo>
                <a:cubicBezTo>
                  <a:pt x="575" y="380"/>
                  <a:pt x="583" y="412"/>
                  <a:pt x="591" y="420"/>
                </a:cubicBezTo>
                <a:cubicBezTo>
                  <a:pt x="599" y="435"/>
                  <a:pt x="623" y="443"/>
                  <a:pt x="631" y="459"/>
                </a:cubicBezTo>
                <a:cubicBezTo>
                  <a:pt x="639" y="467"/>
                  <a:pt x="656" y="515"/>
                  <a:pt x="664" y="530"/>
                </a:cubicBezTo>
                <a:cubicBezTo>
                  <a:pt x="664" y="546"/>
                  <a:pt x="688" y="570"/>
                  <a:pt x="696" y="602"/>
                </a:cubicBezTo>
                <a:cubicBezTo>
                  <a:pt x="712" y="633"/>
                  <a:pt x="712" y="657"/>
                  <a:pt x="712" y="657"/>
                </a:cubicBezTo>
                <a:lnTo>
                  <a:pt x="712" y="689"/>
                </a:lnTo>
                <a:cubicBezTo>
                  <a:pt x="712" y="689"/>
                  <a:pt x="688" y="760"/>
                  <a:pt x="672" y="776"/>
                </a:cubicBezTo>
                <a:cubicBezTo>
                  <a:pt x="656" y="792"/>
                  <a:pt x="680" y="816"/>
                  <a:pt x="704" y="824"/>
                </a:cubicBezTo>
                <a:cubicBezTo>
                  <a:pt x="728" y="831"/>
                  <a:pt x="793" y="800"/>
                  <a:pt x="793" y="800"/>
                </a:cubicBezTo>
                <a:lnTo>
                  <a:pt x="834" y="784"/>
                </a:lnTo>
                <a:lnTo>
                  <a:pt x="874" y="776"/>
                </a:lnTo>
                <a:cubicBezTo>
                  <a:pt x="874" y="776"/>
                  <a:pt x="971" y="768"/>
                  <a:pt x="987" y="760"/>
                </a:cubicBezTo>
                <a:cubicBezTo>
                  <a:pt x="1012" y="744"/>
                  <a:pt x="1012" y="729"/>
                  <a:pt x="1012" y="729"/>
                </a:cubicBezTo>
                <a:lnTo>
                  <a:pt x="1004" y="705"/>
                </a:lnTo>
                <a:cubicBezTo>
                  <a:pt x="1004" y="705"/>
                  <a:pt x="1052" y="681"/>
                  <a:pt x="1076" y="673"/>
                </a:cubicBezTo>
                <a:cubicBezTo>
                  <a:pt x="1093" y="665"/>
                  <a:pt x="1109" y="681"/>
                  <a:pt x="1109" y="681"/>
                </a:cubicBezTo>
                <a:lnTo>
                  <a:pt x="1133" y="705"/>
                </a:lnTo>
                <a:lnTo>
                  <a:pt x="1165" y="736"/>
                </a:lnTo>
                <a:lnTo>
                  <a:pt x="1177" y="739"/>
                </a:lnTo>
                <a:lnTo>
                  <a:pt x="1177" y="80"/>
                </a:lnTo>
              </a:path>
            </a:pathLst>
          </a:custGeom>
          <a:solidFill>
            <a:schemeClr val="bg2"/>
          </a:solidFill>
          <a:ln w="12700" cap="flat">
            <a:solidFill>
              <a:schemeClr val="bg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sp>
        <p:nvSpPr>
          <p:cNvPr id="252" name="Freeform 244">
            <a:extLst>
              <a:ext uri="{FF2B5EF4-FFF2-40B4-BE49-F238E27FC236}">
                <a16:creationId xmlns:a16="http://schemas.microsoft.com/office/drawing/2014/main" id="{7E231F29-5E44-CE11-64FB-2E09932AB6D2}"/>
              </a:ext>
            </a:extLst>
          </p:cNvPr>
          <p:cNvSpPr>
            <a:spLocks noChangeArrowheads="1"/>
          </p:cNvSpPr>
          <p:nvPr>
            <p:custDataLst>
              <p:tags r:id="rId243"/>
            </p:custDataLst>
          </p:nvPr>
        </p:nvSpPr>
        <p:spPr bwMode="auto">
          <a:xfrm>
            <a:off x="11026715" y="4365033"/>
            <a:ext cx="483594" cy="342319"/>
          </a:xfrm>
          <a:custGeom>
            <a:avLst/>
            <a:gdLst>
              <a:gd name="T0" fmla="*/ 1173 w 1178"/>
              <a:gd name="T1" fmla="*/ 79 h 832"/>
              <a:gd name="T2" fmla="*/ 1004 w 1178"/>
              <a:gd name="T3" fmla="*/ 55 h 832"/>
              <a:gd name="T4" fmla="*/ 898 w 1178"/>
              <a:gd name="T5" fmla="*/ 0 h 832"/>
              <a:gd name="T6" fmla="*/ 761 w 1178"/>
              <a:gd name="T7" fmla="*/ 16 h 832"/>
              <a:gd name="T8" fmla="*/ 672 w 1178"/>
              <a:gd name="T9" fmla="*/ 63 h 832"/>
              <a:gd name="T10" fmla="*/ 591 w 1178"/>
              <a:gd name="T11" fmla="*/ 79 h 832"/>
              <a:gd name="T12" fmla="*/ 518 w 1178"/>
              <a:gd name="T13" fmla="*/ 87 h 832"/>
              <a:gd name="T14" fmla="*/ 470 w 1178"/>
              <a:gd name="T15" fmla="*/ 71 h 832"/>
              <a:gd name="T16" fmla="*/ 413 w 1178"/>
              <a:gd name="T17" fmla="*/ 63 h 832"/>
              <a:gd name="T18" fmla="*/ 324 w 1178"/>
              <a:gd name="T19" fmla="*/ 63 h 832"/>
              <a:gd name="T20" fmla="*/ 219 w 1178"/>
              <a:gd name="T21" fmla="*/ 31 h 832"/>
              <a:gd name="T22" fmla="*/ 170 w 1178"/>
              <a:gd name="T23" fmla="*/ 47 h 832"/>
              <a:gd name="T24" fmla="*/ 49 w 1178"/>
              <a:gd name="T25" fmla="*/ 39 h 832"/>
              <a:gd name="T26" fmla="*/ 16 w 1178"/>
              <a:gd name="T27" fmla="*/ 95 h 832"/>
              <a:gd name="T28" fmla="*/ 57 w 1178"/>
              <a:gd name="T29" fmla="*/ 150 h 832"/>
              <a:gd name="T30" fmla="*/ 105 w 1178"/>
              <a:gd name="T31" fmla="*/ 198 h 832"/>
              <a:gd name="T32" fmla="*/ 146 w 1178"/>
              <a:gd name="T33" fmla="*/ 198 h 832"/>
              <a:gd name="T34" fmla="*/ 194 w 1178"/>
              <a:gd name="T35" fmla="*/ 206 h 832"/>
              <a:gd name="T36" fmla="*/ 251 w 1178"/>
              <a:gd name="T37" fmla="*/ 214 h 832"/>
              <a:gd name="T38" fmla="*/ 340 w 1178"/>
              <a:gd name="T39" fmla="*/ 245 h 832"/>
              <a:gd name="T40" fmla="*/ 381 w 1178"/>
              <a:gd name="T41" fmla="*/ 245 h 832"/>
              <a:gd name="T42" fmla="*/ 437 w 1178"/>
              <a:gd name="T43" fmla="*/ 301 h 832"/>
              <a:gd name="T44" fmla="*/ 486 w 1178"/>
              <a:gd name="T45" fmla="*/ 301 h 832"/>
              <a:gd name="T46" fmla="*/ 567 w 1178"/>
              <a:gd name="T47" fmla="*/ 364 h 832"/>
              <a:gd name="T48" fmla="*/ 631 w 1178"/>
              <a:gd name="T49" fmla="*/ 459 h 832"/>
              <a:gd name="T50" fmla="*/ 696 w 1178"/>
              <a:gd name="T51" fmla="*/ 602 h 832"/>
              <a:gd name="T52" fmla="*/ 712 w 1178"/>
              <a:gd name="T53" fmla="*/ 689 h 832"/>
              <a:gd name="T54" fmla="*/ 704 w 1178"/>
              <a:gd name="T55" fmla="*/ 824 h 832"/>
              <a:gd name="T56" fmla="*/ 834 w 1178"/>
              <a:gd name="T57" fmla="*/ 784 h 832"/>
              <a:gd name="T58" fmla="*/ 987 w 1178"/>
              <a:gd name="T59" fmla="*/ 760 h 832"/>
              <a:gd name="T60" fmla="*/ 1004 w 1178"/>
              <a:gd name="T61" fmla="*/ 705 h 832"/>
              <a:gd name="T62" fmla="*/ 1109 w 1178"/>
              <a:gd name="T63" fmla="*/ 681 h 832"/>
              <a:gd name="T64" fmla="*/ 1165 w 1178"/>
              <a:gd name="T65" fmla="*/ 736 h 832"/>
              <a:gd name="T66" fmla="*/ 1177 w 1178"/>
              <a:gd name="T67" fmla="*/ 80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78" h="832">
                <a:moveTo>
                  <a:pt x="1177" y="80"/>
                </a:moveTo>
                <a:lnTo>
                  <a:pt x="1173" y="79"/>
                </a:lnTo>
                <a:lnTo>
                  <a:pt x="1068" y="71"/>
                </a:lnTo>
                <a:lnTo>
                  <a:pt x="1004" y="55"/>
                </a:lnTo>
                <a:lnTo>
                  <a:pt x="963" y="16"/>
                </a:lnTo>
                <a:lnTo>
                  <a:pt x="898" y="0"/>
                </a:lnTo>
                <a:lnTo>
                  <a:pt x="842" y="39"/>
                </a:lnTo>
                <a:cubicBezTo>
                  <a:pt x="842" y="39"/>
                  <a:pt x="785" y="16"/>
                  <a:pt x="761" y="16"/>
                </a:cubicBezTo>
                <a:cubicBezTo>
                  <a:pt x="745" y="24"/>
                  <a:pt x="712" y="31"/>
                  <a:pt x="704" y="39"/>
                </a:cubicBezTo>
                <a:cubicBezTo>
                  <a:pt x="696" y="39"/>
                  <a:pt x="680" y="63"/>
                  <a:pt x="672" y="63"/>
                </a:cubicBezTo>
                <a:cubicBezTo>
                  <a:pt x="656" y="71"/>
                  <a:pt x="639" y="63"/>
                  <a:pt x="623" y="63"/>
                </a:cubicBezTo>
                <a:cubicBezTo>
                  <a:pt x="615" y="71"/>
                  <a:pt x="607" y="79"/>
                  <a:pt x="591" y="79"/>
                </a:cubicBezTo>
                <a:cubicBezTo>
                  <a:pt x="575" y="79"/>
                  <a:pt x="567" y="71"/>
                  <a:pt x="550" y="71"/>
                </a:cubicBezTo>
                <a:cubicBezTo>
                  <a:pt x="542" y="79"/>
                  <a:pt x="534" y="87"/>
                  <a:pt x="518" y="87"/>
                </a:cubicBezTo>
                <a:cubicBezTo>
                  <a:pt x="502" y="87"/>
                  <a:pt x="494" y="71"/>
                  <a:pt x="494" y="71"/>
                </a:cubicBezTo>
                <a:lnTo>
                  <a:pt x="470" y="71"/>
                </a:lnTo>
                <a:lnTo>
                  <a:pt x="445" y="47"/>
                </a:lnTo>
                <a:cubicBezTo>
                  <a:pt x="445" y="47"/>
                  <a:pt x="437" y="63"/>
                  <a:pt x="413" y="63"/>
                </a:cubicBezTo>
                <a:cubicBezTo>
                  <a:pt x="397" y="55"/>
                  <a:pt x="381" y="47"/>
                  <a:pt x="364" y="55"/>
                </a:cubicBezTo>
                <a:cubicBezTo>
                  <a:pt x="348" y="55"/>
                  <a:pt x="324" y="63"/>
                  <a:pt x="324" y="63"/>
                </a:cubicBezTo>
                <a:lnTo>
                  <a:pt x="259" y="39"/>
                </a:lnTo>
                <a:lnTo>
                  <a:pt x="219" y="31"/>
                </a:lnTo>
                <a:lnTo>
                  <a:pt x="186" y="24"/>
                </a:lnTo>
                <a:lnTo>
                  <a:pt x="170" y="47"/>
                </a:lnTo>
                <a:lnTo>
                  <a:pt x="130" y="47"/>
                </a:lnTo>
                <a:cubicBezTo>
                  <a:pt x="130" y="47"/>
                  <a:pt x="81" y="31"/>
                  <a:pt x="49" y="39"/>
                </a:cubicBezTo>
                <a:cubicBezTo>
                  <a:pt x="41" y="39"/>
                  <a:pt x="16" y="63"/>
                  <a:pt x="8" y="63"/>
                </a:cubicBezTo>
                <a:cubicBezTo>
                  <a:pt x="0" y="71"/>
                  <a:pt x="8" y="71"/>
                  <a:pt x="16" y="95"/>
                </a:cubicBezTo>
                <a:cubicBezTo>
                  <a:pt x="16" y="111"/>
                  <a:pt x="8" y="142"/>
                  <a:pt x="8" y="142"/>
                </a:cubicBezTo>
                <a:lnTo>
                  <a:pt x="57" y="150"/>
                </a:lnTo>
                <a:lnTo>
                  <a:pt x="97" y="166"/>
                </a:lnTo>
                <a:lnTo>
                  <a:pt x="105" y="198"/>
                </a:lnTo>
                <a:cubicBezTo>
                  <a:pt x="105" y="198"/>
                  <a:pt x="130" y="222"/>
                  <a:pt x="138" y="214"/>
                </a:cubicBezTo>
                <a:cubicBezTo>
                  <a:pt x="146" y="214"/>
                  <a:pt x="138" y="206"/>
                  <a:pt x="146" y="198"/>
                </a:cubicBezTo>
                <a:cubicBezTo>
                  <a:pt x="146" y="198"/>
                  <a:pt x="154" y="214"/>
                  <a:pt x="170" y="214"/>
                </a:cubicBezTo>
                <a:cubicBezTo>
                  <a:pt x="170" y="214"/>
                  <a:pt x="186" y="206"/>
                  <a:pt x="194" y="206"/>
                </a:cubicBezTo>
                <a:cubicBezTo>
                  <a:pt x="211" y="214"/>
                  <a:pt x="219" y="222"/>
                  <a:pt x="227" y="222"/>
                </a:cubicBezTo>
                <a:cubicBezTo>
                  <a:pt x="235" y="222"/>
                  <a:pt x="251" y="214"/>
                  <a:pt x="251" y="214"/>
                </a:cubicBezTo>
                <a:cubicBezTo>
                  <a:pt x="267" y="206"/>
                  <a:pt x="292" y="198"/>
                  <a:pt x="316" y="222"/>
                </a:cubicBezTo>
                <a:cubicBezTo>
                  <a:pt x="332" y="237"/>
                  <a:pt x="324" y="245"/>
                  <a:pt x="340" y="245"/>
                </a:cubicBezTo>
                <a:cubicBezTo>
                  <a:pt x="348" y="245"/>
                  <a:pt x="348" y="229"/>
                  <a:pt x="356" y="229"/>
                </a:cubicBezTo>
                <a:cubicBezTo>
                  <a:pt x="372" y="229"/>
                  <a:pt x="372" y="237"/>
                  <a:pt x="381" y="245"/>
                </a:cubicBezTo>
                <a:cubicBezTo>
                  <a:pt x="397" y="261"/>
                  <a:pt x="397" y="277"/>
                  <a:pt x="413" y="285"/>
                </a:cubicBezTo>
                <a:cubicBezTo>
                  <a:pt x="413" y="293"/>
                  <a:pt x="421" y="301"/>
                  <a:pt x="437" y="301"/>
                </a:cubicBezTo>
                <a:lnTo>
                  <a:pt x="445" y="293"/>
                </a:lnTo>
                <a:cubicBezTo>
                  <a:pt x="461" y="293"/>
                  <a:pt x="478" y="293"/>
                  <a:pt x="486" y="301"/>
                </a:cubicBezTo>
                <a:cubicBezTo>
                  <a:pt x="518" y="301"/>
                  <a:pt x="526" y="301"/>
                  <a:pt x="534" y="309"/>
                </a:cubicBezTo>
                <a:cubicBezTo>
                  <a:pt x="542" y="325"/>
                  <a:pt x="559" y="348"/>
                  <a:pt x="567" y="364"/>
                </a:cubicBezTo>
                <a:cubicBezTo>
                  <a:pt x="575" y="380"/>
                  <a:pt x="583" y="412"/>
                  <a:pt x="591" y="420"/>
                </a:cubicBezTo>
                <a:cubicBezTo>
                  <a:pt x="599" y="435"/>
                  <a:pt x="623" y="443"/>
                  <a:pt x="631" y="459"/>
                </a:cubicBezTo>
                <a:cubicBezTo>
                  <a:pt x="639" y="467"/>
                  <a:pt x="656" y="515"/>
                  <a:pt x="664" y="530"/>
                </a:cubicBezTo>
                <a:cubicBezTo>
                  <a:pt x="664" y="546"/>
                  <a:pt x="688" y="570"/>
                  <a:pt x="696" y="602"/>
                </a:cubicBezTo>
                <a:cubicBezTo>
                  <a:pt x="712" y="633"/>
                  <a:pt x="712" y="657"/>
                  <a:pt x="712" y="657"/>
                </a:cubicBezTo>
                <a:lnTo>
                  <a:pt x="712" y="689"/>
                </a:lnTo>
                <a:cubicBezTo>
                  <a:pt x="712" y="689"/>
                  <a:pt x="688" y="760"/>
                  <a:pt x="672" y="776"/>
                </a:cubicBezTo>
                <a:cubicBezTo>
                  <a:pt x="656" y="792"/>
                  <a:pt x="680" y="816"/>
                  <a:pt x="704" y="824"/>
                </a:cubicBezTo>
                <a:cubicBezTo>
                  <a:pt x="728" y="831"/>
                  <a:pt x="793" y="800"/>
                  <a:pt x="793" y="800"/>
                </a:cubicBezTo>
                <a:lnTo>
                  <a:pt x="834" y="784"/>
                </a:lnTo>
                <a:lnTo>
                  <a:pt x="874" y="776"/>
                </a:lnTo>
                <a:cubicBezTo>
                  <a:pt x="874" y="776"/>
                  <a:pt x="971" y="768"/>
                  <a:pt x="987" y="760"/>
                </a:cubicBezTo>
                <a:cubicBezTo>
                  <a:pt x="1012" y="744"/>
                  <a:pt x="1012" y="729"/>
                  <a:pt x="1012" y="729"/>
                </a:cubicBezTo>
                <a:lnTo>
                  <a:pt x="1004" y="705"/>
                </a:lnTo>
                <a:cubicBezTo>
                  <a:pt x="1004" y="705"/>
                  <a:pt x="1052" y="681"/>
                  <a:pt x="1076" y="673"/>
                </a:cubicBezTo>
                <a:cubicBezTo>
                  <a:pt x="1093" y="665"/>
                  <a:pt x="1109" y="681"/>
                  <a:pt x="1109" y="681"/>
                </a:cubicBezTo>
                <a:lnTo>
                  <a:pt x="1133" y="705"/>
                </a:lnTo>
                <a:lnTo>
                  <a:pt x="1165" y="736"/>
                </a:lnTo>
                <a:lnTo>
                  <a:pt x="1177" y="739"/>
                </a:lnTo>
                <a:lnTo>
                  <a:pt x="1177" y="80"/>
                </a:lnTo>
              </a:path>
            </a:pathLst>
          </a:custGeom>
          <a:noFill/>
          <a:ln w="12700" cap="flat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83855">
              <a:defRPr/>
            </a:pPr>
            <a:endParaRPr lang="de-DE" sz="1905">
              <a:solidFill>
                <a:srgbClr val="000000"/>
              </a:solidFill>
              <a:latin typeface="Axiforma for Sec"/>
            </a:endParaRP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B425A59-5262-C698-0D70-ABDA8A0ED964}"/>
              </a:ext>
            </a:extLst>
          </p:cNvPr>
          <p:cNvGraphicFramePr>
            <a:graphicFrameLocks/>
          </p:cNvGraphicFramePr>
          <p:nvPr>
            <p:custDataLst>
              <p:tags r:id="rId244"/>
            </p:custDataLst>
            <p:extLst>
              <p:ext uri="{D42A27DB-BD31-4B8C-83A1-F6EECF244321}">
                <p14:modId xmlns:p14="http://schemas.microsoft.com/office/powerpoint/2010/main" val="237715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9" imgW="360" imgH="360" progId="TCLayout.ActiveDocument.1">
                  <p:embed/>
                </p:oleObj>
              </mc:Choice>
              <mc:Fallback>
                <p:oleObj name="think-cell Folie" r:id="rId249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425A59-5262-C698-0D70-ABDA8A0ED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11E70A-1276-5902-CC63-E11E79048CF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0736DCC-2E91-457A-82BE-F3FBCC26CA06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FE55FC-EA84-A09C-3C33-07F9CC7F9CE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lvl="0">
              <a:defRPr/>
            </a:pPr>
            <a:r>
              <a:rPr lang="de-DE" dirty="0" err="1">
                <a:solidFill>
                  <a:srgbClr val="000000">
                    <a:tint val="75000"/>
                  </a:srgbClr>
                </a:solidFill>
              </a:rPr>
              <a:t>Cybersecurity</a:t>
            </a:r>
            <a:r>
              <a:rPr lang="de-DE" dirty="0">
                <a:solidFill>
                  <a:srgbClr val="000000">
                    <a:tint val="75000"/>
                  </a:srgbClr>
                </a:solidFill>
              </a:rPr>
              <a:t> Summit Hamburg | NIS-2 und die sichere Lieferkette</a:t>
            </a: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CCDD069-B209-5600-8CAA-C7ED9A01E3D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67" name="Inhaltsplatzhalter 266">
            <a:extLst>
              <a:ext uri="{FF2B5EF4-FFF2-40B4-BE49-F238E27FC236}">
                <a16:creationId xmlns:a16="http://schemas.microsoft.com/office/drawing/2014/main" id="{0D8291A6-DD8D-A6D6-C8D0-695DCA93EF48}"/>
              </a:ext>
            </a:extLst>
          </p:cNvPr>
          <p:cNvSpPr>
            <a:spLocks noGrp="1"/>
          </p:cNvSpPr>
          <p:nvPr>
            <p:ph sz="quarter" idx="23"/>
            <p:custDataLst>
              <p:tags r:id="rId245"/>
            </p:custDataLst>
          </p:nvPr>
        </p:nvSpPr>
        <p:spPr>
          <a:xfrm>
            <a:off x="576259" y="1511300"/>
            <a:ext cx="5183982" cy="4321175"/>
          </a:xfrm>
          <a:solidFill>
            <a:schemeClr val="bg2">
              <a:alpha val="70000"/>
            </a:schemeClr>
          </a:solidFill>
        </p:spPr>
        <p:txBody>
          <a:bodyPr lIns="108000" tIns="45720" rIns="91440" bIns="45720"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>
                <a:solidFill>
                  <a:schemeClr val="accent1"/>
                </a:solidFill>
                <a:latin typeface="+mj-lt"/>
              </a:rPr>
              <a:t>EU NIS-2-Richtlinie</a:t>
            </a:r>
          </a:p>
          <a:p>
            <a:pPr>
              <a:lnSpc>
                <a:spcPct val="100000"/>
              </a:lnSpc>
            </a:pPr>
            <a:r>
              <a:rPr lang="de-DE" sz="1200" dirty="0">
                <a:latin typeface="+mj-lt"/>
              </a:rPr>
              <a:t>Inkrafttreten:</a:t>
            </a:r>
            <a:r>
              <a:rPr lang="de-DE" sz="1200" dirty="0"/>
              <a:t> Januar 2023</a:t>
            </a:r>
          </a:p>
          <a:p>
            <a:pPr>
              <a:lnSpc>
                <a:spcPct val="100000"/>
              </a:lnSpc>
            </a:pPr>
            <a:r>
              <a:rPr lang="de-DE" sz="1200" dirty="0">
                <a:latin typeface="+mj-lt"/>
              </a:rPr>
              <a:t>Ziel: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Einheitlich hohes Cybersicherheitsniveau in der gesamten EU</a:t>
            </a:r>
          </a:p>
          <a:p>
            <a:pPr>
              <a:lnSpc>
                <a:spcPct val="100000"/>
              </a:lnSpc>
            </a:pPr>
            <a:r>
              <a:rPr lang="de-DE" sz="1200" dirty="0">
                <a:latin typeface="+mj-lt"/>
              </a:rPr>
              <a:t>Wesentliche Inhalte: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Deutlich erweiterter Anwendungsbereich </a:t>
            </a:r>
            <a:br>
              <a:rPr lang="de-DE" sz="1200" dirty="0"/>
            </a:br>
            <a:r>
              <a:rPr lang="de-DE" sz="1200" dirty="0"/>
              <a:t>(mehr Branchen &amp; Unternehmen)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Strengere Sicherheitsanforderungen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Klare Meldepflichten bei Sicherheitsvorfällen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Höhere Bußgelder bei Verstößen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Stärkere persönliche Verantwortung der Geschäftsleitung</a:t>
            </a:r>
          </a:p>
        </p:txBody>
      </p:sp>
      <p:sp>
        <p:nvSpPr>
          <p:cNvPr id="268" name="Inhaltsplatzhalter 267">
            <a:extLst>
              <a:ext uri="{FF2B5EF4-FFF2-40B4-BE49-F238E27FC236}">
                <a16:creationId xmlns:a16="http://schemas.microsoft.com/office/drawing/2014/main" id="{E43CCEB1-1A91-7E3C-E91B-86EE77A96208}"/>
              </a:ext>
            </a:extLst>
          </p:cNvPr>
          <p:cNvSpPr>
            <a:spLocks noGrp="1"/>
          </p:cNvSpPr>
          <p:nvPr>
            <p:ph sz="quarter" idx="24"/>
            <p:custDataLst>
              <p:tags r:id="rId246"/>
            </p:custDataLst>
          </p:nvPr>
        </p:nvSpPr>
        <p:spPr>
          <a:xfrm>
            <a:off x="5760241" y="1511300"/>
            <a:ext cx="5183982" cy="4321175"/>
          </a:xfrm>
          <a:solidFill>
            <a:schemeClr val="bg2">
              <a:alpha val="70000"/>
            </a:schemeClr>
          </a:solidFill>
        </p:spPr>
        <p:txBody>
          <a:bodyPr lIns="108000" tIns="45720" rIns="18000" bIns="45720"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>
                <a:solidFill>
                  <a:schemeClr val="accent1"/>
                </a:solidFill>
                <a:latin typeface="+mj-lt"/>
              </a:rPr>
              <a:t>NIS-2-Umsetzungsgesetz / BSI-Gesetz</a:t>
            </a:r>
          </a:p>
          <a:p>
            <a:pPr>
              <a:lnSpc>
                <a:spcPct val="100000"/>
              </a:lnSpc>
            </a:pPr>
            <a:r>
              <a:rPr lang="de-DE" sz="1200" dirty="0">
                <a:latin typeface="+mj-lt"/>
              </a:rPr>
              <a:t>Inkrafttreten: </a:t>
            </a:r>
            <a:r>
              <a:rPr lang="de-DE" sz="1200" dirty="0"/>
              <a:t>Dezember</a:t>
            </a:r>
            <a:r>
              <a:rPr lang="de-DE" sz="1200" dirty="0">
                <a:latin typeface="+mj-lt"/>
              </a:rPr>
              <a:t> </a:t>
            </a:r>
            <a:r>
              <a:rPr lang="de-DE" sz="1200" dirty="0"/>
              <a:t>2025</a:t>
            </a:r>
          </a:p>
          <a:p>
            <a:pPr>
              <a:lnSpc>
                <a:spcPct val="100000"/>
              </a:lnSpc>
            </a:pPr>
            <a:r>
              <a:rPr lang="de-DE" sz="1200" dirty="0">
                <a:latin typeface="+mj-lt"/>
              </a:rPr>
              <a:t>Gesetz: </a:t>
            </a:r>
            <a:r>
              <a:rPr lang="de-DE" sz="1200" dirty="0"/>
              <a:t>NIS-2-Umsetzungsgesetz dient der Anpassung und Novellierung des BSIG </a:t>
            </a:r>
            <a:r>
              <a:rPr lang="de-DE" sz="1200" dirty="0">
                <a:sym typeface="Wingdings" panose="05000000000000000000" pitchFamily="2" charset="2"/>
              </a:rPr>
              <a:t> rechtlich bindend ist somit das BSIG</a:t>
            </a:r>
            <a:endParaRPr lang="de-DE" sz="1200" dirty="0"/>
          </a:p>
          <a:p>
            <a:pPr>
              <a:lnSpc>
                <a:spcPct val="100000"/>
              </a:lnSpc>
            </a:pPr>
            <a:r>
              <a:rPr lang="de-DE" sz="1200" dirty="0">
                <a:latin typeface="+mj-lt"/>
              </a:rPr>
              <a:t>Betroffene Unternehmen: 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KRITIS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Besonders wichtige Einrichtungen </a:t>
            </a:r>
            <a:br>
              <a:rPr lang="de-DE" sz="1200" dirty="0"/>
            </a:br>
            <a:r>
              <a:rPr lang="de-DE" sz="1200" dirty="0"/>
              <a:t>(≥250 MA oder ≥50 Mio. € Umsatz und ≥43 Mio. € Bilanzsumme)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Wichtige Einrichtungen</a:t>
            </a:r>
            <a:br>
              <a:rPr lang="de-DE" sz="1200" dirty="0"/>
            </a:br>
            <a:r>
              <a:rPr lang="de-DE" sz="1200" dirty="0"/>
              <a:t>(≥50 MA oder ≥10 Mio. € Umsatz und Bilanzsumme)</a:t>
            </a:r>
          </a:p>
          <a:p>
            <a:pPr>
              <a:lnSpc>
                <a:spcPct val="100000"/>
              </a:lnSpc>
            </a:pPr>
            <a:r>
              <a:rPr lang="de-DE" sz="1200" dirty="0">
                <a:latin typeface="+mj-lt"/>
              </a:rPr>
              <a:t>Zentrale Pflichten: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Risikomanagement &amp; Sicherheitsmaßnahmen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Meldepflichten (Frühwarnung: 24h, Vorfallmeldung: 72h)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 err="1"/>
              <a:t>Incident</a:t>
            </a:r>
            <a:r>
              <a:rPr lang="de-DE" sz="1200" dirty="0"/>
              <a:t> Response, Business Continuity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Lieferkettensicherheit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/>
              <a:t>Verantwortung der Geschäftsleitung</a:t>
            </a:r>
          </a:p>
          <a:p>
            <a:pPr lvl="1">
              <a:lnSpc>
                <a:spcPct val="100000"/>
              </a:lnSpc>
            </a:pPr>
            <a:endParaRPr lang="de-DE" sz="1200" dirty="0"/>
          </a:p>
        </p:txBody>
      </p:sp>
      <p:sp>
        <p:nvSpPr>
          <p:cNvPr id="272" name="Titel 271">
            <a:extLst>
              <a:ext uri="{FF2B5EF4-FFF2-40B4-BE49-F238E27FC236}">
                <a16:creationId xmlns:a16="http://schemas.microsoft.com/office/drawing/2014/main" id="{C238412B-3B0D-D400-91B1-2359C0A1B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latin typeface="Axiforma for Sec Black" pitchFamily="2" charset="0"/>
              </a:rPr>
              <a:t>NIS-2 Einstieg</a:t>
            </a:r>
            <a:br>
              <a:rPr lang="de-DE" sz="3200" dirty="0">
                <a:solidFill>
                  <a:schemeClr val="accent1"/>
                </a:solidFill>
                <a:latin typeface="Axiforma for Sec Black" pitchFamily="2" charset="0"/>
              </a:rPr>
            </a:br>
            <a:r>
              <a:rPr lang="de-DE" dirty="0">
                <a:latin typeface="Axiforma for Sec" pitchFamily="2" charset="0"/>
              </a:rPr>
              <a:t>NIS-2 Richtlinie und das NIS-2-Umsetzungsgesetz</a:t>
            </a: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2E3576D1-9118-9753-CC91-3AF6EE94667F}"/>
              </a:ext>
            </a:extLst>
          </p:cNvPr>
          <p:cNvSpPr/>
          <p:nvPr/>
        </p:nvSpPr>
        <p:spPr>
          <a:xfrm>
            <a:off x="576259" y="5696549"/>
            <a:ext cx="10367964" cy="360363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</a:rPr>
              <a:t>Sanktionen: </a:t>
            </a:r>
            <a:r>
              <a:rPr lang="de-DE" sz="1400" dirty="0"/>
              <a:t>Bußgelder bis zu 10 Mio. € oder 2 % des weltweiten Jahresumsatzes (je nach Kategorie)</a:t>
            </a:r>
          </a:p>
        </p:txBody>
      </p: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E055C1D5-BC79-D89C-ED46-000524D5A65D}"/>
              </a:ext>
            </a:extLst>
          </p:cNvPr>
          <p:cNvCxnSpPr>
            <a:cxnSpLocks/>
          </p:cNvCxnSpPr>
          <p:nvPr/>
        </p:nvCxnSpPr>
        <p:spPr>
          <a:xfrm>
            <a:off x="5652232" y="1619907"/>
            <a:ext cx="0" cy="386083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1758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D31E0D3-8631-58E4-8D3F-DB4106545AD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018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1" progId="TCLayout.ActiveDocument.1">
                  <p:embed/>
                </p:oleObj>
              </mc:Choice>
              <mc:Fallback>
                <p:oleObj name="think-cell Folie" r:id="rId18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D31E0D3-8631-58E4-8D3F-DB4106545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90A4E4B-2597-2B5B-6A85-C5CDCC4F763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27200" y="6120000"/>
            <a:ext cx="732439" cy="360001"/>
          </a:xfrm>
        </p:spPr>
        <p:txBody>
          <a:bodyPr/>
          <a:lstStyle/>
          <a:p>
            <a:fld id="{3DA47FA7-EB67-4367-9518-46B0C8E615A7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42208-F308-760B-E5CD-C58B42097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9639" y="6120000"/>
            <a:ext cx="8484584" cy="360001"/>
          </a:xfrm>
        </p:spPr>
        <p:txBody>
          <a:bodyPr/>
          <a:lstStyle/>
          <a:p>
            <a:pPr lvl="0">
              <a:defRPr/>
            </a:pPr>
            <a:r>
              <a:rPr lang="de-DE" dirty="0" err="1">
                <a:solidFill>
                  <a:srgbClr val="000000">
                    <a:tint val="75000"/>
                  </a:srgbClr>
                </a:solidFill>
              </a:rPr>
              <a:t>Cybersecurity</a:t>
            </a:r>
            <a:r>
              <a:rPr lang="de-DE" dirty="0">
                <a:solidFill>
                  <a:srgbClr val="000000">
                    <a:tint val="75000"/>
                  </a:srgbClr>
                </a:solidFill>
              </a:rPr>
              <a:t> Summit Hamburg | NIS-2 und die sichere Lieferkette</a:t>
            </a: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67E0835-BFD4-2F41-1910-166C212C0E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63" y="6119684"/>
            <a:ext cx="431736" cy="360001"/>
          </a:xfrm>
        </p:spPr>
        <p:txBody>
          <a:bodyPr/>
          <a:lstStyle/>
          <a:p>
            <a:fld id="{31B7CF8D-B682-4A81-B147-3F908074421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EA7F958-6B37-994A-CB1E-5FCE3F9E6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10367961" cy="1008064"/>
          </a:xfrm>
        </p:spPr>
        <p:txBody>
          <a:bodyPr vert="horz"/>
          <a:lstStyle/>
          <a:p>
            <a:r>
              <a:rPr lang="de-DE" dirty="0"/>
              <a:t>NIS-2 Einstieg</a:t>
            </a:r>
            <a:br>
              <a:rPr lang="de-DE" dirty="0"/>
            </a:br>
            <a:r>
              <a:rPr lang="de-DE" dirty="0">
                <a:latin typeface="Axiforma for Sec" pitchFamily="2" charset="0"/>
              </a:rPr>
              <a:t>Vorgehensweise</a:t>
            </a:r>
            <a:endParaRPr lang="en-US" dirty="0">
              <a:latin typeface="Axiforma for Sec" pitchFamily="2" charset="0"/>
            </a:endParaRP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AC9D12A6-B62B-49D4-AF9F-4756DEAED93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0244" y="1511300"/>
            <a:ext cx="2700000" cy="720793"/>
          </a:xfrm>
          <a:custGeom>
            <a:avLst/>
            <a:gdLst>
              <a:gd name="T0" fmla="*/ 6211 w 7091"/>
              <a:gd name="T1" fmla="*/ 0 h 3105"/>
              <a:gd name="T2" fmla="*/ 0 w 7091"/>
              <a:gd name="T3" fmla="*/ 0 h 3105"/>
              <a:gd name="T4" fmla="*/ 908 w 7091"/>
              <a:gd name="T5" fmla="*/ 1551 h 3105"/>
              <a:gd name="T6" fmla="*/ 0 w 7091"/>
              <a:gd name="T7" fmla="*/ 3104 h 3105"/>
              <a:gd name="T8" fmla="*/ 6211 w 7091"/>
              <a:gd name="T9" fmla="*/ 3104 h 3105"/>
              <a:gd name="T10" fmla="*/ 7090 w 7091"/>
              <a:gd name="T11" fmla="*/ 1551 h 3105"/>
              <a:gd name="T12" fmla="*/ 6211 w 7091"/>
              <a:gd name="T13" fmla="*/ 0 h 3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91" h="3105">
                <a:moveTo>
                  <a:pt x="6211" y="0"/>
                </a:moveTo>
                <a:lnTo>
                  <a:pt x="0" y="0"/>
                </a:lnTo>
                <a:lnTo>
                  <a:pt x="908" y="1551"/>
                </a:lnTo>
                <a:lnTo>
                  <a:pt x="0" y="3104"/>
                </a:lnTo>
                <a:lnTo>
                  <a:pt x="6211" y="3104"/>
                </a:lnTo>
                <a:lnTo>
                  <a:pt x="7090" y="1551"/>
                </a:lnTo>
                <a:lnTo>
                  <a:pt x="6211" y="0"/>
                </a:lnTo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10800000" scaled="1"/>
            <a:tileRect/>
          </a:gradFill>
          <a:ln w="50800" cap="rnd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lvl="0" algn="ctr">
              <a:defRPr/>
            </a:pPr>
            <a:r>
              <a:rPr lang="de-DE" sz="1400" dirty="0">
                <a:solidFill>
                  <a:schemeClr val="bg1"/>
                </a:solidFill>
                <a:latin typeface="Axiforma for Sec Black"/>
              </a:rPr>
              <a:t>Betroffenheits-</a:t>
            </a:r>
          </a:p>
          <a:p>
            <a:pPr lvl="0" algn="ctr">
              <a:defRPr/>
            </a:pPr>
            <a:r>
              <a:rPr lang="de-DE" sz="1400" dirty="0">
                <a:solidFill>
                  <a:schemeClr val="bg1"/>
                </a:solidFill>
                <a:latin typeface="Axiforma for Sec Black"/>
              </a:rPr>
              <a:t>analyse</a:t>
            </a: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5B16478E-354D-468D-9FF7-6E555493BDC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15248" y="1511300"/>
            <a:ext cx="2700000" cy="720793"/>
          </a:xfrm>
          <a:custGeom>
            <a:avLst/>
            <a:gdLst>
              <a:gd name="T0" fmla="*/ 6211 w 7091"/>
              <a:gd name="T1" fmla="*/ 0 h 3105"/>
              <a:gd name="T2" fmla="*/ 0 w 7091"/>
              <a:gd name="T3" fmla="*/ 0 h 3105"/>
              <a:gd name="T4" fmla="*/ 908 w 7091"/>
              <a:gd name="T5" fmla="*/ 1551 h 3105"/>
              <a:gd name="T6" fmla="*/ 0 w 7091"/>
              <a:gd name="T7" fmla="*/ 3104 h 3105"/>
              <a:gd name="T8" fmla="*/ 6211 w 7091"/>
              <a:gd name="T9" fmla="*/ 3104 h 3105"/>
              <a:gd name="T10" fmla="*/ 7090 w 7091"/>
              <a:gd name="T11" fmla="*/ 1551 h 3105"/>
              <a:gd name="T12" fmla="*/ 6211 w 7091"/>
              <a:gd name="T13" fmla="*/ 0 h 3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91" h="3105">
                <a:moveTo>
                  <a:pt x="6211" y="0"/>
                </a:moveTo>
                <a:lnTo>
                  <a:pt x="0" y="0"/>
                </a:lnTo>
                <a:lnTo>
                  <a:pt x="908" y="1551"/>
                </a:lnTo>
                <a:lnTo>
                  <a:pt x="0" y="3104"/>
                </a:lnTo>
                <a:lnTo>
                  <a:pt x="6211" y="3104"/>
                </a:lnTo>
                <a:lnTo>
                  <a:pt x="7090" y="1551"/>
                </a:lnTo>
                <a:lnTo>
                  <a:pt x="6211" y="0"/>
                </a:lnTo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10800000" scaled="1"/>
            <a:tileRect/>
          </a:gradFill>
          <a:ln w="50800" cap="rnd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lvl="0" algn="ctr">
              <a:defRPr/>
            </a:pPr>
            <a:r>
              <a:rPr lang="de-DE" sz="1400" dirty="0">
                <a:solidFill>
                  <a:schemeClr val="bg1"/>
                </a:solidFill>
                <a:latin typeface="Axiforma for Sec Black"/>
              </a:rPr>
              <a:t>Kategorisierung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xiforma for Sec Black"/>
              <a:ea typeface="+mn-ea"/>
              <a:cs typeface="+mn-cs"/>
            </a:endParaRPr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B28580F9-4DD0-4205-B4F5-2240867F6C7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90463" y="1511300"/>
            <a:ext cx="2158786" cy="720577"/>
          </a:xfrm>
          <a:custGeom>
            <a:avLst/>
            <a:gdLst>
              <a:gd name="T0" fmla="*/ 6211 w 7091"/>
              <a:gd name="T1" fmla="*/ 0 h 3105"/>
              <a:gd name="T2" fmla="*/ 0 w 7091"/>
              <a:gd name="T3" fmla="*/ 0 h 3105"/>
              <a:gd name="T4" fmla="*/ 908 w 7091"/>
              <a:gd name="T5" fmla="*/ 1551 h 3105"/>
              <a:gd name="T6" fmla="*/ 0 w 7091"/>
              <a:gd name="T7" fmla="*/ 3104 h 3105"/>
              <a:gd name="T8" fmla="*/ 6211 w 7091"/>
              <a:gd name="T9" fmla="*/ 3104 h 3105"/>
              <a:gd name="T10" fmla="*/ 7090 w 7091"/>
              <a:gd name="T11" fmla="*/ 1551 h 3105"/>
              <a:gd name="T12" fmla="*/ 6211 w 7091"/>
              <a:gd name="T13" fmla="*/ 0 h 3105"/>
              <a:gd name="connsiteX0" fmla="*/ 8759 w 9999"/>
              <a:gd name="connsiteY0" fmla="*/ 0 h 9997"/>
              <a:gd name="connsiteX1" fmla="*/ 0 w 9999"/>
              <a:gd name="connsiteY1" fmla="*/ 0 h 9997"/>
              <a:gd name="connsiteX2" fmla="*/ 1869 w 9999"/>
              <a:gd name="connsiteY2" fmla="*/ 5090 h 9997"/>
              <a:gd name="connsiteX3" fmla="*/ 0 w 9999"/>
              <a:gd name="connsiteY3" fmla="*/ 9997 h 9997"/>
              <a:gd name="connsiteX4" fmla="*/ 8759 w 9999"/>
              <a:gd name="connsiteY4" fmla="*/ 9997 h 9997"/>
              <a:gd name="connsiteX5" fmla="*/ 9999 w 9999"/>
              <a:gd name="connsiteY5" fmla="*/ 4995 h 9997"/>
              <a:gd name="connsiteX6" fmla="*/ 8759 w 9999"/>
              <a:gd name="connsiteY6" fmla="*/ 0 h 9997"/>
              <a:gd name="connsiteX0" fmla="*/ 8760 w 10000"/>
              <a:gd name="connsiteY0" fmla="*/ 0 h 10000"/>
              <a:gd name="connsiteX1" fmla="*/ 0 w 10000"/>
              <a:gd name="connsiteY1" fmla="*/ 0 h 10000"/>
              <a:gd name="connsiteX2" fmla="*/ 1771 w 10000"/>
              <a:gd name="connsiteY2" fmla="*/ 4808 h 10000"/>
              <a:gd name="connsiteX3" fmla="*/ 0 w 10000"/>
              <a:gd name="connsiteY3" fmla="*/ 10000 h 10000"/>
              <a:gd name="connsiteX4" fmla="*/ 8760 w 10000"/>
              <a:gd name="connsiteY4" fmla="*/ 10000 h 10000"/>
              <a:gd name="connsiteX5" fmla="*/ 10000 w 10000"/>
              <a:gd name="connsiteY5" fmla="*/ 4996 h 10000"/>
              <a:gd name="connsiteX6" fmla="*/ 8760 w 10000"/>
              <a:gd name="connsiteY6" fmla="*/ 0 h 10000"/>
              <a:gd name="connsiteX0" fmla="*/ 8760 w 10000"/>
              <a:gd name="connsiteY0" fmla="*/ 0 h 10000"/>
              <a:gd name="connsiteX1" fmla="*/ 0 w 10000"/>
              <a:gd name="connsiteY1" fmla="*/ 0 h 10000"/>
              <a:gd name="connsiteX2" fmla="*/ 1673 w 10000"/>
              <a:gd name="connsiteY2" fmla="*/ 4997 h 10000"/>
              <a:gd name="connsiteX3" fmla="*/ 0 w 10000"/>
              <a:gd name="connsiteY3" fmla="*/ 10000 h 10000"/>
              <a:gd name="connsiteX4" fmla="*/ 8760 w 10000"/>
              <a:gd name="connsiteY4" fmla="*/ 10000 h 10000"/>
              <a:gd name="connsiteX5" fmla="*/ 10000 w 10000"/>
              <a:gd name="connsiteY5" fmla="*/ 4996 h 10000"/>
              <a:gd name="connsiteX6" fmla="*/ 8760 w 10000"/>
              <a:gd name="connsiteY6" fmla="*/ 0 h 10000"/>
              <a:gd name="connsiteX0" fmla="*/ 8760 w 10167"/>
              <a:gd name="connsiteY0" fmla="*/ 0 h 10000"/>
              <a:gd name="connsiteX1" fmla="*/ 0 w 10167"/>
              <a:gd name="connsiteY1" fmla="*/ 0 h 10000"/>
              <a:gd name="connsiteX2" fmla="*/ 1673 w 10167"/>
              <a:gd name="connsiteY2" fmla="*/ 4997 h 10000"/>
              <a:gd name="connsiteX3" fmla="*/ 0 w 10167"/>
              <a:gd name="connsiteY3" fmla="*/ 10000 h 10000"/>
              <a:gd name="connsiteX4" fmla="*/ 8760 w 10167"/>
              <a:gd name="connsiteY4" fmla="*/ 10000 h 10000"/>
              <a:gd name="connsiteX5" fmla="*/ 10167 w 10167"/>
              <a:gd name="connsiteY5" fmla="*/ 4952 h 10000"/>
              <a:gd name="connsiteX6" fmla="*/ 8760 w 10167"/>
              <a:gd name="connsiteY6" fmla="*/ 0 h 10000"/>
              <a:gd name="connsiteX0" fmla="*/ 8760 w 10228"/>
              <a:gd name="connsiteY0" fmla="*/ 0 h 10000"/>
              <a:gd name="connsiteX1" fmla="*/ 0 w 10228"/>
              <a:gd name="connsiteY1" fmla="*/ 0 h 10000"/>
              <a:gd name="connsiteX2" fmla="*/ 1673 w 10228"/>
              <a:gd name="connsiteY2" fmla="*/ 4997 h 10000"/>
              <a:gd name="connsiteX3" fmla="*/ 0 w 10228"/>
              <a:gd name="connsiteY3" fmla="*/ 10000 h 10000"/>
              <a:gd name="connsiteX4" fmla="*/ 8760 w 10228"/>
              <a:gd name="connsiteY4" fmla="*/ 10000 h 10000"/>
              <a:gd name="connsiteX5" fmla="*/ 10228 w 10228"/>
              <a:gd name="connsiteY5" fmla="*/ 4952 h 10000"/>
              <a:gd name="connsiteX6" fmla="*/ 8760 w 10228"/>
              <a:gd name="connsiteY6" fmla="*/ 0 h 10000"/>
              <a:gd name="connsiteX0" fmla="*/ 8760 w 10304"/>
              <a:gd name="connsiteY0" fmla="*/ 0 h 10000"/>
              <a:gd name="connsiteX1" fmla="*/ 0 w 10304"/>
              <a:gd name="connsiteY1" fmla="*/ 0 h 10000"/>
              <a:gd name="connsiteX2" fmla="*/ 1673 w 10304"/>
              <a:gd name="connsiteY2" fmla="*/ 4997 h 10000"/>
              <a:gd name="connsiteX3" fmla="*/ 0 w 10304"/>
              <a:gd name="connsiteY3" fmla="*/ 10000 h 10000"/>
              <a:gd name="connsiteX4" fmla="*/ 8760 w 10304"/>
              <a:gd name="connsiteY4" fmla="*/ 10000 h 10000"/>
              <a:gd name="connsiteX5" fmla="*/ 10304 w 10304"/>
              <a:gd name="connsiteY5" fmla="*/ 4952 h 10000"/>
              <a:gd name="connsiteX6" fmla="*/ 8760 w 10304"/>
              <a:gd name="connsiteY6" fmla="*/ 0 h 10000"/>
              <a:gd name="connsiteX0" fmla="*/ 8760 w 10350"/>
              <a:gd name="connsiteY0" fmla="*/ 0 h 10000"/>
              <a:gd name="connsiteX1" fmla="*/ 0 w 10350"/>
              <a:gd name="connsiteY1" fmla="*/ 0 h 10000"/>
              <a:gd name="connsiteX2" fmla="*/ 1673 w 10350"/>
              <a:gd name="connsiteY2" fmla="*/ 4997 h 10000"/>
              <a:gd name="connsiteX3" fmla="*/ 0 w 10350"/>
              <a:gd name="connsiteY3" fmla="*/ 10000 h 10000"/>
              <a:gd name="connsiteX4" fmla="*/ 8760 w 10350"/>
              <a:gd name="connsiteY4" fmla="*/ 10000 h 10000"/>
              <a:gd name="connsiteX5" fmla="*/ 10350 w 10350"/>
              <a:gd name="connsiteY5" fmla="*/ 4952 h 10000"/>
              <a:gd name="connsiteX6" fmla="*/ 8760 w 10350"/>
              <a:gd name="connsiteY6" fmla="*/ 0 h 10000"/>
              <a:gd name="connsiteX0" fmla="*/ 8760 w 10350"/>
              <a:gd name="connsiteY0" fmla="*/ 0 h 10000"/>
              <a:gd name="connsiteX1" fmla="*/ 0 w 10350"/>
              <a:gd name="connsiteY1" fmla="*/ 0 h 10000"/>
              <a:gd name="connsiteX2" fmla="*/ 1673 w 10350"/>
              <a:gd name="connsiteY2" fmla="*/ 4997 h 10000"/>
              <a:gd name="connsiteX3" fmla="*/ 0 w 10350"/>
              <a:gd name="connsiteY3" fmla="*/ 10000 h 10000"/>
              <a:gd name="connsiteX4" fmla="*/ 8678 w 10350"/>
              <a:gd name="connsiteY4" fmla="*/ 10000 h 10000"/>
              <a:gd name="connsiteX5" fmla="*/ 10350 w 10350"/>
              <a:gd name="connsiteY5" fmla="*/ 4952 h 10000"/>
              <a:gd name="connsiteX6" fmla="*/ 8760 w 10350"/>
              <a:gd name="connsiteY6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50" h="10000">
                <a:moveTo>
                  <a:pt x="8760" y="0"/>
                </a:moveTo>
                <a:lnTo>
                  <a:pt x="0" y="0"/>
                </a:lnTo>
                <a:lnTo>
                  <a:pt x="1673" y="4997"/>
                </a:lnTo>
                <a:lnTo>
                  <a:pt x="0" y="10000"/>
                </a:lnTo>
                <a:lnTo>
                  <a:pt x="8678" y="10000"/>
                </a:lnTo>
                <a:lnTo>
                  <a:pt x="10350" y="4952"/>
                </a:lnTo>
                <a:lnTo>
                  <a:pt x="8760" y="0"/>
                </a:lnTo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10800000" scaled="1"/>
            <a:tileRect/>
          </a:gradFill>
          <a:ln w="50800" cap="rnd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lvl="0" algn="ctr">
              <a:defRPr/>
            </a:pPr>
            <a:r>
              <a:rPr lang="de-DE" sz="1400" dirty="0">
                <a:solidFill>
                  <a:schemeClr val="bg1"/>
                </a:solidFill>
                <a:latin typeface="Axiforma for Sec Black"/>
              </a:rPr>
              <a:t>Gap-Analyse</a:t>
            </a:r>
          </a:p>
        </p:txBody>
      </p:sp>
      <p:sp>
        <p:nvSpPr>
          <p:cNvPr id="16" name="Freeform 6">
            <a:extLst>
              <a:ext uri="{FF2B5EF4-FFF2-40B4-BE49-F238E27FC236}">
                <a16:creationId xmlns:a16="http://schemas.microsoft.com/office/drawing/2014/main" id="{96B46495-E81C-4359-B08A-806E5EB0D2D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721234" y="1511300"/>
            <a:ext cx="3255700" cy="722955"/>
          </a:xfrm>
          <a:custGeom>
            <a:avLst/>
            <a:gdLst>
              <a:gd name="T0" fmla="*/ 6211 w 7091"/>
              <a:gd name="T1" fmla="*/ 0 h 3105"/>
              <a:gd name="T2" fmla="*/ 0 w 7091"/>
              <a:gd name="T3" fmla="*/ 0 h 3105"/>
              <a:gd name="T4" fmla="*/ 908 w 7091"/>
              <a:gd name="T5" fmla="*/ 1551 h 3105"/>
              <a:gd name="T6" fmla="*/ 0 w 7091"/>
              <a:gd name="T7" fmla="*/ 3104 h 3105"/>
              <a:gd name="T8" fmla="*/ 6211 w 7091"/>
              <a:gd name="T9" fmla="*/ 3104 h 3105"/>
              <a:gd name="T10" fmla="*/ 7090 w 7091"/>
              <a:gd name="T11" fmla="*/ 1551 h 3105"/>
              <a:gd name="T12" fmla="*/ 6211 w 7091"/>
              <a:gd name="T13" fmla="*/ 0 h 3105"/>
              <a:gd name="connsiteX0" fmla="*/ 8759 w 9999"/>
              <a:gd name="connsiteY0" fmla="*/ 0 h 9997"/>
              <a:gd name="connsiteX1" fmla="*/ 0 w 9999"/>
              <a:gd name="connsiteY1" fmla="*/ 0 h 9997"/>
              <a:gd name="connsiteX2" fmla="*/ 1221 w 9999"/>
              <a:gd name="connsiteY2" fmla="*/ 4962 h 9997"/>
              <a:gd name="connsiteX3" fmla="*/ 0 w 9999"/>
              <a:gd name="connsiteY3" fmla="*/ 9997 h 9997"/>
              <a:gd name="connsiteX4" fmla="*/ 8759 w 9999"/>
              <a:gd name="connsiteY4" fmla="*/ 9997 h 9997"/>
              <a:gd name="connsiteX5" fmla="*/ 9999 w 9999"/>
              <a:gd name="connsiteY5" fmla="*/ 4995 h 9997"/>
              <a:gd name="connsiteX6" fmla="*/ 8759 w 9999"/>
              <a:gd name="connsiteY6" fmla="*/ 0 h 9997"/>
              <a:gd name="connsiteX0" fmla="*/ 8760 w 10000"/>
              <a:gd name="connsiteY0" fmla="*/ 0 h 10000"/>
              <a:gd name="connsiteX1" fmla="*/ 0 w 10000"/>
              <a:gd name="connsiteY1" fmla="*/ 0 h 10000"/>
              <a:gd name="connsiteX2" fmla="*/ 1184 w 10000"/>
              <a:gd name="connsiteY2" fmla="*/ 4963 h 10000"/>
              <a:gd name="connsiteX3" fmla="*/ 0 w 10000"/>
              <a:gd name="connsiteY3" fmla="*/ 10000 h 10000"/>
              <a:gd name="connsiteX4" fmla="*/ 8760 w 10000"/>
              <a:gd name="connsiteY4" fmla="*/ 10000 h 10000"/>
              <a:gd name="connsiteX5" fmla="*/ 10000 w 10000"/>
              <a:gd name="connsiteY5" fmla="*/ 4996 h 10000"/>
              <a:gd name="connsiteX6" fmla="*/ 8760 w 10000"/>
              <a:gd name="connsiteY6" fmla="*/ 0 h 10000"/>
              <a:gd name="connsiteX0" fmla="*/ 8760 w 10000"/>
              <a:gd name="connsiteY0" fmla="*/ 0 h 10000"/>
              <a:gd name="connsiteX1" fmla="*/ 0 w 10000"/>
              <a:gd name="connsiteY1" fmla="*/ 0 h 10000"/>
              <a:gd name="connsiteX2" fmla="*/ 1147 w 10000"/>
              <a:gd name="connsiteY2" fmla="*/ 4930 h 10000"/>
              <a:gd name="connsiteX3" fmla="*/ 0 w 10000"/>
              <a:gd name="connsiteY3" fmla="*/ 10000 h 10000"/>
              <a:gd name="connsiteX4" fmla="*/ 8760 w 10000"/>
              <a:gd name="connsiteY4" fmla="*/ 10000 h 10000"/>
              <a:gd name="connsiteX5" fmla="*/ 10000 w 10000"/>
              <a:gd name="connsiteY5" fmla="*/ 4996 h 10000"/>
              <a:gd name="connsiteX6" fmla="*/ 8760 w 10000"/>
              <a:gd name="connsiteY6" fmla="*/ 0 h 10000"/>
              <a:gd name="connsiteX0" fmla="*/ 8760 w 10000"/>
              <a:gd name="connsiteY0" fmla="*/ 0 h 10000"/>
              <a:gd name="connsiteX1" fmla="*/ 0 w 10000"/>
              <a:gd name="connsiteY1" fmla="*/ 0 h 10000"/>
              <a:gd name="connsiteX2" fmla="*/ 1103 w 10000"/>
              <a:gd name="connsiteY2" fmla="*/ 4831 h 10000"/>
              <a:gd name="connsiteX3" fmla="*/ 0 w 10000"/>
              <a:gd name="connsiteY3" fmla="*/ 10000 h 10000"/>
              <a:gd name="connsiteX4" fmla="*/ 8760 w 10000"/>
              <a:gd name="connsiteY4" fmla="*/ 10000 h 10000"/>
              <a:gd name="connsiteX5" fmla="*/ 10000 w 10000"/>
              <a:gd name="connsiteY5" fmla="*/ 4996 h 10000"/>
              <a:gd name="connsiteX6" fmla="*/ 8760 w 10000"/>
              <a:gd name="connsiteY6" fmla="*/ 0 h 10000"/>
              <a:gd name="connsiteX0" fmla="*/ 8760 w 10037"/>
              <a:gd name="connsiteY0" fmla="*/ 0 h 10000"/>
              <a:gd name="connsiteX1" fmla="*/ 0 w 10037"/>
              <a:gd name="connsiteY1" fmla="*/ 0 h 10000"/>
              <a:gd name="connsiteX2" fmla="*/ 1103 w 10037"/>
              <a:gd name="connsiteY2" fmla="*/ 4831 h 10000"/>
              <a:gd name="connsiteX3" fmla="*/ 0 w 10037"/>
              <a:gd name="connsiteY3" fmla="*/ 10000 h 10000"/>
              <a:gd name="connsiteX4" fmla="*/ 8760 w 10037"/>
              <a:gd name="connsiteY4" fmla="*/ 10000 h 10000"/>
              <a:gd name="connsiteX5" fmla="*/ 10037 w 10037"/>
              <a:gd name="connsiteY5" fmla="*/ 4897 h 10000"/>
              <a:gd name="connsiteX6" fmla="*/ 8760 w 10037"/>
              <a:gd name="connsiteY6" fmla="*/ 0 h 10000"/>
              <a:gd name="connsiteX0" fmla="*/ 8760 w 10037"/>
              <a:gd name="connsiteY0" fmla="*/ 0 h 10000"/>
              <a:gd name="connsiteX1" fmla="*/ 0 w 10037"/>
              <a:gd name="connsiteY1" fmla="*/ 0 h 10000"/>
              <a:gd name="connsiteX2" fmla="*/ 1103 w 10037"/>
              <a:gd name="connsiteY2" fmla="*/ 4831 h 10000"/>
              <a:gd name="connsiteX3" fmla="*/ 0 w 10037"/>
              <a:gd name="connsiteY3" fmla="*/ 10000 h 10000"/>
              <a:gd name="connsiteX4" fmla="*/ 8760 w 10037"/>
              <a:gd name="connsiteY4" fmla="*/ 10000 h 10000"/>
              <a:gd name="connsiteX5" fmla="*/ 10037 w 10037"/>
              <a:gd name="connsiteY5" fmla="*/ 4897 h 10000"/>
              <a:gd name="connsiteX6" fmla="*/ 8760 w 10037"/>
              <a:gd name="connsiteY6" fmla="*/ 0 h 10000"/>
              <a:gd name="connsiteX0" fmla="*/ 8760 w 10037"/>
              <a:gd name="connsiteY0" fmla="*/ 0 h 10000"/>
              <a:gd name="connsiteX1" fmla="*/ 0 w 10037"/>
              <a:gd name="connsiteY1" fmla="*/ 0 h 10000"/>
              <a:gd name="connsiteX2" fmla="*/ 1103 w 10037"/>
              <a:gd name="connsiteY2" fmla="*/ 4831 h 10000"/>
              <a:gd name="connsiteX3" fmla="*/ 0 w 10037"/>
              <a:gd name="connsiteY3" fmla="*/ 10000 h 10000"/>
              <a:gd name="connsiteX4" fmla="*/ 8760 w 10037"/>
              <a:gd name="connsiteY4" fmla="*/ 10000 h 10000"/>
              <a:gd name="connsiteX5" fmla="*/ 10037 w 10037"/>
              <a:gd name="connsiteY5" fmla="*/ 4897 h 10000"/>
              <a:gd name="connsiteX6" fmla="*/ 8855 w 10037"/>
              <a:gd name="connsiteY6" fmla="*/ 33 h 10000"/>
              <a:gd name="connsiteX0" fmla="*/ 8760 w 10037"/>
              <a:gd name="connsiteY0" fmla="*/ 0 h 10000"/>
              <a:gd name="connsiteX1" fmla="*/ 0 w 10037"/>
              <a:gd name="connsiteY1" fmla="*/ 0 h 10000"/>
              <a:gd name="connsiteX2" fmla="*/ 1103 w 10037"/>
              <a:gd name="connsiteY2" fmla="*/ 4831 h 10000"/>
              <a:gd name="connsiteX3" fmla="*/ 0 w 10037"/>
              <a:gd name="connsiteY3" fmla="*/ 10000 h 10000"/>
              <a:gd name="connsiteX4" fmla="*/ 8848 w 10037"/>
              <a:gd name="connsiteY4" fmla="*/ 10000 h 10000"/>
              <a:gd name="connsiteX5" fmla="*/ 10037 w 10037"/>
              <a:gd name="connsiteY5" fmla="*/ 4897 h 10000"/>
              <a:gd name="connsiteX6" fmla="*/ 8855 w 10037"/>
              <a:gd name="connsiteY6" fmla="*/ 33 h 10000"/>
              <a:gd name="connsiteX0" fmla="*/ 8760 w 10037"/>
              <a:gd name="connsiteY0" fmla="*/ 0 h 10033"/>
              <a:gd name="connsiteX1" fmla="*/ 0 w 10037"/>
              <a:gd name="connsiteY1" fmla="*/ 0 h 10033"/>
              <a:gd name="connsiteX2" fmla="*/ 1103 w 10037"/>
              <a:gd name="connsiteY2" fmla="*/ 4831 h 10033"/>
              <a:gd name="connsiteX3" fmla="*/ 0 w 10037"/>
              <a:gd name="connsiteY3" fmla="*/ 10000 h 10033"/>
              <a:gd name="connsiteX4" fmla="*/ 8870 w 10037"/>
              <a:gd name="connsiteY4" fmla="*/ 10033 h 10033"/>
              <a:gd name="connsiteX5" fmla="*/ 10037 w 10037"/>
              <a:gd name="connsiteY5" fmla="*/ 4897 h 10033"/>
              <a:gd name="connsiteX6" fmla="*/ 8855 w 10037"/>
              <a:gd name="connsiteY6" fmla="*/ 33 h 10033"/>
              <a:gd name="connsiteX0" fmla="*/ 8760 w 10037"/>
              <a:gd name="connsiteY0" fmla="*/ 0 h 10033"/>
              <a:gd name="connsiteX1" fmla="*/ 0 w 10037"/>
              <a:gd name="connsiteY1" fmla="*/ 0 h 10033"/>
              <a:gd name="connsiteX2" fmla="*/ 1103 w 10037"/>
              <a:gd name="connsiteY2" fmla="*/ 4831 h 10033"/>
              <a:gd name="connsiteX3" fmla="*/ 0 w 10037"/>
              <a:gd name="connsiteY3" fmla="*/ 10000 h 10033"/>
              <a:gd name="connsiteX4" fmla="*/ 8899 w 10037"/>
              <a:gd name="connsiteY4" fmla="*/ 10033 h 10033"/>
              <a:gd name="connsiteX5" fmla="*/ 10037 w 10037"/>
              <a:gd name="connsiteY5" fmla="*/ 4897 h 10033"/>
              <a:gd name="connsiteX6" fmla="*/ 8855 w 10037"/>
              <a:gd name="connsiteY6" fmla="*/ 33 h 10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7" h="10033">
                <a:moveTo>
                  <a:pt x="8760" y="0"/>
                </a:moveTo>
                <a:lnTo>
                  <a:pt x="0" y="0"/>
                </a:lnTo>
                <a:lnTo>
                  <a:pt x="1103" y="4831"/>
                </a:lnTo>
                <a:lnTo>
                  <a:pt x="0" y="10000"/>
                </a:lnTo>
                <a:lnTo>
                  <a:pt x="8899" y="10033"/>
                </a:lnTo>
                <a:lnTo>
                  <a:pt x="10037" y="4897"/>
                </a:lnTo>
                <a:lnTo>
                  <a:pt x="8855" y="33"/>
                </a:lnTo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10800000" scaled="1"/>
            <a:tileRect/>
          </a:gradFill>
          <a:ln w="50800" cap="rnd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lvl="0" algn="ctr">
              <a:defRPr/>
            </a:pPr>
            <a:r>
              <a:rPr lang="de-DE" sz="1400" dirty="0">
                <a:solidFill>
                  <a:schemeClr val="bg1"/>
                </a:solidFill>
                <a:latin typeface="Axiforma for Sec Black"/>
              </a:rPr>
              <a:t>Umsetz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C146A76-28C8-4979-B4AF-F9EB681AACB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78555" y="4032087"/>
            <a:ext cx="2306434" cy="330806"/>
          </a:xfrm>
          <a:prstGeom prst="rect">
            <a:avLst/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</a:rPr>
              <a:t>Sektor-Zugehörigkei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9611B42-AE89-4B2B-BA40-5941D8C515B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76264" y="4502835"/>
            <a:ext cx="2306434" cy="330806"/>
          </a:xfrm>
          <a:prstGeom prst="rect">
            <a:avLst/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</a:rPr>
              <a:t>Mitarbeiteranzah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4878318-FED4-41CC-A848-CF0F41489B1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78273" y="4973583"/>
            <a:ext cx="2306434" cy="330806"/>
          </a:xfrm>
          <a:prstGeom prst="rect">
            <a:avLst/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</a:rPr>
              <a:t>Jahresumsatz</a:t>
            </a:r>
          </a:p>
        </p:txBody>
      </p:sp>
      <p:sp>
        <p:nvSpPr>
          <p:cNvPr id="28" name="Rechteck: obere Ecken abgerundet 27">
            <a:extLst>
              <a:ext uri="{FF2B5EF4-FFF2-40B4-BE49-F238E27FC236}">
                <a16:creationId xmlns:a16="http://schemas.microsoft.com/office/drawing/2014/main" id="{7202071D-B55E-48C6-8F18-ACA261F130B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76264" y="5444332"/>
            <a:ext cx="2306434" cy="330806"/>
          </a:xfrm>
          <a:prstGeom prst="round2SameRect">
            <a:avLst>
              <a:gd name="adj1" fmla="val 0"/>
              <a:gd name="adj2" fmla="val 0"/>
            </a:avLst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</a:rPr>
              <a:t>Jahresbilanzsumme</a:t>
            </a:r>
          </a:p>
        </p:txBody>
      </p:sp>
      <p:sp>
        <p:nvSpPr>
          <p:cNvPr id="45" name="Rechteck: abgerundete Ecken 44">
            <a:extLst>
              <a:ext uri="{FF2B5EF4-FFF2-40B4-BE49-F238E27FC236}">
                <a16:creationId xmlns:a16="http://schemas.microsoft.com/office/drawing/2014/main" id="{6ED35645-9D06-4CEA-A5EA-9688B9F841E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177797" y="2386648"/>
            <a:ext cx="2298926" cy="503599"/>
          </a:xfrm>
          <a:prstGeom prst="roundRect">
            <a:avLst>
              <a:gd name="adj" fmla="val 0"/>
            </a:avLst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</a:rPr>
              <a:t>Besonders wichtige Einrichtungen</a:t>
            </a:r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769712BB-4037-4582-B123-4DE6A8138CE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177797" y="3034246"/>
            <a:ext cx="2298926" cy="331200"/>
          </a:xfrm>
          <a:prstGeom prst="roundRect">
            <a:avLst>
              <a:gd name="adj" fmla="val 0"/>
            </a:avLst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</a:rPr>
              <a:t>wichtige Einrichtungen</a:t>
            </a:r>
          </a:p>
        </p:txBody>
      </p:sp>
      <p:sp>
        <p:nvSpPr>
          <p:cNvPr id="48" name="Rechteck: obere Ecken abgerundet 47">
            <a:extLst>
              <a:ext uri="{FF2B5EF4-FFF2-40B4-BE49-F238E27FC236}">
                <a16:creationId xmlns:a16="http://schemas.microsoft.com/office/drawing/2014/main" id="{22F00E0F-B50D-4B1F-9B71-3318C5C4A41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3177797" y="4502834"/>
            <a:ext cx="2298926" cy="1272301"/>
          </a:xfrm>
          <a:prstGeom prst="round2SameRect">
            <a:avLst>
              <a:gd name="adj1" fmla="val 0"/>
              <a:gd name="adj2" fmla="val 0"/>
            </a:avLst>
          </a:prstGeom>
          <a:noFill/>
          <a:ln w="25400" cap="rnd"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189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</a:rPr>
              <a:t>Ableitung von Informationssicher-heitsanforderungen</a:t>
            </a:r>
          </a:p>
        </p:txBody>
      </p:sp>
      <p:sp>
        <p:nvSpPr>
          <p:cNvPr id="49" name="Pfeil: Fünfeck 48">
            <a:extLst>
              <a:ext uri="{FF2B5EF4-FFF2-40B4-BE49-F238E27FC236}">
                <a16:creationId xmlns:a16="http://schemas.microsoft.com/office/drawing/2014/main" id="{0B5887B5-512C-440B-898F-7B4BA379491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761038" y="2376487"/>
            <a:ext cx="1960196" cy="3398649"/>
          </a:xfrm>
          <a:prstGeom prst="homePlate">
            <a:avLst>
              <a:gd name="adj" fmla="val 12123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t"/>
          <a:lstStyle/>
          <a:p>
            <a:pPr algn="ctr"/>
            <a:r>
              <a:rPr lang="de-DE" sz="1200" dirty="0">
                <a:solidFill>
                  <a:schemeClr val="accent1"/>
                </a:solidFill>
                <a:latin typeface="+mj-lt"/>
              </a:rPr>
              <a:t>Reifegrad </a:t>
            </a:r>
          </a:p>
          <a:p>
            <a:pPr algn="ctr"/>
            <a:r>
              <a:rPr lang="de-DE" sz="1200" dirty="0">
                <a:solidFill>
                  <a:schemeClr val="accent1"/>
                </a:solidFill>
                <a:latin typeface="+mj-lt"/>
              </a:rPr>
              <a:t>Informations-sicherheit</a:t>
            </a: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2ED93271-0D3F-46FC-9D85-5469EB1C6BB7}"/>
              </a:ext>
            </a:extLst>
          </p:cNvPr>
          <p:cNvSpPr txBox="1">
            <a:spLocks/>
          </p:cNvSpPr>
          <p:nvPr/>
        </p:nvSpPr>
        <p:spPr>
          <a:xfrm>
            <a:off x="7802391" y="2376488"/>
            <a:ext cx="3139543" cy="3398650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>
            <a:lvl1pPr marL="0" indent="0" algn="l" defTabSz="864017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4" algn="l" defTabSz="864017" rtl="0" eaLnBrk="1" latinLnBrk="0" hangingPunct="1"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44000" algn="l" defTabSz="864017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864017" rtl="0" eaLnBrk="1" latinLnBrk="0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44000" algn="l" defTabSz="864017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046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054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/>
              <a:t>Informationssicherheits-Risikomanagement</a:t>
            </a:r>
          </a:p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/>
              <a:t>(Sicherheits-)Vorfallbehandlung</a:t>
            </a:r>
          </a:p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/>
              <a:t>Notfall- und Krisenmanagement</a:t>
            </a:r>
          </a:p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>
                <a:latin typeface="Axiforma for Sec Black" pitchFamily="2" charset="0"/>
              </a:rPr>
              <a:t>Informationssicherheit im Lieferantenmanagement</a:t>
            </a:r>
          </a:p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/>
              <a:t>Informationssicherheit im Lebenszyklus von Systemen, Komponenten und Prozessen </a:t>
            </a:r>
          </a:p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/>
              <a:t>Schulungen &amp; Sensibilisierung</a:t>
            </a:r>
          </a:p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/>
              <a:t>Kommunikationsverschlüsselung und Kryptografie </a:t>
            </a:r>
          </a:p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/>
              <a:t>Informationssicherheit im Personalwesen  </a:t>
            </a:r>
          </a:p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/>
              <a:t>Zutritts- und Zugriffskontrolle</a:t>
            </a:r>
          </a:p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/>
              <a:t>Verpflichtungen der Geschäftsleitung</a:t>
            </a:r>
          </a:p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/>
              <a:t>Registrierungspflicht</a:t>
            </a:r>
          </a:p>
          <a:p>
            <a:pPr lvl="1" indent="-216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100" dirty="0"/>
              <a:t>Meldepflichten</a:t>
            </a:r>
          </a:p>
        </p:txBody>
      </p:sp>
      <p:pic>
        <p:nvPicPr>
          <p:cNvPr id="63" name="Grafik 62">
            <a:extLst>
              <a:ext uri="{FF2B5EF4-FFF2-40B4-BE49-F238E27FC236}">
                <a16:creationId xmlns:a16="http://schemas.microsoft.com/office/drawing/2014/main" id="{E036CA98-857D-E4DC-339D-56ECD6435CC3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30848" y="3305313"/>
            <a:ext cx="432000" cy="432000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D8153FFB-E082-E12D-9DE5-8F6207D53D04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76263" y="3481287"/>
            <a:ext cx="432000" cy="432000"/>
          </a:xfrm>
          <a:prstGeom prst="rect">
            <a:avLst/>
          </a:prstGeom>
        </p:spPr>
      </p:pic>
      <p:sp>
        <p:nvSpPr>
          <p:cNvPr id="68" name="Freihandform: Form 67">
            <a:extLst>
              <a:ext uri="{FF2B5EF4-FFF2-40B4-BE49-F238E27FC236}">
                <a16:creationId xmlns:a16="http://schemas.microsoft.com/office/drawing/2014/main" id="{6A624DAC-E097-595C-E16C-A1D7E773B30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2565349" y="3565622"/>
            <a:ext cx="171707" cy="171707"/>
          </a:xfrm>
          <a:custGeom>
            <a:avLst/>
            <a:gdLst>
              <a:gd name="csX0" fmla="*/ 85854 w 171707"/>
              <a:gd name="csY0" fmla="*/ 0 h 171707"/>
              <a:gd name="csX1" fmla="*/ 0 w 171707"/>
              <a:gd name="csY1" fmla="*/ 85854 h 171707"/>
              <a:gd name="csX2" fmla="*/ 85854 w 171707"/>
              <a:gd name="csY2" fmla="*/ 171707 h 171707"/>
              <a:gd name="csX3" fmla="*/ 171707 w 171707"/>
              <a:gd name="csY3" fmla="*/ 85854 h 171707"/>
              <a:gd name="csX4" fmla="*/ 85854 w 171707"/>
              <a:gd name="csY4" fmla="*/ 0 h 171707"/>
              <a:gd name="csX5" fmla="*/ 91986 w 171707"/>
              <a:gd name="csY5" fmla="*/ 91986 h 171707"/>
              <a:gd name="csX6" fmla="*/ 120134 w 171707"/>
              <a:gd name="csY6" fmla="*/ 91986 h 171707"/>
              <a:gd name="csX7" fmla="*/ 91986 w 171707"/>
              <a:gd name="csY7" fmla="*/ 147852 h 171707"/>
              <a:gd name="csX8" fmla="*/ 91986 w 171707"/>
              <a:gd name="csY8" fmla="*/ 79721 h 171707"/>
              <a:gd name="csX9" fmla="*/ 91986 w 171707"/>
              <a:gd name="csY9" fmla="*/ 23794 h 171707"/>
              <a:gd name="csX10" fmla="*/ 120134 w 171707"/>
              <a:gd name="csY10" fmla="*/ 79721 h 171707"/>
              <a:gd name="csX11" fmla="*/ 79721 w 171707"/>
              <a:gd name="csY11" fmla="*/ 79721 h 171707"/>
              <a:gd name="csX12" fmla="*/ 52493 w 171707"/>
              <a:gd name="csY12" fmla="*/ 79721 h 171707"/>
              <a:gd name="csX13" fmla="*/ 79721 w 171707"/>
              <a:gd name="csY13" fmla="*/ 24530 h 171707"/>
              <a:gd name="csX14" fmla="*/ 79721 w 171707"/>
              <a:gd name="csY14" fmla="*/ 91986 h 171707"/>
              <a:gd name="csX15" fmla="*/ 79721 w 171707"/>
              <a:gd name="csY15" fmla="*/ 147178 h 171707"/>
              <a:gd name="csX16" fmla="*/ 52493 w 171707"/>
              <a:gd name="csY16" fmla="*/ 91986 h 171707"/>
              <a:gd name="csX17" fmla="*/ 40167 w 171707"/>
              <a:gd name="csY17" fmla="*/ 79721 h 171707"/>
              <a:gd name="csX18" fmla="*/ 13921 w 171707"/>
              <a:gd name="csY18" fmla="*/ 79721 h 171707"/>
              <a:gd name="csX19" fmla="*/ 71994 w 171707"/>
              <a:gd name="csY19" fmla="*/ 15024 h 171707"/>
              <a:gd name="csX20" fmla="*/ 40167 w 171707"/>
              <a:gd name="csY20" fmla="*/ 79721 h 171707"/>
              <a:gd name="csX21" fmla="*/ 40167 w 171707"/>
              <a:gd name="csY21" fmla="*/ 91986 h 171707"/>
              <a:gd name="csX22" fmla="*/ 72117 w 171707"/>
              <a:gd name="csY22" fmla="*/ 156744 h 171707"/>
              <a:gd name="csX23" fmla="*/ 13921 w 171707"/>
              <a:gd name="csY23" fmla="*/ 91986 h 171707"/>
              <a:gd name="csX24" fmla="*/ 132460 w 171707"/>
              <a:gd name="csY24" fmla="*/ 91986 h 171707"/>
              <a:gd name="csX25" fmla="*/ 157787 w 171707"/>
              <a:gd name="csY25" fmla="*/ 91986 h 171707"/>
              <a:gd name="csX26" fmla="*/ 100694 w 171707"/>
              <a:gd name="csY26" fmla="*/ 156499 h 171707"/>
              <a:gd name="csX27" fmla="*/ 132460 w 171707"/>
              <a:gd name="csY27" fmla="*/ 91986 h 171707"/>
              <a:gd name="csX28" fmla="*/ 132460 w 171707"/>
              <a:gd name="csY28" fmla="*/ 79721 h 171707"/>
              <a:gd name="csX29" fmla="*/ 100878 w 171707"/>
              <a:gd name="csY29" fmla="*/ 15270 h 171707"/>
              <a:gd name="csX30" fmla="*/ 157787 w 171707"/>
              <a:gd name="csY30" fmla="*/ 79721 h 1717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</a:cxnLst>
            <a:rect l="l" t="t" r="r" b="b"/>
            <a:pathLst>
              <a:path w="171707" h="171707">
                <a:moveTo>
                  <a:pt x="85854" y="0"/>
                </a:moveTo>
                <a:cubicBezTo>
                  <a:pt x="38438" y="0"/>
                  <a:pt x="0" y="38438"/>
                  <a:pt x="0" y="85854"/>
                </a:cubicBezTo>
                <a:cubicBezTo>
                  <a:pt x="0" y="133269"/>
                  <a:pt x="38438" y="171707"/>
                  <a:pt x="85854" y="171707"/>
                </a:cubicBezTo>
                <a:cubicBezTo>
                  <a:pt x="133269" y="171707"/>
                  <a:pt x="171707" y="133269"/>
                  <a:pt x="171707" y="85854"/>
                </a:cubicBezTo>
                <a:cubicBezTo>
                  <a:pt x="171707" y="38438"/>
                  <a:pt x="133269" y="0"/>
                  <a:pt x="85854" y="0"/>
                </a:cubicBezTo>
                <a:close/>
                <a:moveTo>
                  <a:pt x="91986" y="91986"/>
                </a:moveTo>
                <a:lnTo>
                  <a:pt x="120134" y="91986"/>
                </a:lnTo>
                <a:cubicBezTo>
                  <a:pt x="116928" y="113127"/>
                  <a:pt x="107069" y="132696"/>
                  <a:pt x="91986" y="147852"/>
                </a:cubicBezTo>
                <a:close/>
                <a:moveTo>
                  <a:pt x="91986" y="79721"/>
                </a:moveTo>
                <a:lnTo>
                  <a:pt x="91986" y="23794"/>
                </a:lnTo>
                <a:cubicBezTo>
                  <a:pt x="107084" y="38964"/>
                  <a:pt x="116945" y="58557"/>
                  <a:pt x="120134" y="79721"/>
                </a:cubicBezTo>
                <a:close/>
                <a:moveTo>
                  <a:pt x="79721" y="79721"/>
                </a:moveTo>
                <a:lnTo>
                  <a:pt x="52493" y="79721"/>
                </a:lnTo>
                <a:cubicBezTo>
                  <a:pt x="55543" y="58919"/>
                  <a:pt x="65070" y="39608"/>
                  <a:pt x="79721" y="24530"/>
                </a:cubicBezTo>
                <a:close/>
                <a:moveTo>
                  <a:pt x="79721" y="91986"/>
                </a:moveTo>
                <a:lnTo>
                  <a:pt x="79721" y="147178"/>
                </a:lnTo>
                <a:cubicBezTo>
                  <a:pt x="65098" y="132080"/>
                  <a:pt x="55575" y="112778"/>
                  <a:pt x="52493" y="91986"/>
                </a:cubicBezTo>
                <a:close/>
                <a:moveTo>
                  <a:pt x="40167" y="79721"/>
                </a:moveTo>
                <a:lnTo>
                  <a:pt x="13921" y="79721"/>
                </a:lnTo>
                <a:cubicBezTo>
                  <a:pt x="16643" y="47600"/>
                  <a:pt x="40352" y="21187"/>
                  <a:pt x="71994" y="15024"/>
                </a:cubicBezTo>
                <a:cubicBezTo>
                  <a:pt x="54512" y="32469"/>
                  <a:pt x="43317" y="55225"/>
                  <a:pt x="40167" y="79721"/>
                </a:cubicBezTo>
                <a:close/>
                <a:moveTo>
                  <a:pt x="40167" y="91986"/>
                </a:moveTo>
                <a:cubicBezTo>
                  <a:pt x="43320" y="116524"/>
                  <a:pt x="54562" y="139311"/>
                  <a:pt x="72117" y="156744"/>
                </a:cubicBezTo>
                <a:cubicBezTo>
                  <a:pt x="40428" y="150586"/>
                  <a:pt x="16671" y="124150"/>
                  <a:pt x="13921" y="91986"/>
                </a:cubicBezTo>
                <a:close/>
                <a:moveTo>
                  <a:pt x="132460" y="91986"/>
                </a:moveTo>
                <a:lnTo>
                  <a:pt x="157787" y="91986"/>
                </a:lnTo>
                <a:cubicBezTo>
                  <a:pt x="155101" y="123743"/>
                  <a:pt x="131889" y="149972"/>
                  <a:pt x="100694" y="156499"/>
                </a:cubicBezTo>
                <a:cubicBezTo>
                  <a:pt x="118167" y="139129"/>
                  <a:pt x="129346" y="116426"/>
                  <a:pt x="132460" y="91986"/>
                </a:cubicBezTo>
                <a:close/>
                <a:moveTo>
                  <a:pt x="132460" y="79721"/>
                </a:moveTo>
                <a:cubicBezTo>
                  <a:pt x="129321" y="55345"/>
                  <a:pt x="118218" y="32688"/>
                  <a:pt x="100878" y="15270"/>
                </a:cubicBezTo>
                <a:cubicBezTo>
                  <a:pt x="131981" y="21861"/>
                  <a:pt x="155097" y="48042"/>
                  <a:pt x="157787" y="79721"/>
                </a:cubicBezTo>
                <a:close/>
              </a:path>
            </a:pathLst>
          </a:custGeom>
          <a:solidFill>
            <a:schemeClr val="accent1"/>
          </a:solidFill>
          <a:ln w="14795" cap="flat">
            <a:noFill/>
            <a:prstDash val="solid"/>
            <a:miter/>
          </a:ln>
        </p:spPr>
        <p:txBody>
          <a:bodyPr/>
          <a:lstStyle/>
          <a:p>
            <a:endParaRPr lang="en-US"/>
          </a:p>
        </p:txBody>
      </p:sp>
      <p:sp>
        <p:nvSpPr>
          <p:cNvPr id="73" name="Freihandform: Form 72">
            <a:extLst>
              <a:ext uri="{FF2B5EF4-FFF2-40B4-BE49-F238E27FC236}">
                <a16:creationId xmlns:a16="http://schemas.microsoft.com/office/drawing/2014/main" id="{6A85823F-90C4-984B-2EF7-8C2DDAD4E8C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2450638" y="3510237"/>
            <a:ext cx="431991" cy="324000"/>
          </a:xfrm>
          <a:custGeom>
            <a:avLst/>
            <a:gdLst>
              <a:gd name="csX0" fmla="*/ 48482 w 431991"/>
              <a:gd name="csY0" fmla="*/ 323994 h 324000"/>
              <a:gd name="csX1" fmla="*/ 4094 w 431991"/>
              <a:gd name="csY1" fmla="*/ 286482 h 324000"/>
              <a:gd name="csX2" fmla="*/ 116 w 431991"/>
              <a:gd name="csY2" fmla="*/ 262452 h 324000"/>
              <a:gd name="csX3" fmla="*/ 2132 w 431991"/>
              <a:gd name="csY3" fmla="*/ 255162 h 324000"/>
              <a:gd name="csX4" fmla="*/ 8990 w 431991"/>
              <a:gd name="csY4" fmla="*/ 251994 h 324000"/>
              <a:gd name="csX5" fmla="*/ 17990 w 431991"/>
              <a:gd name="csY5" fmla="*/ 251994 h 324000"/>
              <a:gd name="csX6" fmla="*/ 17990 w 431991"/>
              <a:gd name="csY6" fmla="*/ 26994 h 324000"/>
              <a:gd name="csX7" fmla="*/ 44990 w 431991"/>
              <a:gd name="csY7" fmla="*/ -6 h 324000"/>
              <a:gd name="csX8" fmla="*/ 386990 w 431991"/>
              <a:gd name="csY8" fmla="*/ -6 h 324000"/>
              <a:gd name="csX9" fmla="*/ 413990 w 431991"/>
              <a:gd name="csY9" fmla="*/ 26994 h 324000"/>
              <a:gd name="csX10" fmla="*/ 413990 w 431991"/>
              <a:gd name="csY10" fmla="*/ 251994 h 324000"/>
              <a:gd name="csX11" fmla="*/ 422990 w 431991"/>
              <a:gd name="csY11" fmla="*/ 251994 h 324000"/>
              <a:gd name="csX12" fmla="*/ 429866 w 431991"/>
              <a:gd name="csY12" fmla="*/ 255180 h 324000"/>
              <a:gd name="csX13" fmla="*/ 431864 w 431991"/>
              <a:gd name="csY13" fmla="*/ 262470 h 324000"/>
              <a:gd name="csX14" fmla="*/ 427886 w 431991"/>
              <a:gd name="csY14" fmla="*/ 286392 h 324000"/>
              <a:gd name="csX15" fmla="*/ 383498 w 431991"/>
              <a:gd name="csY15" fmla="*/ 323994 h 324000"/>
              <a:gd name="csX16" fmla="*/ 48482 w 431991"/>
              <a:gd name="csY16" fmla="*/ 323994 h 324000"/>
              <a:gd name="csX17" fmla="*/ 21842 w 431991"/>
              <a:gd name="csY17" fmla="*/ 283512 h 324000"/>
              <a:gd name="csX18" fmla="*/ 48464 w 431991"/>
              <a:gd name="csY18" fmla="*/ 305994 h 324000"/>
              <a:gd name="csX19" fmla="*/ 383498 w 431991"/>
              <a:gd name="csY19" fmla="*/ 305994 h 324000"/>
              <a:gd name="csX20" fmla="*/ 410138 w 431991"/>
              <a:gd name="csY20" fmla="*/ 283440 h 324000"/>
              <a:gd name="csX21" fmla="*/ 412370 w 431991"/>
              <a:gd name="csY21" fmla="*/ 269994 h 324000"/>
              <a:gd name="csX22" fmla="*/ 19592 w 431991"/>
              <a:gd name="csY22" fmla="*/ 269994 h 324000"/>
              <a:gd name="csX23" fmla="*/ 21842 w 431991"/>
              <a:gd name="csY23" fmla="*/ 283512 h 324000"/>
              <a:gd name="csX24" fmla="*/ 395990 w 431991"/>
              <a:gd name="csY24" fmla="*/ 251994 h 324000"/>
              <a:gd name="csX25" fmla="*/ 395990 w 431991"/>
              <a:gd name="csY25" fmla="*/ 26994 h 324000"/>
              <a:gd name="csX26" fmla="*/ 386990 w 431991"/>
              <a:gd name="csY26" fmla="*/ 17994 h 324000"/>
              <a:gd name="csX27" fmla="*/ 44990 w 431991"/>
              <a:gd name="csY27" fmla="*/ 17994 h 324000"/>
              <a:gd name="csX28" fmla="*/ 35990 w 431991"/>
              <a:gd name="csY28" fmla="*/ 26994 h 324000"/>
              <a:gd name="csX29" fmla="*/ 35990 w 431991"/>
              <a:gd name="csY29" fmla="*/ 251994 h 324000"/>
              <a:gd name="csX30" fmla="*/ 395990 w 431991"/>
              <a:gd name="csY30" fmla="*/ 251994 h 324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</a:cxnLst>
            <a:rect l="l" t="t" r="r" b="b"/>
            <a:pathLst>
              <a:path w="431991" h="324000">
                <a:moveTo>
                  <a:pt x="48482" y="323994"/>
                </a:moveTo>
                <a:cubicBezTo>
                  <a:pt x="26432" y="323994"/>
                  <a:pt x="7766" y="308226"/>
                  <a:pt x="4094" y="286482"/>
                </a:cubicBezTo>
                <a:lnTo>
                  <a:pt x="116" y="262452"/>
                </a:lnTo>
                <a:cubicBezTo>
                  <a:pt x="-316" y="259842"/>
                  <a:pt x="404" y="257178"/>
                  <a:pt x="2132" y="255162"/>
                </a:cubicBezTo>
                <a:cubicBezTo>
                  <a:pt x="3824" y="253146"/>
                  <a:pt x="6326" y="251994"/>
                  <a:pt x="8990" y="251994"/>
                </a:cubicBezTo>
                <a:lnTo>
                  <a:pt x="17990" y="251994"/>
                </a:lnTo>
                <a:lnTo>
                  <a:pt x="17990" y="26994"/>
                </a:lnTo>
                <a:cubicBezTo>
                  <a:pt x="17990" y="12108"/>
                  <a:pt x="30104" y="-6"/>
                  <a:pt x="44990" y="-6"/>
                </a:cubicBezTo>
                <a:lnTo>
                  <a:pt x="386990" y="-6"/>
                </a:lnTo>
                <a:cubicBezTo>
                  <a:pt x="401876" y="-6"/>
                  <a:pt x="413990" y="12108"/>
                  <a:pt x="413990" y="26994"/>
                </a:cubicBezTo>
                <a:lnTo>
                  <a:pt x="413990" y="251994"/>
                </a:lnTo>
                <a:lnTo>
                  <a:pt x="422990" y="251994"/>
                </a:lnTo>
                <a:cubicBezTo>
                  <a:pt x="425654" y="251994"/>
                  <a:pt x="428156" y="253164"/>
                  <a:pt x="429866" y="255180"/>
                </a:cubicBezTo>
                <a:cubicBezTo>
                  <a:pt x="431558" y="257196"/>
                  <a:pt x="432296" y="259842"/>
                  <a:pt x="431864" y="262470"/>
                </a:cubicBezTo>
                <a:lnTo>
                  <a:pt x="427886" y="286392"/>
                </a:lnTo>
                <a:cubicBezTo>
                  <a:pt x="424250" y="308190"/>
                  <a:pt x="405584" y="323994"/>
                  <a:pt x="383498" y="323994"/>
                </a:cubicBezTo>
                <a:lnTo>
                  <a:pt x="48482" y="323994"/>
                </a:lnTo>
                <a:close/>
                <a:moveTo>
                  <a:pt x="21842" y="283512"/>
                </a:moveTo>
                <a:cubicBezTo>
                  <a:pt x="24038" y="296544"/>
                  <a:pt x="35234" y="305994"/>
                  <a:pt x="48464" y="305994"/>
                </a:cubicBezTo>
                <a:lnTo>
                  <a:pt x="383498" y="305994"/>
                </a:lnTo>
                <a:cubicBezTo>
                  <a:pt x="396746" y="305994"/>
                  <a:pt x="407960" y="296508"/>
                  <a:pt x="410138" y="283440"/>
                </a:cubicBezTo>
                <a:lnTo>
                  <a:pt x="412370" y="269994"/>
                </a:lnTo>
                <a:lnTo>
                  <a:pt x="19592" y="269994"/>
                </a:lnTo>
                <a:lnTo>
                  <a:pt x="21842" y="283512"/>
                </a:lnTo>
                <a:close/>
                <a:moveTo>
                  <a:pt x="395990" y="251994"/>
                </a:moveTo>
                <a:lnTo>
                  <a:pt x="395990" y="26994"/>
                </a:lnTo>
                <a:cubicBezTo>
                  <a:pt x="395990" y="22026"/>
                  <a:pt x="391940" y="17994"/>
                  <a:pt x="386990" y="17994"/>
                </a:cubicBezTo>
                <a:lnTo>
                  <a:pt x="44990" y="17994"/>
                </a:lnTo>
                <a:cubicBezTo>
                  <a:pt x="40022" y="17994"/>
                  <a:pt x="35990" y="22026"/>
                  <a:pt x="35990" y="26994"/>
                </a:cubicBezTo>
                <a:lnTo>
                  <a:pt x="35990" y="251994"/>
                </a:lnTo>
                <a:lnTo>
                  <a:pt x="395990" y="251994"/>
                </a:lnTo>
                <a:close/>
              </a:path>
            </a:pathLst>
          </a:custGeom>
          <a:solidFill>
            <a:schemeClr val="accent1"/>
          </a:solidFill>
          <a:ln w="17860" cap="flat">
            <a:noFill/>
            <a:prstDash val="solid"/>
            <a:miter/>
          </a:ln>
        </p:spPr>
        <p:txBody>
          <a:bodyPr/>
          <a:lstStyle/>
          <a:p>
            <a:endParaRPr lang="en-US"/>
          </a:p>
        </p:txBody>
      </p:sp>
      <p:pic>
        <p:nvPicPr>
          <p:cNvPr id="77" name="Grafik 76" descr="Fabrik Silhouette">
            <a:extLst>
              <a:ext uri="{FF2B5EF4-FFF2-40B4-BE49-F238E27FC236}">
                <a16:creationId xmlns:a16="http://schemas.microsoft.com/office/drawing/2014/main" id="{E0F68B01-C181-F95E-3B5B-41739510926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078798" y="2259694"/>
            <a:ext cx="914400" cy="914400"/>
          </a:xfrm>
          <a:prstGeom prst="rect">
            <a:avLst/>
          </a:prstGeom>
        </p:spPr>
      </p:pic>
      <p:pic>
        <p:nvPicPr>
          <p:cNvPr id="81" name="Grafik 80" descr="Stadt Silhouette">
            <a:extLst>
              <a:ext uri="{FF2B5EF4-FFF2-40B4-BE49-F238E27FC236}">
                <a16:creationId xmlns:a16="http://schemas.microsoft.com/office/drawing/2014/main" id="{65914CBD-3C3F-40BF-98EE-A3FC476A87A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97774" y="2253362"/>
            <a:ext cx="914400" cy="914400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72A970D5-ED36-AAAB-AD97-02E08B071BB0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474517" y="3544207"/>
            <a:ext cx="432000" cy="432000"/>
          </a:xfrm>
          <a:prstGeom prst="rect">
            <a:avLst/>
          </a:prstGeom>
        </p:spPr>
      </p:pic>
      <p:pic>
        <p:nvPicPr>
          <p:cNvPr id="84" name="Grafik 83" descr="Verbindungen Silhouette">
            <a:extLst>
              <a:ext uri="{FF2B5EF4-FFF2-40B4-BE49-F238E27FC236}">
                <a16:creationId xmlns:a16="http://schemas.microsoft.com/office/drawing/2014/main" id="{06A030B3-D010-6A1C-435F-DE4B074D085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904938" y="3069694"/>
            <a:ext cx="657839" cy="657839"/>
          </a:xfrm>
          <a:prstGeom prst="rect">
            <a:avLst/>
          </a:prstGeom>
        </p:spPr>
      </p:pic>
      <p:pic>
        <p:nvPicPr>
          <p:cNvPr id="86" name="Grafik 85" descr="Präsentation mit Kreisdiagramm Silhouette">
            <a:extLst>
              <a:ext uri="{FF2B5EF4-FFF2-40B4-BE49-F238E27FC236}">
                <a16:creationId xmlns:a16="http://schemas.microsoft.com/office/drawing/2014/main" id="{5F6A737D-336E-8E06-1D1A-9960E8682E5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312656" y="3490000"/>
            <a:ext cx="914400" cy="914400"/>
          </a:xfrm>
          <a:prstGeom prst="rect">
            <a:avLst/>
          </a:prstGeom>
        </p:spPr>
      </p:pic>
      <p:sp>
        <p:nvSpPr>
          <p:cNvPr id="87" name="Freeform 4">
            <a:extLst>
              <a:ext uri="{FF2B5EF4-FFF2-40B4-BE49-F238E27FC236}">
                <a16:creationId xmlns:a16="http://schemas.microsoft.com/office/drawing/2014/main" id="{248C3001-C9C8-6E71-86A2-D5B0CFED1082}"/>
              </a:ext>
            </a:extLst>
          </p:cNvPr>
          <p:cNvSpPr>
            <a:spLocks noChangeAspect="1" noChangeArrowheads="1"/>
          </p:cNvSpPr>
          <p:nvPr>
            <p:custDataLst>
              <p:tags r:id="rId16"/>
            </p:custDataLst>
          </p:nvPr>
        </p:nvSpPr>
        <p:spPr bwMode="auto">
          <a:xfrm rot="5400000">
            <a:off x="3899272" y="3541154"/>
            <a:ext cx="864000" cy="864000"/>
          </a:xfrm>
          <a:custGeom>
            <a:avLst/>
            <a:gdLst>
              <a:gd name="T0" fmla="*/ 3099 w 5411"/>
              <a:gd name="T1" fmla="*/ 2704 h 5427"/>
              <a:gd name="T2" fmla="*/ 1541 w 5411"/>
              <a:gd name="T3" fmla="*/ 5426 h 5427"/>
              <a:gd name="T4" fmla="*/ 0 w 5411"/>
              <a:gd name="T5" fmla="*/ 5426 h 5427"/>
              <a:gd name="T6" fmla="*/ 1558 w 5411"/>
              <a:gd name="T7" fmla="*/ 2704 h 5427"/>
              <a:gd name="T8" fmla="*/ 0 w 5411"/>
              <a:gd name="T9" fmla="*/ 0 h 5427"/>
              <a:gd name="T10" fmla="*/ 1541 w 5411"/>
              <a:gd name="T11" fmla="*/ 0 h 5427"/>
              <a:gd name="T12" fmla="*/ 3099 w 5411"/>
              <a:gd name="T13" fmla="*/ 2704 h 5427"/>
              <a:gd name="T14" fmla="*/ 3851 w 5411"/>
              <a:gd name="T15" fmla="*/ 0 h 5427"/>
              <a:gd name="T16" fmla="*/ 2311 w 5411"/>
              <a:gd name="T17" fmla="*/ 0 h 5427"/>
              <a:gd name="T18" fmla="*/ 3887 w 5411"/>
              <a:gd name="T19" fmla="*/ 2704 h 5427"/>
              <a:gd name="T20" fmla="*/ 2311 w 5411"/>
              <a:gd name="T21" fmla="*/ 5426 h 5427"/>
              <a:gd name="T22" fmla="*/ 3851 w 5411"/>
              <a:gd name="T23" fmla="*/ 5426 h 5427"/>
              <a:gd name="T24" fmla="*/ 5410 w 5411"/>
              <a:gd name="T25" fmla="*/ 2704 h 5427"/>
              <a:gd name="T26" fmla="*/ 3851 w 5411"/>
              <a:gd name="T27" fmla="*/ 0 h 5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11" h="5427">
                <a:moveTo>
                  <a:pt x="3099" y="2704"/>
                </a:moveTo>
                <a:lnTo>
                  <a:pt x="1541" y="5426"/>
                </a:lnTo>
                <a:lnTo>
                  <a:pt x="0" y="5426"/>
                </a:lnTo>
                <a:lnTo>
                  <a:pt x="1558" y="2704"/>
                </a:lnTo>
                <a:lnTo>
                  <a:pt x="0" y="0"/>
                </a:lnTo>
                <a:lnTo>
                  <a:pt x="1541" y="0"/>
                </a:lnTo>
                <a:lnTo>
                  <a:pt x="3099" y="2704"/>
                </a:lnTo>
                <a:close/>
                <a:moveTo>
                  <a:pt x="3851" y="0"/>
                </a:moveTo>
                <a:lnTo>
                  <a:pt x="2311" y="0"/>
                </a:lnTo>
                <a:lnTo>
                  <a:pt x="3887" y="2704"/>
                </a:lnTo>
                <a:lnTo>
                  <a:pt x="2311" y="5426"/>
                </a:lnTo>
                <a:lnTo>
                  <a:pt x="3851" y="5426"/>
                </a:lnTo>
                <a:lnTo>
                  <a:pt x="5410" y="2704"/>
                </a:lnTo>
                <a:lnTo>
                  <a:pt x="385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43573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DD1D409-53CA-D2DC-5580-6AB4D8E4D8D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124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32D2498-C387-F315-CE7E-9B9463569F7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59AAB52F-F88A-4DB0-8F45-2F33E95021E0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FE1E4B0-0963-5D9B-6312-BBA21405784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0">
              <a:defRPr/>
            </a:pPr>
            <a:r>
              <a:rPr lang="de-DE" dirty="0" err="1">
                <a:solidFill>
                  <a:srgbClr val="000000">
                    <a:tint val="75000"/>
                  </a:srgbClr>
                </a:solidFill>
              </a:rPr>
              <a:t>Cybersecurity</a:t>
            </a:r>
            <a:r>
              <a:rPr lang="de-DE" dirty="0">
                <a:solidFill>
                  <a:srgbClr val="000000">
                    <a:tint val="75000"/>
                  </a:srgbClr>
                </a:solidFill>
              </a:rPr>
              <a:t> Summit Hamburg | NIS-2 und die sichere Lieferkette</a:t>
            </a: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7B3584-9E44-571C-C1FB-5148EFA6F60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0CA3E34-0C61-C531-2BCC-DB2E87808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DE" dirty="0">
                <a:latin typeface="Axiforma for Sec Black" pitchFamily="2" charset="0"/>
              </a:rPr>
              <a:t>NIS-2 Einstieg </a:t>
            </a:r>
            <a:br>
              <a:rPr lang="de-DE" dirty="0">
                <a:latin typeface="Axiforma for Sec Black" pitchFamily="2" charset="0"/>
              </a:rPr>
            </a:br>
            <a:r>
              <a:rPr lang="de-DE" dirty="0">
                <a:latin typeface="Axiforma for Sec" pitchFamily="2" charset="0"/>
              </a:rPr>
              <a:t>Ausschnitt BSI-Gesetz §30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9064420-F6A7-6EBD-9330-ADD1B93701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28366" y="1367879"/>
            <a:ext cx="6863753" cy="4464596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1D94DB1D-2895-4391-0F1D-BDF141FD6114}"/>
              </a:ext>
            </a:extLst>
          </p:cNvPr>
          <p:cNvSpPr/>
          <p:nvPr/>
        </p:nvSpPr>
        <p:spPr>
          <a:xfrm>
            <a:off x="2459639" y="4356211"/>
            <a:ext cx="6540965" cy="396044"/>
          </a:xfrm>
          <a:prstGeom prst="rect">
            <a:avLst/>
          </a:prstGeom>
          <a:solidFill>
            <a:schemeClr val="bg2">
              <a:lumMod val="90000"/>
              <a:alpha val="45000"/>
            </a:schemeClr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3432981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75F781-AF88-D65F-6DCB-45BB1AEB1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CE8E06-A942-F512-F08A-C635F35A928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0F8DF76-8160-0F46-0310-E03C1516B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0DFCA65-622D-26E7-895D-85B91E3F7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2" y="1511069"/>
            <a:ext cx="8712374" cy="2592619"/>
          </a:xfrm>
        </p:spPr>
        <p:txBody>
          <a:bodyPr vert="horz"/>
          <a:lstStyle/>
          <a:p>
            <a:r>
              <a:rPr lang="de-DE" dirty="0"/>
              <a:t>Informationssicherheits-anforderungen an Dienstleister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3C72B35-9965-5F82-0D59-723505BABB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      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38C535-89B8-1055-FFA6-D9FA16E161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e-DE" dirty="0"/>
              <a:t>02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FDEBBB34-3734-8672-BD96-C2A5A96B855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9F27CC-20EF-430C-8ACC-9919C3B10EB2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xiforma for Sec"/>
                <a:ea typeface="+mn-ea"/>
                <a:cs typeface="+mn-cs"/>
              </a:rPr>
              <a:t>17.04.202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17E2234-6642-4BEE-FDDE-84A33E77B3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108000" marR="0" lvl="0" indent="-108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30000"/>
              <a:buFont typeface="Axiforma for Sec"/>
              <a:buChar char="|"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xiforma for Sec"/>
                <a:ea typeface="+mn-ea"/>
                <a:cs typeface="+mn-cs"/>
              </a:rPr>
              <a:t>Cybersecurity Summit Hamburg | NIS-2 und die sichere Lieferkette</a:t>
            </a:r>
          </a:p>
        </p:txBody>
      </p:sp>
    </p:spTree>
    <p:extLst>
      <p:ext uri="{BB962C8B-B14F-4D97-AF65-F5344CB8AC3E}">
        <p14:creationId xmlns:p14="http://schemas.microsoft.com/office/powerpoint/2010/main" val="14697679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263CA1E-0573-D781-34A1-B657DF2B64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462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4979D1B-BD34-2CFB-30FA-F4A480DCD8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F722506-3559-4C7B-A489-746D7ADA8454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9CBE950-C303-7850-ED89-F53BD62BC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B76328-F652-881A-4DB3-9EE1C1C69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8F7CEFB-D36E-F9BB-A07A-2975575CCB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S-Anforderungen an Dienstleister</a:t>
            </a:r>
            <a:br>
              <a:rPr lang="de-DE" dirty="0"/>
            </a:br>
            <a:r>
              <a:rPr lang="de-DE" dirty="0">
                <a:latin typeface="Axiforma for Sec" pitchFamily="2" charset="0"/>
              </a:rPr>
              <a:t>Leistungsprozess Lieferantenbeziehung</a:t>
            </a:r>
            <a:endParaRPr lang="de-DE" dirty="0">
              <a:latin typeface="+mn-lt"/>
            </a:endParaRP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AAB8396E-7CAD-698D-0E90-25FEF24CD4FD}"/>
              </a:ext>
            </a:extLst>
          </p:cNvPr>
          <p:cNvGraphicFramePr/>
          <p:nvPr/>
        </p:nvGraphicFramePr>
        <p:xfrm>
          <a:off x="583489" y="2309008"/>
          <a:ext cx="10360734" cy="15880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9" name="Eckige Klammer rechts 8">
            <a:extLst>
              <a:ext uri="{FF2B5EF4-FFF2-40B4-BE49-F238E27FC236}">
                <a16:creationId xmlns:a16="http://schemas.microsoft.com/office/drawing/2014/main" id="{B934B044-3478-38B9-3B21-85465605E7CF}"/>
              </a:ext>
            </a:extLst>
          </p:cNvPr>
          <p:cNvSpPr/>
          <p:nvPr/>
        </p:nvSpPr>
        <p:spPr>
          <a:xfrm rot="16200000">
            <a:off x="3850814" y="-861161"/>
            <a:ext cx="126836" cy="6707508"/>
          </a:xfrm>
          <a:prstGeom prst="rightBracket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9D8991C-6F8C-3AC9-07D0-38BC989ACC6B}"/>
              </a:ext>
            </a:extLst>
          </p:cNvPr>
          <p:cNvSpPr txBox="1"/>
          <p:nvPr/>
        </p:nvSpPr>
        <p:spPr>
          <a:xfrm>
            <a:off x="2668538" y="1889977"/>
            <a:ext cx="24913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Phase 1:</a:t>
            </a:r>
          </a:p>
          <a:p>
            <a:pPr algn="ctr"/>
            <a:r>
              <a:rPr lang="de-DE" sz="1400" dirty="0">
                <a:solidFill>
                  <a:schemeClr val="accent1"/>
                </a:solidFill>
              </a:rPr>
              <a:t>Auswahl des Dienstleisters</a:t>
            </a:r>
          </a:p>
        </p:txBody>
      </p:sp>
      <p:sp>
        <p:nvSpPr>
          <p:cNvPr id="10" name="Eckige Klammer rechts 9">
            <a:extLst>
              <a:ext uri="{FF2B5EF4-FFF2-40B4-BE49-F238E27FC236}">
                <a16:creationId xmlns:a16="http://schemas.microsoft.com/office/drawing/2014/main" id="{1A21AA9A-93ED-20EB-246D-DC14EAF1611C}"/>
              </a:ext>
            </a:extLst>
          </p:cNvPr>
          <p:cNvSpPr/>
          <p:nvPr/>
        </p:nvSpPr>
        <p:spPr>
          <a:xfrm rot="16200000">
            <a:off x="8088879" y="1718506"/>
            <a:ext cx="126837" cy="1548172"/>
          </a:xfrm>
          <a:prstGeom prst="rightBracket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ckige Klammer rechts 10">
            <a:extLst>
              <a:ext uri="{FF2B5EF4-FFF2-40B4-BE49-F238E27FC236}">
                <a16:creationId xmlns:a16="http://schemas.microsoft.com/office/drawing/2014/main" id="{A1B07412-EEE6-CD35-0B25-B04B047C3D76}"/>
              </a:ext>
            </a:extLst>
          </p:cNvPr>
          <p:cNvSpPr/>
          <p:nvPr/>
        </p:nvSpPr>
        <p:spPr>
          <a:xfrm rot="16200000">
            <a:off x="9783379" y="1682600"/>
            <a:ext cx="126640" cy="1620182"/>
          </a:xfrm>
          <a:prstGeom prst="rightBracket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D9F8521-4A43-1067-3884-67BEFC3E92FD}"/>
              </a:ext>
            </a:extLst>
          </p:cNvPr>
          <p:cNvSpPr txBox="1"/>
          <p:nvPr/>
        </p:nvSpPr>
        <p:spPr>
          <a:xfrm>
            <a:off x="9091197" y="1889977"/>
            <a:ext cx="15110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Phase 3:</a:t>
            </a:r>
          </a:p>
          <a:p>
            <a:pPr algn="ctr"/>
            <a:r>
              <a:rPr lang="de-DE" sz="1400" dirty="0">
                <a:solidFill>
                  <a:schemeClr val="accent1"/>
                </a:solidFill>
              </a:rPr>
              <a:t>Beendigung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38513B8-134C-072C-3199-5925A135F980}"/>
              </a:ext>
            </a:extLst>
          </p:cNvPr>
          <p:cNvSpPr txBox="1"/>
          <p:nvPr/>
        </p:nvSpPr>
        <p:spPr>
          <a:xfrm>
            <a:off x="7415381" y="1658916"/>
            <a:ext cx="1511003" cy="985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Phase 2:</a:t>
            </a:r>
          </a:p>
          <a:p>
            <a:pPr algn="ctr"/>
            <a:r>
              <a:rPr lang="de-DE" sz="1400" dirty="0">
                <a:solidFill>
                  <a:schemeClr val="accent1"/>
                </a:solidFill>
              </a:rPr>
              <a:t>Dienstleister-beschäftigung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131DFB0-5151-DE18-5F3D-B0F6198B534C}"/>
              </a:ext>
            </a:extLst>
          </p:cNvPr>
          <p:cNvSpPr txBox="1"/>
          <p:nvPr/>
        </p:nvSpPr>
        <p:spPr>
          <a:xfrm>
            <a:off x="598591" y="3549714"/>
            <a:ext cx="1603776" cy="5182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defRPr sz="1000">
                <a:latin typeface="+mj-lt"/>
              </a:defRPr>
            </a:lvl1pPr>
          </a:lstStyle>
          <a:p>
            <a:pPr marL="171450" indent="-171450" algn="l">
              <a:lnSpc>
                <a:spcPct val="100000"/>
              </a:lnSpc>
              <a:buClr>
                <a:srgbClr val="D70F37"/>
              </a:buClr>
              <a:buFont typeface="Symbol" panose="05050102010706020507" pitchFamily="18" charset="2"/>
              <a:buChar char="-"/>
              <a:defRPr/>
            </a:pPr>
            <a:r>
              <a:rPr lang="de-DE" sz="800" dirty="0">
                <a:solidFill>
                  <a:srgbClr val="1C1F21"/>
                </a:solidFill>
                <a:latin typeface="Axiforma for Sec"/>
              </a:rPr>
              <a:t>Unter Berücksichtigung von Informationssicherheits-anforderungen</a:t>
            </a:r>
          </a:p>
          <a:p>
            <a:pPr marL="171450" indent="-171450" algn="l">
              <a:buClr>
                <a:schemeClr val="accent1"/>
              </a:buClr>
              <a:buFont typeface="Wingdings" panose="05000000000000000000" pitchFamily="2" charset="2"/>
              <a:buChar char="n"/>
            </a:pPr>
            <a:endParaRPr lang="de-DE" sz="900" b="1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4DFC3A8-08DA-6658-4799-5023D1B2C057}"/>
              </a:ext>
            </a:extLst>
          </p:cNvPr>
          <p:cNvSpPr txBox="1"/>
          <p:nvPr/>
        </p:nvSpPr>
        <p:spPr>
          <a:xfrm>
            <a:off x="2260527" y="3545021"/>
            <a:ext cx="1667391" cy="6413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defRPr sz="1000">
                <a:latin typeface="+mj-lt"/>
              </a:defRPr>
            </a:lvl1pPr>
          </a:lstStyle>
          <a:p>
            <a:pPr marL="171450" indent="-171450" algn="l">
              <a:lnSpc>
                <a:spcPct val="100000"/>
              </a:lnSpc>
              <a:buClr>
                <a:srgbClr val="D70F37"/>
              </a:buClr>
              <a:buFont typeface="Symbol" panose="05050102010706020507" pitchFamily="18" charset="2"/>
              <a:buChar char="-"/>
              <a:defRPr/>
            </a:pPr>
            <a:r>
              <a:rPr lang="de-DE" sz="800" dirty="0">
                <a:solidFill>
                  <a:srgbClr val="1C1F21"/>
                </a:solidFill>
                <a:latin typeface="Axiforma for Sec"/>
              </a:rPr>
              <a:t>Prüfen, ob Dienstleister bedeutsamen Einfluss auf den Unternehmenserfolg haben</a:t>
            </a:r>
          </a:p>
          <a:p>
            <a:pPr algn="l">
              <a:buClr>
                <a:schemeClr val="accent1"/>
              </a:buClr>
            </a:pPr>
            <a:endParaRPr lang="de-DE" sz="900" b="1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94718F6-2A60-24D5-87EB-6E535DBF3E20}"/>
              </a:ext>
            </a:extLst>
          </p:cNvPr>
          <p:cNvSpPr txBox="1"/>
          <p:nvPr/>
        </p:nvSpPr>
        <p:spPr>
          <a:xfrm>
            <a:off x="3986078" y="3545021"/>
            <a:ext cx="1667391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defRPr sz="1000">
                <a:latin typeface="+mj-lt"/>
              </a:defRPr>
            </a:lvl1pPr>
          </a:lstStyle>
          <a:p>
            <a:pPr marL="171450" indent="-171450" algn="l">
              <a:lnSpc>
                <a:spcPct val="100000"/>
              </a:lnSpc>
              <a:buClr>
                <a:srgbClr val="D70F37"/>
              </a:buClr>
              <a:buFont typeface="Symbol" panose="05050102010706020507" pitchFamily="18" charset="2"/>
              <a:buChar char="-"/>
              <a:defRPr/>
            </a:pPr>
            <a:r>
              <a:rPr lang="de-DE" sz="800" dirty="0">
                <a:solidFill>
                  <a:srgbClr val="1C1F21"/>
                </a:solidFill>
                <a:latin typeface="Axiforma for Sec"/>
              </a:rPr>
              <a:t>Ermittlung des Kritikalitätslevels anhand vorher definierter Klassen</a:t>
            </a:r>
          </a:p>
          <a:p>
            <a:pPr marL="171450" indent="-171450" algn="l">
              <a:lnSpc>
                <a:spcPct val="100000"/>
              </a:lnSpc>
              <a:buClr>
                <a:srgbClr val="D70F37"/>
              </a:buClr>
              <a:buFont typeface="Symbol" panose="05050102010706020507" pitchFamily="18" charset="2"/>
              <a:buChar char="-"/>
              <a:defRPr/>
            </a:pPr>
            <a:r>
              <a:rPr lang="de-DE" sz="800" dirty="0">
                <a:solidFill>
                  <a:srgbClr val="1C1F21"/>
                </a:solidFill>
                <a:latin typeface="Axiforma for Sec"/>
              </a:rPr>
              <a:t>Festlegen von Informationssicherheits-anforderunge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0985292-16E3-8EBD-8972-F95AF9243A99}"/>
              </a:ext>
            </a:extLst>
          </p:cNvPr>
          <p:cNvSpPr txBox="1"/>
          <p:nvPr/>
        </p:nvSpPr>
        <p:spPr>
          <a:xfrm>
            <a:off x="5710820" y="3545021"/>
            <a:ext cx="1667391" cy="6413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defRPr sz="1000">
                <a:latin typeface="+mj-lt"/>
              </a:defRPr>
            </a:lvl1pPr>
          </a:lstStyle>
          <a:p>
            <a:pPr marL="171450" indent="-171450" algn="l">
              <a:lnSpc>
                <a:spcPct val="100000"/>
              </a:lnSpc>
              <a:buClr>
                <a:srgbClr val="D70F37"/>
              </a:buClr>
              <a:buFont typeface="Symbol" panose="05050102010706020507" pitchFamily="18" charset="2"/>
              <a:buChar char="-"/>
              <a:defRPr/>
            </a:pPr>
            <a:r>
              <a:rPr lang="de-DE" sz="800" dirty="0">
                <a:solidFill>
                  <a:srgbClr val="1C1F21"/>
                </a:solidFill>
                <a:latin typeface="Axiforma for Sec"/>
              </a:rPr>
              <a:t>Integration der Informationssicherheits-anforderungen in den Dienstleistervertrag</a:t>
            </a:r>
          </a:p>
          <a:p>
            <a:pPr marL="171450" indent="-171450" algn="l">
              <a:buClr>
                <a:schemeClr val="accent1"/>
              </a:buClr>
              <a:buFont typeface="Wingdings" panose="05000000000000000000" pitchFamily="2" charset="2"/>
              <a:buChar char="n"/>
            </a:pPr>
            <a:endParaRPr lang="de-DE" sz="900" b="1" dirty="0"/>
          </a:p>
        </p:txBody>
      </p:sp>
      <p:sp>
        <p:nvSpPr>
          <p:cNvPr id="15" name="Freeform 4">
            <a:extLst>
              <a:ext uri="{FF2B5EF4-FFF2-40B4-BE49-F238E27FC236}">
                <a16:creationId xmlns:a16="http://schemas.microsoft.com/office/drawing/2014/main" id="{F2E2707C-F772-753A-8FAD-735615DABB7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8644" y="4932275"/>
            <a:ext cx="287064" cy="288000"/>
          </a:xfrm>
          <a:custGeom>
            <a:avLst/>
            <a:gdLst>
              <a:gd name="T0" fmla="*/ 3099 w 5411"/>
              <a:gd name="T1" fmla="*/ 2704 h 5427"/>
              <a:gd name="T2" fmla="*/ 1541 w 5411"/>
              <a:gd name="T3" fmla="*/ 5426 h 5427"/>
              <a:gd name="T4" fmla="*/ 0 w 5411"/>
              <a:gd name="T5" fmla="*/ 5426 h 5427"/>
              <a:gd name="T6" fmla="*/ 1558 w 5411"/>
              <a:gd name="T7" fmla="*/ 2704 h 5427"/>
              <a:gd name="T8" fmla="*/ 0 w 5411"/>
              <a:gd name="T9" fmla="*/ 0 h 5427"/>
              <a:gd name="T10" fmla="*/ 1541 w 5411"/>
              <a:gd name="T11" fmla="*/ 0 h 5427"/>
              <a:gd name="T12" fmla="*/ 3099 w 5411"/>
              <a:gd name="T13" fmla="*/ 2704 h 5427"/>
              <a:gd name="T14" fmla="*/ 3851 w 5411"/>
              <a:gd name="T15" fmla="*/ 0 h 5427"/>
              <a:gd name="T16" fmla="*/ 2311 w 5411"/>
              <a:gd name="T17" fmla="*/ 0 h 5427"/>
              <a:gd name="T18" fmla="*/ 3887 w 5411"/>
              <a:gd name="T19" fmla="*/ 2704 h 5427"/>
              <a:gd name="T20" fmla="*/ 2311 w 5411"/>
              <a:gd name="T21" fmla="*/ 5426 h 5427"/>
              <a:gd name="T22" fmla="*/ 3851 w 5411"/>
              <a:gd name="T23" fmla="*/ 5426 h 5427"/>
              <a:gd name="T24" fmla="*/ 5410 w 5411"/>
              <a:gd name="T25" fmla="*/ 2704 h 5427"/>
              <a:gd name="T26" fmla="*/ 3851 w 5411"/>
              <a:gd name="T27" fmla="*/ 0 h 5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11" h="5427">
                <a:moveTo>
                  <a:pt x="3099" y="2704"/>
                </a:moveTo>
                <a:lnTo>
                  <a:pt x="1541" y="5426"/>
                </a:lnTo>
                <a:lnTo>
                  <a:pt x="0" y="5426"/>
                </a:lnTo>
                <a:lnTo>
                  <a:pt x="1558" y="2704"/>
                </a:lnTo>
                <a:lnTo>
                  <a:pt x="0" y="0"/>
                </a:lnTo>
                <a:lnTo>
                  <a:pt x="1541" y="0"/>
                </a:lnTo>
                <a:lnTo>
                  <a:pt x="3099" y="2704"/>
                </a:lnTo>
                <a:close/>
                <a:moveTo>
                  <a:pt x="3851" y="0"/>
                </a:moveTo>
                <a:lnTo>
                  <a:pt x="2311" y="0"/>
                </a:lnTo>
                <a:lnTo>
                  <a:pt x="3887" y="2704"/>
                </a:lnTo>
                <a:lnTo>
                  <a:pt x="2311" y="5426"/>
                </a:lnTo>
                <a:lnTo>
                  <a:pt x="3851" y="5426"/>
                </a:lnTo>
                <a:lnTo>
                  <a:pt x="5410" y="2704"/>
                </a:lnTo>
                <a:lnTo>
                  <a:pt x="385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xiforma for Sec"/>
              <a:ea typeface="+mn-ea"/>
              <a:cs typeface="+mn-cs"/>
            </a:endParaRP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31965D45-02E9-15DB-93D0-4E88E6B77098}"/>
              </a:ext>
            </a:extLst>
          </p:cNvPr>
          <p:cNvSpPr txBox="1">
            <a:spLocks/>
          </p:cNvSpPr>
          <p:nvPr/>
        </p:nvSpPr>
        <p:spPr>
          <a:xfrm>
            <a:off x="1097147" y="4917859"/>
            <a:ext cx="6170840" cy="8240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FontTx/>
              <a:buNone/>
              <a:defRPr lang="de-DE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n"/>
              <a:defRPr lang="de-DE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44000" algn="l" defTabSz="864017" rtl="0" eaLnBrk="1" latinLnBrk="0" hangingPunct="1">
              <a:lnSpc>
                <a:spcPct val="130000"/>
              </a:lnSpc>
              <a:spcBef>
                <a:spcPts val="8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de-DE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046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054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13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D70F37"/>
                </a:solidFill>
                <a:effectLst/>
                <a:uLnTx/>
                <a:uFillTx/>
                <a:latin typeface="Axiforma for Sec Black"/>
                <a:ea typeface="+mn-ea"/>
                <a:cs typeface="+mn-cs"/>
              </a:rPr>
              <a:t>Zur Aufrechterhaltung der Lieferkette ist eine angemessene Steuerung von Lieferanten und Dienstleistern notwendig, um Stabilität in der Leistungserbringung zu gewährleisten. </a:t>
            </a:r>
          </a:p>
        </p:txBody>
      </p:sp>
    </p:spTree>
    <p:extLst>
      <p:ext uri="{BB962C8B-B14F-4D97-AF65-F5344CB8AC3E}">
        <p14:creationId xmlns:p14="http://schemas.microsoft.com/office/powerpoint/2010/main" val="12862595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2C45B0F-61F9-2791-80DA-F7CD3FC49CE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2019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C45B0F-61F9-2791-80DA-F7CD3FC49C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D4611B-7625-A569-C885-CDDB558B56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1CCF507-2A28-4A31-AFF6-B2BB0D4E3E41}" type="datetime1">
              <a:rPr lang="de-DE" smtClean="0"/>
              <a:t>17.04.20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19A8A2-B914-6A16-F622-3426F4A9E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ybersecurity Summit Hamburg | NIS-2 und die sichere Lieferkett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20760E-20EA-9593-CF76-890F52860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B7CF8D-B682-4A81-B147-3F908074421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16AE7C3-3F61-3F9D-9528-812B9353D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DE" dirty="0"/>
              <a:t>IS-Anforderungen an Dienstleister</a:t>
            </a:r>
            <a:br>
              <a:rPr lang="de-DE" dirty="0"/>
            </a:br>
            <a:r>
              <a:rPr lang="de-DE" dirty="0">
                <a:latin typeface="+mn-lt"/>
              </a:rPr>
              <a:t>Beispielhafte Dienstleister</a:t>
            </a:r>
          </a:p>
        </p:txBody>
      </p:sp>
      <p:sp>
        <p:nvSpPr>
          <p:cNvPr id="8" name="Freeform 96">
            <a:extLst>
              <a:ext uri="{FF2B5EF4-FFF2-40B4-BE49-F238E27FC236}">
                <a16:creationId xmlns:a16="http://schemas.microsoft.com/office/drawing/2014/main" id="{CDE2A955-C267-0B02-76DD-5CBF1C1ADC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6263" y="1539129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IT-Dienstleistungen</a:t>
            </a:r>
          </a:p>
        </p:txBody>
      </p:sp>
      <p:sp>
        <p:nvSpPr>
          <p:cNvPr id="9" name="Freeform 96">
            <a:extLst>
              <a:ext uri="{FF2B5EF4-FFF2-40B4-BE49-F238E27FC236}">
                <a16:creationId xmlns:a16="http://schemas.microsoft.com/office/drawing/2014/main" id="{EBD3CACC-2000-B9EA-A35E-A5B1FD5C32F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15517" y="1541176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aten-kommunikation</a:t>
            </a:r>
          </a:p>
        </p:txBody>
      </p:sp>
      <p:sp>
        <p:nvSpPr>
          <p:cNvPr id="10" name="Freeform 96">
            <a:extLst>
              <a:ext uri="{FF2B5EF4-FFF2-40B4-BE49-F238E27FC236}">
                <a16:creationId xmlns:a16="http://schemas.microsoft.com/office/drawing/2014/main" id="{95A7AA2D-B46F-0CFD-06D4-8D55CDF14DB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22681" y="1533900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Sprach-kommunikation</a:t>
            </a:r>
          </a:p>
        </p:txBody>
      </p:sp>
      <p:sp>
        <p:nvSpPr>
          <p:cNvPr id="11" name="Freeform 96">
            <a:extLst>
              <a:ext uri="{FF2B5EF4-FFF2-40B4-BE49-F238E27FC236}">
                <a16:creationId xmlns:a16="http://schemas.microsoft.com/office/drawing/2014/main" id="{8EA1D8C9-7E05-B21A-92E8-0F471EFE25D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61935" y="1519687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lang="de-DE" sz="1200" dirty="0">
                <a:latin typeface="+mj-lt"/>
              </a:rPr>
              <a:t>Dienstleister für </a:t>
            </a:r>
            <a:r>
              <a:rPr lang="de-DE" sz="1200" dirty="0" err="1">
                <a:latin typeface="+mj-lt"/>
              </a:rPr>
              <a:t>Telekommuni-kationsanlage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" name="Freeform 96">
            <a:extLst>
              <a:ext uri="{FF2B5EF4-FFF2-40B4-BE49-F238E27FC236}">
                <a16:creationId xmlns:a16="http://schemas.microsoft.com/office/drawing/2014/main" id="{7A9FCBD0-1B72-405E-889C-D7503B89129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72033" y="3753627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Gebäude- oder Raumvermietung</a:t>
            </a:r>
          </a:p>
        </p:txBody>
      </p:sp>
      <p:sp>
        <p:nvSpPr>
          <p:cNvPr id="13" name="Freeform 96">
            <a:extLst>
              <a:ext uri="{FF2B5EF4-FFF2-40B4-BE49-F238E27FC236}">
                <a16:creationId xmlns:a16="http://schemas.microsoft.com/office/drawing/2014/main" id="{FA476090-B354-EA8C-8F9F-24FFC394AD3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31481" y="3753627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lang="de-DE" sz="1200" dirty="0">
                <a:latin typeface="+mj-lt"/>
              </a:rPr>
              <a:t>G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bäud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-überwachung</a:t>
            </a:r>
          </a:p>
        </p:txBody>
      </p:sp>
      <p:sp>
        <p:nvSpPr>
          <p:cNvPr id="14" name="Freeform 96">
            <a:extLst>
              <a:ext uri="{FF2B5EF4-FFF2-40B4-BE49-F238E27FC236}">
                <a16:creationId xmlns:a16="http://schemas.microsoft.com/office/drawing/2014/main" id="{45AC88A5-3159-CCE3-8F89-A70DC72265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0929" y="3753627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Gebäude-reinigung</a:t>
            </a:r>
          </a:p>
        </p:txBody>
      </p:sp>
      <p:sp>
        <p:nvSpPr>
          <p:cNvPr id="15" name="Freeform 96">
            <a:extLst>
              <a:ext uri="{FF2B5EF4-FFF2-40B4-BE49-F238E27FC236}">
                <a16:creationId xmlns:a16="http://schemas.microsoft.com/office/drawing/2014/main" id="{17BB4033-7392-C1B0-00C9-9DB03876638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69099" y="1533900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Zeiterfassung, Zutrittskontrolle, Überwachungs-systeme</a:t>
            </a:r>
          </a:p>
        </p:txBody>
      </p:sp>
      <p:sp>
        <p:nvSpPr>
          <p:cNvPr id="16" name="Freeform 96">
            <a:extLst>
              <a:ext uri="{FF2B5EF4-FFF2-40B4-BE49-F238E27FC236}">
                <a16:creationId xmlns:a16="http://schemas.microsoft.com/office/drawing/2014/main" id="{672DAC32-72C9-3419-4FE1-61EA18F5CBA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53137" y="3753627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ienstleister für USV, Notstrom-aggregate, Klimatechnik, Brandschutz</a:t>
            </a:r>
          </a:p>
        </p:txBody>
      </p:sp>
      <p:sp>
        <p:nvSpPr>
          <p:cNvPr id="17" name="Freeform 96">
            <a:extLst>
              <a:ext uri="{FF2B5EF4-FFF2-40B4-BE49-F238E27FC236}">
                <a16:creationId xmlns:a16="http://schemas.microsoft.com/office/drawing/2014/main" id="{59E4E1D3-30D2-9BCC-0AB5-9B96C1A9B16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12585" y="3753627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ienstleister für Clients, Server, Netzwerkkom-ponenten</a:t>
            </a:r>
          </a:p>
        </p:txBody>
      </p:sp>
      <p:sp>
        <p:nvSpPr>
          <p:cNvPr id="20" name="Freeform 96">
            <a:extLst>
              <a:ext uri="{FF2B5EF4-FFF2-40B4-BE49-F238E27FC236}">
                <a16:creationId xmlns:a16="http://schemas.microsoft.com/office/drawing/2014/main" id="{77B8A742-8D74-864A-6C24-FACA0521149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08351" y="1533900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Botendienste</a:t>
            </a:r>
          </a:p>
        </p:txBody>
      </p:sp>
      <p:sp>
        <p:nvSpPr>
          <p:cNvPr id="21" name="Freeform 96">
            <a:extLst>
              <a:ext uri="{FF2B5EF4-FFF2-40B4-BE49-F238E27FC236}">
                <a16:creationId xmlns:a16="http://schemas.microsoft.com/office/drawing/2014/main" id="{625B9DEB-5294-96B1-29F7-6353ED6E9B6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293687" y="3753627"/>
            <a:ext cx="1635872" cy="1872000"/>
          </a:xfrm>
          <a:custGeom>
            <a:avLst/>
            <a:gdLst>
              <a:gd name="T0" fmla="*/ 0 w 882"/>
              <a:gd name="T1" fmla="*/ 251 h 1017"/>
              <a:gd name="T2" fmla="*/ 443 w 882"/>
              <a:gd name="T3" fmla="*/ 0 h 1017"/>
              <a:gd name="T4" fmla="*/ 881 w 882"/>
              <a:gd name="T5" fmla="*/ 251 h 1017"/>
              <a:gd name="T6" fmla="*/ 881 w 882"/>
              <a:gd name="T7" fmla="*/ 765 h 1017"/>
              <a:gd name="T8" fmla="*/ 443 w 882"/>
              <a:gd name="T9" fmla="*/ 1016 h 1017"/>
              <a:gd name="T10" fmla="*/ 0 w 882"/>
              <a:gd name="T11" fmla="*/ 765 h 1017"/>
              <a:gd name="T12" fmla="*/ 0 w 882"/>
              <a:gd name="T13" fmla="*/ 251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2" h="1017">
                <a:moveTo>
                  <a:pt x="0" y="251"/>
                </a:moveTo>
                <a:lnTo>
                  <a:pt x="443" y="0"/>
                </a:lnTo>
                <a:lnTo>
                  <a:pt x="881" y="251"/>
                </a:lnTo>
                <a:lnTo>
                  <a:pt x="881" y="765"/>
                </a:lnTo>
                <a:lnTo>
                  <a:pt x="443" y="1016"/>
                </a:lnTo>
                <a:lnTo>
                  <a:pt x="0" y="765"/>
                </a:lnTo>
                <a:lnTo>
                  <a:pt x="0" y="251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31750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</a:ln>
          <a:effectLst/>
        </p:spPr>
        <p:txBody>
          <a:bodyPr wrap="square" lIns="76197" tIns="76197" rIns="76197" bIns="76197" anchor="ctr"/>
          <a:lstStyle/>
          <a:p>
            <a:pPr lvl="0" algn="ctr"/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atenträger-entsorgung</a:t>
            </a:r>
          </a:p>
        </p:txBody>
      </p:sp>
    </p:spTree>
    <p:extLst>
      <p:ext uri="{BB962C8B-B14F-4D97-AF65-F5344CB8AC3E}">
        <p14:creationId xmlns:p14="http://schemas.microsoft.com/office/powerpoint/2010/main" val="1791854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+r3rIPTDhZLpArF3vkdDWYEAAAAAAADAAAAAAADAAAAAwADAAIA////////BQAAAAMAEAALiojSoX/QmUqQANc6kuUd9AQAAAABAAMAAAACAAMAAAAEAAMAAAAAAAMAAAAEAAQAAgD///////8FAAAABAAQAAvaJWe5dHjIT4emzOZjhHWe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6vesg9MOFkukCsXe+R0NZgNEYXRhABsAAAAETGlua2VkU2hhcGVEYXRhAAUAAAAAAAJOYW1lABkAAABMaW5rZWRTaGFwZXNEYXRhUHJvcGVydHkAEFZlcnNpb24AAQAAAAlMYXN0V3JpdGUAbc0eJ4oBAAAAAQD/////xgDGAAAABV9pZAAQAAAABIqI0qF/0JlKkADXOpLlHfQDRGF0YQBTAAAACFByZXNlbnRhdGlvblNjYW5uZWRGb3JMaW5rZWRTaGFwZXMAAQJOdW1iZXJGb3JtYXRTZXBhcmF0b3JNb2RlAAoAAABBdXRvbWF0aWMAAAJOYW1lACQAAABMaW5rZWRTaGFwZVByZXNlbnRhdGlvblNldHRpbmdzRGF0YQAQVmVyc2lvbgAAAAAACUxhc3RXcml0ZQA8PpR2hAEAAAACAP////+DAIMAAAAFX2lkABAAAAAE2iVnuXR4yE+HpszmY4R1ngNEYXRhABsAAAAETGlua2VkU2hhcGVEYXRhAAUAAAAAAAJOYW1lABkAAABMaW5rZWRTaGFwZXNEYXRhUHJvcGVydHkAEFZlcnNpb24AAAAAAAlMYXN0V3JpdGUADD6Udo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xCwAAAAAAAAAAAAAgAf///////////////wAAAP///////////////wUAAAADAP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GgAGTGlua2VkU2hhcGVzRGF0YVByb3BlcnR5XzEEAAAAAAAFAAAABAAFAAAAAQAFAAAAAwD///////8FAAAAAwD///////8FAAAAAAD///////8DAAMBAwAAAAMA////////JQAGTGlua2VkU2hhcGVQcmVzZW50YXRpb25TZXR0aW5nc0RhdGFfMAQAAAABAAUAAAAAAAUAAAAEAAUAAAAAAAUAAAACAAUAAAAAAAUAAAACAAQAAQEDAAAABAD///////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284702448964171"/>
  <p:tag name="EMPOWERCHARTSPROPERTIES_A_LENGTH" val="24576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dbaf6e0-1955-4350-bb2f-ed9f6bf8572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8e80b60-4547-4be6-8c79-92bd48f0723b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abfdb1e-4ecb-4023-a3d3-7e9d7a4dc96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63cb432-4232-401f-977b-de49d615016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8e5de99-433c-4a71-9e47-292f07d2db2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16f6748-8cd4-4b78-bbd1-b24c7b6fce5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a0feae1-0b55-42ab-a1db-f409b0d3c158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9e546e7-ea11-4c3e-abe0-c62c012d5b4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2f6cc6a-73b1-4a44-8169-f9b7b6b8efb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f4ec8a5-9f83-4c0f-89bc-e3212546b45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0e4102f-8f4a-48fa-89c0-50ae3ca90a0c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4ba3c7c-8436-4c47-9a10-50b4fcee750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0e05b2e-26c6-4625-917a-2a14389e989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2fede3f-8f3e-4412-aff4-51dc70bef27f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889b8fc-a3f2-4033-be5f-13322f946bb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24f97f3-8f9d-42c0-8867-aad07ceb6718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6360460-fc16-4b46-8bd5-7bff80c75346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260ca6b-6bed-4793-be45-82359e53c1ef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ebee304-0860-4883-8f4e-85aefaeebdb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64ac78a-5dd0-4dd1-be32-6a8c7a4bae9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253a426-c052-4860-b3ff-762d1ce6750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d66ebe2-606e-4429-b011-72988deba0e6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d5302ce-132e-4fa1-b9dd-d1bcebbb78a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7c205cb-8984-49d5-ae20-70d66978db6b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3189d94-c759-49d3-bcc8-881579bd0c4f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dce65ee-2ea8-4e56-b197-0f4458779b88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862644f-0817-43ae-a6aa-3d94594ad8bc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33e8fad-7d9d-417c-9912-619231aa868b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7e22e52-ecaf-4aef-8e46-8fd2def1d57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5e2e771-77ad-499d-ad1f-9dae4c5b2d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098e8ff-d2c5-4940-b943-f93985a5d14c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3cf9b6e-5009-4a97-9857-d9d68149674f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3f00e27-4c59-48e4-9a55-4465a42f048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1bb64dd-8fdc-4f87-bf7b-6d09439a36a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f790b01-d180-4295-853f-ced36ab1fa6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070b627-b47a-4446-a0f4-75653b34982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ce298f8-8039-487b-8d54-44533c6f2a16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4379c42-f29f-44ab-a910-96994ea680f8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d7efbfe-520a-43f6-b29e-1332f8534f8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8b664f1-6bac-4ef9-a7be-4b64a13cf11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4085961-0676-4f71-940b-17dff9a46467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fc107fa-ca92-4772-a937-d1df3b3e432c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59b391e-9d92-4ed4-9d9f-f602f6db5a6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eea915d-ce2a-4b59-ab90-0cbc1cfcae16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6031921-14f7-4d6e-9c12-5b5dcfec830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ed44d7f-453f-4eab-9608-f2fe3aadb93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e7bf22c-4922-452c-8e59-deb6825ef03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e6580b1-fbbd-47de-a597-e189176fc36f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d5cde45-c68b-4c1c-8caf-bf3451bc866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808c377-1f13-4a4f-a43a-dd068e89db0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d729952-bd51-49dc-81cb-bed115cb705b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65cdfa9-de7e-444e-8de1-985c009f14a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68af053-e88c-49b9-9e4b-028c0973f71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4859c15-2933-4484-9d71-c9a7f4eda3a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ce1ae47-204d-42bd-923e-722bbd945ccb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a1abfd0-d4fd-4137-98b3-716c7a5081a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797a10b-ab79-47e2-8e9e-87f365badcf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471f09c-a3c2-4498-9562-7d874c58558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3c966fc-11e7-485d-939e-149b60fe4139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3aa10e2-4cd6-4c6b-b37f-a5bd0d9ce3f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6f1077f-1357-411f-a7c5-79b9e6ba1f4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732485a-edb4-4093-b0ec-7cad3ab4fbbb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ac05ac8-d4f9-451d-b4ce-2f9f3f4cd18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13eb961-ac02-4428-ab03-d275fb1a5e4b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8742c31-dd2a-490a-8f44-c5c2241a650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6cbb44f-0c96-4b79-9db6-ed29031aafd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bb8676b-3fcf-4aee-b7a6-84292e39a56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7b1cc15-3b0c-456c-ab7e-c2a542506e6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0ef1280-e493-4076-836a-867de1d6316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f21e638-f8af-43c2-a88e-3bd3368025a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6fcc313-3c81-47b9-9ee5-e99768e5b21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29ea90d-2f58-45cd-90e1-557a573850a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0a42ab4-e46c-4e67-8091-fd82e91500ff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994f12a-7642-49b5-8400-c15f3fefde9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4caa684-d1d6-491b-939c-6736bc1ba25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79ec319-8a19-4a9d-bb4b-b5eeae4e6f4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45b42b5-1c6a-4fbd-82a3-08af74f2bd5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59d8582-7c9f-4cbd-a4a7-3d52b8c03d53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f1af7c5-baf8-4621-86c4-45e79f9a443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8277ad4-02e9-4224-b911-a1e0a28eea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903777e-38e0-4fe5-9102-4c12b674098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ffb8e33-1028-45ea-8e07-3b7a7b903a0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6b90aa4-42be-4c61-b60e-d7dd5a50698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666c5a0-1f96-4890-9998-4a9906a0eb2f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be81205-f13a-4c75-a40c-8c509ec2e5a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12e4a62-176d-450b-a0c1-c3c1ec217e49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29b21be-b6dc-401e-afa7-0c13c01011df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77b4edb-7fb5-47a2-be82-2b82adae562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ae1a08f-a744-4687-b730-fd893aebf48c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a3770fd-670e-4cda-b3e3-7eb0d6b6449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c028083-1e03-4eaf-bf76-7808446f441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224fcd8-ec2e-4574-b6ff-0ce86b2e87d9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a7e4534-c7d7-4877-923c-9df8ad53d7d0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818eb02-eefe-49fc-8833-b46894e67a7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6aeaf11-0ecb-4ec0-94cf-e2bfd97bade8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4d5d31a-de93-48ab-ad82-ca20a68bf96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79e53c7-de02-4b41-a2f8-d427181548dc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f5e514e-541c-4761-89f5-c03b0299d3d3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1dbca4a-890e-4f4f-86d1-13dc3171d1c9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24f73fa-335a-4cbf-a423-b1733a3fe54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c01bf6f-fb0d-49b1-8da6-cfd272ed439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89c91d5-a5f6-49cd-8e44-7f56ec056558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3a5af60-9840-4913-8c53-a50b19ff2da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f48f778-47f1-49f0-8881-1b33617ae307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1035f51-a74a-4d09-a13b-4627f5b5f5d9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1ab8914-7e56-4b71-bb6c-9de5a8a4cba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b2f9b5a-545f-4289-8a2a-f48fb448c949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3168dc8-0938-4ae3-a900-cafd2027e8c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d715e28-2715-4421-b63a-2f8e0264888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60fe2d3-b20e-451a-98d6-aef703eccbcb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5dded02-5926-4b8f-9908-012791e7c44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3924db3-20a2-4ca5-a348-2e5db171ae89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bcbd5ca-469c-4600-843b-62fef776b67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447ea4b-b5d1-4841-bda0-2a6918721b80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2e2485e-d499-4bae-be31-79098774bf8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61a1cb4-dd28-426f-a066-9249218aee29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33cc8af-f5e7-44f5-aeee-8c4896f32fd7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71db36a-2b04-4f8b-9465-6723d1e1d6e1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bfeac45-1559-40b9-a41b-ffed057f9b9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fe516f5-a61b-4891-874b-9701cd01ab9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6623dd8-21f8-414c-8450-460135e453c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b116e32-72a9-4d3e-9694-8330ab8e7de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31b04a5-391f-4059-9301-a091fcc0cf76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c7461a2-ec41-4afa-b00b-04539e633d2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100bceb-b7c5-417e-a010-ef287ef7d7e6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0c05f52-a662-4fe7-94ab-85e6931e4ba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58d93ad-b962-4b44-8769-897ca15b87a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f95a075-d1e0-47bc-9d4a-fc1e083aa24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a968fae-23b4-4801-953d-93d468585c79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6c3da32-e0ad-4f86-9e34-3576b5ee0f2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bff56d4-0a90-4e96-a453-26e7f6fe7e8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d81ab3e-631f-47ed-84ad-a3998d5c6446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e21210b-9e01-4ecd-9ff4-370b9ea77da5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6ca92ae-30e6-4871-9805-7c9355f76eb9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f4cec26-dfc6-4130-8b46-d76b0983b27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ffe86c3-6b90-40e5-8e73-f02e14804d8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832b0e4-4e64-4130-b36a-f018704b65d8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f65a231-4049-48d1-b66b-7ac3c5a051d0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5e250e3-6476-4771-8a49-420ac090325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85aa583-0ecc-4f15-882c-5ec07ee2d44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a40724a-6f99-4317-a8d4-65640c23793f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962193c-5a08-411f-b6cf-ff193e8774c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b81c480-3971-4aae-b8f6-50cef5543b33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2133fb0-6478-4f2a-b6b0-2cced500b32c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fa84a63-1323-4319-bf9a-1b60d70e10c8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49a3d2c-f61f-4444-9c74-6a26fa29c26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df23138-bdd6-47c9-8d40-75030439bbf2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bee46d2-e6a1-4493-8070-69fc2a63b0c3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a0d5e43-274b-4e7a-952c-0ca646e12a1b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7f56eca-111e-44bd-a8ad-562d1c18e90b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69d63ff-0f8d-46a7-b451-6037858e1137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bbe6edd-75f5-4f15-b741-d9c4620f2746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ca8ec71-11e8-4de2-92a9-a6349098ba96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815a62d-7acc-4c7a-b015-5e3a2486e52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fdc3f85-2cfc-40f0-abd0-d32cfe9ce643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1a1af67-ed52-4fe8-a26a-78317ac53bb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9a48003-5947-48e7-b51c-1ef4acb85558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c70510a-66c9-4281-b29e-8b57c5e51379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25248be-4d0b-4815-a5d2-ace1d1392aff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ecd0d1a-1f71-40f1-8d82-464ead5e6e8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9a682e3-5cca-4da6-b3a0-618f21372bac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20cccdb-d61c-42a9-8a28-d8623a06249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a694f74-0edc-454f-8957-141e92df1481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3182b11-a7c8-4178-9347-ef69426d6a2b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9f5014f-b400-45db-9c81-b28f2cba7cd9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dda3a42-162c-4010-b3d9-770db451d3b8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a9c2e1f-ea4f-441d-8223-d61c83b3ff4c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53c4b83-9b3b-4fcc-87f5-3da43ebf151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854c5e9-9111-4f1d-99f6-20c7e42e2f2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f8f3431-61f6-4b31-b94b-60555cae9c1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ca03c00-680b-4921-8fa5-4fb05c90496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1693f55-631b-41c6-815a-83ac7f6545f8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0393a82-1885-4060-a74b-efd6cdd8750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c2f0720-9919-4cfd-833f-1ec992f11c87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f1e7eee-05de-4919-8089-22b18f92990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2d72887-d777-424b-9434-8c831806f50f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d6490ea-80ab-4bd6-82d6-c6ed99478d7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f7e9955-2cea-43cc-a24a-5563e4bf7af9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b46f9b1-3951-4c3f-9e54-fd05f523dd3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f6e22e0-400c-4f21-a459-577ee7dbb54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8c0e7f5-9396-442b-a927-9c9454ce1ec3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c3523ff-9fca-4173-9df7-50696c2d640c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8b58c30-9da4-406b-b71f-5b71abe756a7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9f5cd82-d5da-4b7b-8004-69381ccfb5a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d32fd0b-2f7d-43f6-bf4e-8ccd80b7c0e3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b359ea9-708d-4c70-b1d3-1939cb89cd77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92f13c6-dd54-4853-9833-dca411e53028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8b7e54f-f088-47cb-9e31-6f3731d7752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0a9ee07-5355-40f5-abb8-b8fb93d35c4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63ad52b-6db1-46f1-95ee-c9d866ef5a4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385f392-8d0d-4a87-8bca-f13e73b6b70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198c2f6-aca0-49ad-a703-f62142c32e96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e6510a4-7961-4679-82bd-6cb67dcbb8b8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3a64748-d54c-4257-b471-be87be673196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9d9ed3b-afce-4543-8442-0fc514e7593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df95459-e6dc-4cea-879f-2383054d6229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0e3eacd-2aa6-4de9-9adf-663226a25f99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d60e1f7-e0fb-4326-a9b0-99a24bf4e5d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8799754-6eab-450d-b25e-265425bd286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53bb392-06f9-4983-8417-837e1d089b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3a38d58-99e7-47d0-8352-c7398ea705e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60000d5-c209-44af-90d8-d7d0a2699a83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07e35b4-0a8b-4e7d-9030-0d6035452fbb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e32df2e-0c20-4f78-9b62-d2e29d839942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09c7098-1093-4fd8-a09f-10e61aa9b882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8440ebb-5965-4692-b5fb-3471df2dea38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f838e52-0f71-46c4-8cb5-64e56eb0284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b42c864-f9b9-4ee9-aca3-10fe45feab9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3067758-2a25-4fb9-a9ee-07eff20263a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0df2cb1-ca49-46a3-8725-b3f4b4e0c3c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956ad5d-2323-4bc1-9bd6-a78e4fd26392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7514667-1107-432a-938f-2d6b18999c06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2e34173-86be-4661-84b9-66a2797e2a93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032fe43-06e5-4c4d-8955-242f361ddd3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3a9e681-4edf-40e1-9777-a9b115a8b8b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241c0e4-a013-4860-89a1-5b9fa1d6ac8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/jTkuGmntArMWp8KIEEu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/jTkuGmntArMWp8KIEEukDRGF0YQAWAAAAAlBlcnNvbmFsSWQAAQAAAAAAAk5hbWUACwAAAFBlcnNvbmFsSWQAEFZlcnNpb24AAAAAAAlMYXN0V3JpdGUA/ecpJ4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284709724527374"/>
  <p:tag name="EMPOWERCHARTSPROPERTIES_A_LENGTH" val="24576"/>
  <p:tag name="RUNTIME_ID" val="bc730ca1-7d95-4c0a-8db3-080938520308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2e34173-86be-4661-84b9-66a2797e2a93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2e34173-86be-4661-84b9-66a2797e2a93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fd2bdfe-72d4-4651-818b-103165ccbcaf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4483ef5-e421-465d-a97b-79a974fa58eb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3de47eb-050c-47b3-9e04-47a5e9ae620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5f377f0-432a-46c1-80a4-0b68af0794e3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2b47365-a273-444e-a359-83958be3ed3c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3155ecc-92c1-480f-939e-3ef585313008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bdc12b3-88d7-4b84-8115-d979707a5da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85b599a-8ed4-444e-b38c-ae4242cb296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3f577ce-e35c-495f-9909-af8d3ba56650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267b1ad-a6e6-41a5-b438-31e6166e9ec6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b714d2b-bbe3-4d1f-b77c-e46d17499bfc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76dac61-fcd8-401a-9a7d-b07250a3500f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c02bd4d-16f2-4d45-8e1b-e14b858bb81c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3dcba70-e2f1-480a-b5f7-0875e345fad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26152f6-137a-47b4-b6a6-20c6e1d69589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66fadaf-bd7d-4502-859f-4470c3343920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2606a4a-e260-4049-bdf9-5647f37d657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cf2432b-8bae-413d-98e3-d9ea563ae19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40e813f-5aa7-4fd6-828c-87c96211a323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0eba820-d6a5-4690-ab6c-baf800bceb16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5812fa3-a8eb-48a3-b682-f98b772e1832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b39a3a2-6541-4890-a436-b5fe8a375aec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0ffdc8d-e740-4205-9d8e-4852c5baf4b3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85560ea-d50e-4f56-8d52-0c23e9349ab7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8270037-6ffe-407e-a835-1db8d70a8560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f02d545-6625-4dd1-a84f-f9d5bf88052f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e1f6cb7-99df-4e41-b0b3-1102fc97d9d5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2e7742d-2793-499e-b212-a5e193823d8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c05715c-2a27-42eb-ae47-d9c4c480e6c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e7ffaf7-1260-4128-9e79-bcc17ec85132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5af1fc1-eec0-4eac-bdc7-cc38ce6d196c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1203945-eeca-401c-b83f-11a0c03b5bb6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f077eb4-fb60-411c-ac65-210d85d650c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68bda4b-9442-4788-949b-800c44872d0f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c889cd4-ed42-4284-a3d8-530bba5b361f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76203e3-c39b-4140-8b70-26026153786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1c00f20-b591-40cc-9aa1-27b2bf5352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cad9e41-ae0d-4b15-ac1b-a6055fce00d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0e0b030-6b9c-49c7-9f6a-6925b799fbef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3956a65-10fd-4bb2-9f83-04a35c25177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dd5a759-5b8c-432a-ba70-7a33a5cec0a8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254d9e3-46cf-45d9-9126-4d1c2b7894c9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fe2f45e-ad75-4aef-8cc4-424831fb0da6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1dbe52c-dfab-4b1a-87a1-676047a3eb0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048b07a-9db7-40b3-ad95-f28223a5f1e9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0d20ab3-2508-41c4-b2c0-c01da3d9d03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1fa1e84-702e-4b71-9fca-3a2b31bbafb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26f58c9-1ef3-4751-b46c-24beef2bd71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a17509f-b7b5-4dc5-bf8d-ec2c4ce9385b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7bf21a9-0eff-42eb-b784-1f2745fb718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0046973-ac31-4e0d-93ad-50625b6c65af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3f2dc44-e026-4977-8b6c-c40e5ec488c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91d3505-bb30-4916-89f3-5129adff85f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e22133d-755c-4980-85d8-3c96e753c24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db05021-3017-4cb3-8b99-c52fd6df35dc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6482662-0326-4ac8-87d5-516c7aed443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3487ff2-25fc-4a51-9d44-bbf12426dda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cf9a712-00f4-425d-9053-b7d2f52e188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24752c2-44b6-431f-a973-6a21a515857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fac918c-fc30-475e-9307-6e6df7c67b8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2db23e9-b769-4a5c-98ad-8dff4cab256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7d066a3-3648-4bf6-ad33-6f66ca21bb1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f467d2f-3e10-42ca-9a2a-c3c5f5e1ffd9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ab3e783-fb87-4ffe-9e74-03c01cd2d1d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cd07e21-743a-4869-8cc7-b83a1297d38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ea7008a-4ee0-4294-9448-94d3a26740f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58457e8-fe50-4393-8512-eca1103fe403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69389c5-25e3-4a4f-a0a0-aa6062062a8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bd53d64-2b01-460e-8737-5acf641004d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d18e2b6-7947-4330-a797-2219e224f98b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32e677d-1ec3-4039-93e4-40b26fc7e3c8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4a91e16-216f-46ba-9e7d-975037d45699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25c044a-74a3-4f87-95a0-cbdfe303b44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92957e9-f3a8-44f4-8179-83b76fbea878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e8636e2-a957-45fc-956e-110380f53d18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18335cc-eb9d-4c90-9eca-348a66d74b59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58d2625-0911-45aa-a701-582f83bc58c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9b4b578-c2b0-44db-9d7f-998d55dcb216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f14ce64-9fb3-4d35-8324-cea07b89fd58"/>
</p:tagLst>
</file>

<file path=ppt/theme/theme1.xml><?xml version="1.0" encoding="utf-8"?>
<a:theme xmlns:a="http://schemas.openxmlformats.org/drawingml/2006/main" name="secunet">
  <a:themeElements>
    <a:clrScheme name="secunet_2025">
      <a:dk1>
        <a:srgbClr val="1C1F21"/>
      </a:dk1>
      <a:lt1>
        <a:srgbClr val="FFFFFF"/>
      </a:lt1>
      <a:dk2>
        <a:srgbClr val="2F384E"/>
      </a:dk2>
      <a:lt2>
        <a:srgbClr val="F0F1F6"/>
      </a:lt2>
      <a:accent1>
        <a:srgbClr val="D70F37"/>
      </a:accent1>
      <a:accent2>
        <a:srgbClr val="28355B"/>
      </a:accent2>
      <a:accent3>
        <a:srgbClr val="004F95"/>
      </a:accent3>
      <a:accent4>
        <a:srgbClr val="A30082"/>
      </a:accent4>
      <a:accent5>
        <a:srgbClr val="B6BDCC"/>
      </a:accent5>
      <a:accent6>
        <a:srgbClr val="69788E"/>
      </a:accent6>
      <a:hlink>
        <a:srgbClr val="D70F37"/>
      </a:hlink>
      <a:folHlink>
        <a:srgbClr val="AF1237"/>
      </a:folHlink>
    </a:clrScheme>
    <a:fontScheme name="Maoro">
      <a:majorFont>
        <a:latin typeface="Axiforma for Sec Black"/>
        <a:ea typeface=""/>
        <a:cs typeface=""/>
      </a:majorFont>
      <a:minorFont>
        <a:latin typeface="Axiforma for Se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ecunet">
  <a:themeElements>
    <a:clrScheme name="Secunet">
      <a:dk1>
        <a:srgbClr val="000000"/>
      </a:dk1>
      <a:lt1>
        <a:sysClr val="window" lastClr="FFFFFF"/>
      </a:lt1>
      <a:dk2>
        <a:srgbClr val="4A5A66"/>
      </a:dk2>
      <a:lt2>
        <a:srgbClr val="EAEBED"/>
      </a:lt2>
      <a:accent1>
        <a:srgbClr val="D70F37"/>
      </a:accent1>
      <a:accent2>
        <a:srgbClr val="2F384E"/>
      </a:accent2>
      <a:accent3>
        <a:srgbClr val="234596"/>
      </a:accent3>
      <a:accent4>
        <a:srgbClr val="007DAF"/>
      </a:accent4>
      <a:accent5>
        <a:srgbClr val="882A7B"/>
      </a:accent5>
      <a:accent6>
        <a:srgbClr val="D61486"/>
      </a:accent6>
      <a:hlink>
        <a:srgbClr val="D70F37"/>
      </a:hlink>
      <a:folHlink>
        <a:srgbClr val="AD1035"/>
      </a:folHlink>
    </a:clrScheme>
    <a:fontScheme name="Maoro">
      <a:majorFont>
        <a:latin typeface="Axiforma for Sec Black"/>
        <a:ea typeface=""/>
        <a:cs typeface=""/>
      </a:majorFont>
      <a:minorFont>
        <a:latin typeface="Axiforma for Se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384</Words>
  <Application>Microsoft Office PowerPoint</Application>
  <PresentationFormat>Benutzerdefiniert</PresentationFormat>
  <Paragraphs>419</Paragraphs>
  <Slides>28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38" baseType="lpstr">
      <vt:lpstr>Arial</vt:lpstr>
      <vt:lpstr>Axiforma for Sec</vt:lpstr>
      <vt:lpstr>Axiforma for Sec Black</vt:lpstr>
      <vt:lpstr>Calibri</vt:lpstr>
      <vt:lpstr>Symbol</vt:lpstr>
      <vt:lpstr>Systemschrift</vt:lpstr>
      <vt:lpstr>Wingdings</vt:lpstr>
      <vt:lpstr>secunet</vt:lpstr>
      <vt:lpstr>1_secunet</vt:lpstr>
      <vt:lpstr>think-cell Folie</vt:lpstr>
      <vt:lpstr>NIS-2 und die sichere Lieferkette</vt:lpstr>
      <vt:lpstr>Inhalt</vt:lpstr>
      <vt:lpstr>NIS-2 Einstieg</vt:lpstr>
      <vt:lpstr>NIS-2 Einstieg NIS-2 Richtlinie und das NIS-2-Umsetzungsgesetz</vt:lpstr>
      <vt:lpstr>NIS-2 Einstieg Vorgehensweise</vt:lpstr>
      <vt:lpstr>NIS-2 Einstieg  Ausschnitt BSI-Gesetz §30</vt:lpstr>
      <vt:lpstr>Informationssicherheits-anforderungen an Dienstleister</vt:lpstr>
      <vt:lpstr>IS-Anforderungen an Dienstleister Leistungsprozess Lieferantenbeziehung</vt:lpstr>
      <vt:lpstr>IS-Anforderungen an Dienstleister Beispielhafte Dienstleister</vt:lpstr>
      <vt:lpstr>IS-Anforderungen an Dienstleister Identifikation bedeutsamer und kritischer Dienstleister</vt:lpstr>
      <vt:lpstr>IS-Anforderungen an Dienstleister Identifikation bedeutsamer und kritischer Dienstleister  </vt:lpstr>
      <vt:lpstr>IS-Anforderungen an Dienstleister Ermittlung Kritikalität  </vt:lpstr>
      <vt:lpstr>IS-Anforderungen an Dienstleister Ermittlung Kritikalität</vt:lpstr>
      <vt:lpstr>IS-Anforderungen an Dienstleister Beauftragung des Dienstleisters</vt:lpstr>
      <vt:lpstr>IS-Anforderungen an Dienstleister Beauftragung des Dienstleisters</vt:lpstr>
      <vt:lpstr>IS-Anforderungen an Dienstleister Beauftragung des Dienstleisters</vt:lpstr>
      <vt:lpstr>Dienstleister- und Lieferantenmanagement</vt:lpstr>
      <vt:lpstr>Dienstleister- und Lieferantenmanagement Leistungsprozess Lieferantenbeziehung</vt:lpstr>
      <vt:lpstr>Dienstleister- und Lieferantenmanagement Anforderungen an Dienstleister</vt:lpstr>
      <vt:lpstr>Dienstleister- und Lieferantenmanagement Überwachung und Überprüfung</vt:lpstr>
      <vt:lpstr>Dienstleister- und Lieferantenmanagement Überwachung und Überprüfung</vt:lpstr>
      <vt:lpstr>Dienstleister- und Lieferantenmanagement Beendigung des Vertragsverhältnisses </vt:lpstr>
      <vt:lpstr>Dienstleister- und Lieferantenmanagement potenzielle Hilfsmittel</vt:lpstr>
      <vt:lpstr>Informationssicherheit in der Praxis</vt:lpstr>
      <vt:lpstr>Informationssicherheit in der Praxis Was stellt Unternehmen vor Herausforderungen?</vt:lpstr>
      <vt:lpstr>Informationssicherheit in der Praxis Checkliste Lieferanten und Dienstleister</vt:lpstr>
      <vt:lpstr>Informationssicherheit in der Praxis Die richtigen Maßnahmen müssen umgesetzt werden</vt:lpstr>
      <vt:lpstr>Ihr persönlicher Ansprechpartn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llbild Titel mit dunklen Foto</dc:title>
  <dc:creator>Sandhya Shah</dc:creator>
  <cp:lastModifiedBy>Huber-Puls, Björn</cp:lastModifiedBy>
  <cp:revision>95</cp:revision>
  <cp:lastPrinted>2025-07-22T13:55:15Z</cp:lastPrinted>
  <dcterms:created xsi:type="dcterms:W3CDTF">2022-11-14T14:38:57Z</dcterms:created>
  <dcterms:modified xsi:type="dcterms:W3CDTF">2026-04-17T12:59:32Z</dcterms:modified>
</cp:coreProperties>
</file>